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Override1.xml" ContentType="application/vnd.openxmlformats-officedocument.themeOverr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heme/themeOverride5.xml" ContentType="application/vnd.openxmlformats-officedocument.themeOverride+xml"/>
  <Override PartName="/ppt/theme/themeOverride6.xml" ContentType="application/vnd.openxmlformats-officedocument.themeOverride+xml"/>
  <Override PartName="/ppt/theme/themeOverride7.xml" ContentType="application/vnd.openxmlformats-officedocument.themeOverride+xml"/>
  <Override PartName="/ppt/theme/themeOverride8.xml" ContentType="application/vnd.openxmlformats-officedocument.themeOverride+xml"/>
  <Override PartName="/ppt/theme/themeOverride9.xml" ContentType="application/vnd.openxmlformats-officedocument.themeOverride+xml"/>
  <Override PartName="/ppt/theme/themeOverride10.xml" ContentType="application/vnd.openxmlformats-officedocument.themeOverride+xml"/>
  <Override PartName="/ppt/theme/themeOverride11.xml" ContentType="application/vnd.openxmlformats-officedocument.themeOverride+xml"/>
  <Override PartName="/ppt/theme/themeOverride12.xml" ContentType="application/vnd.openxmlformats-officedocument.themeOverride+xml"/>
  <Override PartName="/ppt/theme/themeOverride13.xml" ContentType="application/vnd.openxmlformats-officedocument.themeOverr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41"/>
  </p:notesMasterIdLst>
  <p:sldIdLst>
    <p:sldId id="256" r:id="rId2"/>
    <p:sldId id="1752" r:id="rId3"/>
    <p:sldId id="258" r:id="rId4"/>
    <p:sldId id="1753" r:id="rId5"/>
    <p:sldId id="1754" r:id="rId6"/>
    <p:sldId id="1755" r:id="rId7"/>
    <p:sldId id="1756" r:id="rId8"/>
    <p:sldId id="1757" r:id="rId9"/>
    <p:sldId id="1748" r:id="rId10"/>
    <p:sldId id="1758" r:id="rId11"/>
    <p:sldId id="1759" r:id="rId12"/>
    <p:sldId id="1760" r:id="rId13"/>
    <p:sldId id="1761" r:id="rId14"/>
    <p:sldId id="1762" r:id="rId15"/>
    <p:sldId id="1749" r:id="rId16"/>
    <p:sldId id="1763" r:id="rId17"/>
    <p:sldId id="1764" r:id="rId18"/>
    <p:sldId id="1765" r:id="rId19"/>
    <p:sldId id="1766" r:id="rId20"/>
    <p:sldId id="1767" r:id="rId21"/>
    <p:sldId id="1750" r:id="rId22"/>
    <p:sldId id="1768" r:id="rId23"/>
    <p:sldId id="1769" r:id="rId24"/>
    <p:sldId id="1770" r:id="rId25"/>
    <p:sldId id="1772" r:id="rId26"/>
    <p:sldId id="1777" r:id="rId27"/>
    <p:sldId id="1751" r:id="rId28"/>
    <p:sldId id="1773" r:id="rId29"/>
    <p:sldId id="1774" r:id="rId30"/>
    <p:sldId id="1775" r:id="rId31"/>
    <p:sldId id="1776" r:id="rId32"/>
    <p:sldId id="261" r:id="rId33"/>
    <p:sldId id="1778" r:id="rId34"/>
    <p:sldId id="1779" r:id="rId35"/>
    <p:sldId id="1780" r:id="rId36"/>
    <p:sldId id="1781" r:id="rId37"/>
    <p:sldId id="1782" r:id="rId38"/>
    <p:sldId id="1783" r:id="rId39"/>
    <p:sldId id="1784" r:id="rId40"/>
  </p:sldIdLst>
  <p:sldSz cx="12192000" cy="6858000"/>
  <p:notesSz cx="6858000" cy="9144000"/>
  <p:custDataLst>
    <p:tags r:id="rId42"/>
  </p:custDataLst>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EE00"/>
    <a:srgbClr val="1DFFEF"/>
    <a:srgbClr val="C5FFFB"/>
    <a:srgbClr val="FFFFFF"/>
    <a:srgbClr val="C6FEF1"/>
    <a:srgbClr val="00EEDE"/>
    <a:srgbClr val="FEFFE7"/>
    <a:srgbClr val="362E49"/>
    <a:srgbClr val="482D80"/>
    <a:srgbClr val="FFCA2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6182" autoAdjust="0"/>
  </p:normalViewPr>
  <p:slideViewPr>
    <p:cSldViewPr snapToGrid="0">
      <p:cViewPr varScale="1">
        <p:scale>
          <a:sx n="98" d="100"/>
          <a:sy n="98" d="100"/>
        </p:scale>
        <p:origin x="96" y="84"/>
      </p:cViewPr>
      <p:guideLst/>
    </p:cSldViewPr>
  </p:slideViewPr>
  <p:notesTextViewPr>
    <p:cViewPr>
      <p:scale>
        <a:sx n="3" d="2"/>
        <a:sy n="3" d="2"/>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gs" Target="tags/tag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86D8963-CFCD-4740-AF60-049850373CDF}" type="datetimeFigureOut">
              <a:rPr lang="zh-CN" altLang="en-US" smtClean="0"/>
              <a:t>2022/3/5</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9E6FDB6-6D2B-46C1-9FA1-D82906A37C3A}" type="slidenum">
              <a:rPr lang="zh-CN" altLang="en-US" smtClean="0"/>
              <a:t>‹#›</a:t>
            </a:fld>
            <a:endParaRPr lang="zh-CN" altLang="en-US"/>
          </a:p>
        </p:txBody>
      </p:sp>
    </p:spTree>
    <p:extLst>
      <p:ext uri="{BB962C8B-B14F-4D97-AF65-F5344CB8AC3E}">
        <p14:creationId xmlns:p14="http://schemas.microsoft.com/office/powerpoint/2010/main" val="21849815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userDrawn="1">
  <p:cSld name="标题幻灯片">
    <p:bg>
      <p:bgPr>
        <a:solidFill>
          <a:schemeClr val="tx2">
            <a:lumMod val="20000"/>
            <a:lumOff val="80000"/>
          </a:schemeClr>
        </a:solidFill>
        <a:effectLst/>
      </p:bgPr>
    </p:bg>
    <p:spTree>
      <p:nvGrpSpPr>
        <p:cNvPr id="1" name=""/>
        <p:cNvGrpSpPr/>
        <p:nvPr/>
      </p:nvGrpSpPr>
      <p:grpSpPr>
        <a:xfrm>
          <a:off x="0" y="0"/>
          <a:ext cx="0" cy="0"/>
          <a:chOff x="0" y="0"/>
          <a:chExt cx="0" cy="0"/>
        </a:xfrm>
      </p:grpSpPr>
      <p:sp>
        <p:nvSpPr>
          <p:cNvPr id="51" name="任意多边形: 形状 50">
            <a:extLst>
              <a:ext uri="{FF2B5EF4-FFF2-40B4-BE49-F238E27FC236}">
                <a16:creationId xmlns:a16="http://schemas.microsoft.com/office/drawing/2014/main" id="{ED166B69-B4A8-47DC-8BA7-58D77EBD1688}"/>
              </a:ext>
            </a:extLst>
          </p:cNvPr>
          <p:cNvSpPr/>
          <p:nvPr userDrawn="1"/>
        </p:nvSpPr>
        <p:spPr>
          <a:xfrm>
            <a:off x="0" y="1"/>
            <a:ext cx="12192000" cy="5309082"/>
          </a:xfrm>
          <a:custGeom>
            <a:avLst/>
            <a:gdLst>
              <a:gd name="connsiteX0" fmla="*/ 0 w 12192000"/>
              <a:gd name="connsiteY0" fmla="*/ 0 h 5498757"/>
              <a:gd name="connsiteX1" fmla="*/ 12192000 w 12192000"/>
              <a:gd name="connsiteY1" fmla="*/ 0 h 5498757"/>
              <a:gd name="connsiteX2" fmla="*/ 12192000 w 12192000"/>
              <a:gd name="connsiteY2" fmla="*/ 5498757 h 5498757"/>
              <a:gd name="connsiteX3" fmla="*/ 0 w 12192000"/>
              <a:gd name="connsiteY3" fmla="*/ 4287795 h 5498757"/>
            </a:gdLst>
            <a:ahLst/>
            <a:cxnLst>
              <a:cxn ang="0">
                <a:pos x="connsiteX0" y="connsiteY0"/>
              </a:cxn>
              <a:cxn ang="0">
                <a:pos x="connsiteX1" y="connsiteY1"/>
              </a:cxn>
              <a:cxn ang="0">
                <a:pos x="connsiteX2" y="connsiteY2"/>
              </a:cxn>
              <a:cxn ang="0">
                <a:pos x="connsiteX3" y="connsiteY3"/>
              </a:cxn>
            </a:cxnLst>
            <a:rect l="l" t="t" r="r" b="b"/>
            <a:pathLst>
              <a:path w="12192000" h="5498757">
                <a:moveTo>
                  <a:pt x="0" y="0"/>
                </a:moveTo>
                <a:lnTo>
                  <a:pt x="12192000" y="0"/>
                </a:lnTo>
                <a:lnTo>
                  <a:pt x="12192000" y="5498757"/>
                </a:lnTo>
                <a:lnTo>
                  <a:pt x="0" y="4287795"/>
                </a:lnTo>
                <a:close/>
              </a:path>
            </a:pathLst>
          </a:custGeom>
          <a:blipFill>
            <a:blip r:embed="rId2"/>
            <a:srcRect/>
            <a:stretch>
              <a:fillRect t="-5188" b="-4811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2" name="Freeform 50_1">
            <a:extLst>
              <a:ext uri="{FF2B5EF4-FFF2-40B4-BE49-F238E27FC236}">
                <a16:creationId xmlns:a16="http://schemas.microsoft.com/office/drawing/2014/main" id="{8C72E310-32F9-46AA-83C2-6127E4D8B9FC}"/>
              </a:ext>
            </a:extLst>
          </p:cNvPr>
          <p:cNvSpPr/>
          <p:nvPr userDrawn="1"/>
        </p:nvSpPr>
        <p:spPr>
          <a:xfrm>
            <a:off x="0" y="0"/>
            <a:ext cx="12192000" cy="5309082"/>
          </a:xfrm>
          <a:custGeom>
            <a:avLst/>
            <a:gdLst>
              <a:gd name="connsiteX0" fmla="*/ 0 w 12192000"/>
              <a:gd name="connsiteY0" fmla="*/ 0 h 5498757"/>
              <a:gd name="connsiteX1" fmla="*/ 12192000 w 12192000"/>
              <a:gd name="connsiteY1" fmla="*/ 0 h 5498757"/>
              <a:gd name="connsiteX2" fmla="*/ 12192000 w 12192000"/>
              <a:gd name="connsiteY2" fmla="*/ 5498757 h 5498757"/>
              <a:gd name="connsiteX3" fmla="*/ 0 w 12192000"/>
              <a:gd name="connsiteY3" fmla="*/ 4287795 h 5498757"/>
            </a:gdLst>
            <a:ahLst/>
            <a:cxnLst>
              <a:cxn ang="0">
                <a:pos x="connsiteX0" y="connsiteY0"/>
              </a:cxn>
              <a:cxn ang="0">
                <a:pos x="connsiteX1" y="connsiteY1"/>
              </a:cxn>
              <a:cxn ang="0">
                <a:pos x="connsiteX2" y="connsiteY2"/>
              </a:cxn>
              <a:cxn ang="0">
                <a:pos x="connsiteX3" y="connsiteY3"/>
              </a:cxn>
            </a:cxnLst>
            <a:rect l="l" t="t" r="r" b="b"/>
            <a:pathLst>
              <a:path w="12192000" h="5498757">
                <a:moveTo>
                  <a:pt x="0" y="0"/>
                </a:moveTo>
                <a:lnTo>
                  <a:pt x="12192000" y="0"/>
                </a:lnTo>
                <a:lnTo>
                  <a:pt x="12192000" y="5498757"/>
                </a:lnTo>
                <a:lnTo>
                  <a:pt x="0" y="4287795"/>
                </a:lnTo>
                <a:close/>
              </a:path>
            </a:pathLst>
          </a:custGeom>
          <a:solidFill>
            <a:schemeClr val="tx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 name="文本占位符 13"/>
          <p:cNvSpPr>
            <a:spLocks noGrp="1"/>
          </p:cNvSpPr>
          <p:nvPr userDrawn="1">
            <p:ph type="body" sz="quarter" idx="10" hasCustomPrompt="1"/>
          </p:nvPr>
        </p:nvSpPr>
        <p:spPr>
          <a:xfrm>
            <a:off x="9007478" y="5711820"/>
            <a:ext cx="2301878"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
        <p:nvSpPr>
          <p:cNvPr id="13" name="文本占位符 13"/>
          <p:cNvSpPr>
            <a:spLocks noGrp="1"/>
          </p:cNvSpPr>
          <p:nvPr userDrawn="1">
            <p:ph type="body" sz="quarter" idx="11" hasCustomPrompt="1"/>
          </p:nvPr>
        </p:nvSpPr>
        <p:spPr>
          <a:xfrm>
            <a:off x="7294178" y="5711820"/>
            <a:ext cx="1713299" cy="296271"/>
          </a:xfrm>
        </p:spPr>
        <p:txBody>
          <a:bodyPr vert="horz" anchor="ctr">
            <a:noAutofit/>
          </a:bodyPr>
          <a:lstStyle>
            <a:lvl1pPr marL="0" indent="0" algn="r">
              <a:buNone/>
              <a:defRPr sz="1500" b="0">
                <a:solidFill>
                  <a:schemeClr val="tx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Date</a:t>
            </a:r>
            <a:endParaRPr lang="zh-CN" altLang="en-US" dirty="0"/>
          </a:p>
        </p:txBody>
      </p:sp>
      <p:sp>
        <p:nvSpPr>
          <p:cNvPr id="9801" name="副标题 2"/>
          <p:cNvSpPr>
            <a:spLocks noGrp="1"/>
          </p:cNvSpPr>
          <p:nvPr userDrawn="1">
            <p:ph type="subTitle" idx="1" hasCustomPrompt="1"/>
          </p:nvPr>
        </p:nvSpPr>
        <p:spPr>
          <a:xfrm>
            <a:off x="673099" y="5549901"/>
            <a:ext cx="10845800" cy="558799"/>
          </a:xfrm>
        </p:spPr>
        <p:txBody>
          <a:bodyPr anchor="b" anchorCtr="0">
            <a:normAutofit/>
          </a:bodyPr>
          <a:lstStyle>
            <a:lvl1pPr marL="0" indent="0" algn="l">
              <a:buNone/>
              <a:defRPr sz="200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dirty="0"/>
              <a:t>Click to edit Master subtitle style</a:t>
            </a:r>
          </a:p>
        </p:txBody>
      </p:sp>
      <p:sp>
        <p:nvSpPr>
          <p:cNvPr id="9802" name="标题 1"/>
          <p:cNvSpPr>
            <a:spLocks noGrp="1"/>
          </p:cNvSpPr>
          <p:nvPr userDrawn="1">
            <p:ph type="ctrTitle" hasCustomPrompt="1"/>
          </p:nvPr>
        </p:nvSpPr>
        <p:spPr>
          <a:xfrm>
            <a:off x="673099" y="1028699"/>
            <a:ext cx="10845800" cy="3022796"/>
          </a:xfrm>
        </p:spPr>
        <p:txBody>
          <a:bodyPr anchor="b" anchorCtr="0">
            <a:normAutofit/>
          </a:bodyPr>
          <a:lstStyle>
            <a:lvl1pPr algn="l">
              <a:defRPr sz="4000">
                <a:solidFill>
                  <a:schemeClr val="bg1"/>
                </a:solidFill>
              </a:defRPr>
            </a:lvl1pPr>
          </a:lstStyle>
          <a:p>
            <a:r>
              <a:rPr lang="en-US" dirty="0"/>
              <a:t>Click to edit Master title style</a:t>
            </a:r>
            <a:endParaRPr lang="zh-CN" altLang="en-US" dirty="0"/>
          </a:p>
        </p:txBody>
      </p:sp>
    </p:spTree>
    <p:extLst>
      <p:ext uri="{BB962C8B-B14F-4D97-AF65-F5344CB8AC3E}">
        <p14:creationId xmlns:p14="http://schemas.microsoft.com/office/powerpoint/2010/main" val="288258688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secHead" preserve="1" userDrawn="1">
  <p:cSld name="节标题">
    <p:spTree>
      <p:nvGrpSpPr>
        <p:cNvPr id="1" name=""/>
        <p:cNvGrpSpPr/>
        <p:nvPr/>
      </p:nvGrpSpPr>
      <p:grpSpPr>
        <a:xfrm>
          <a:off x="0" y="0"/>
          <a:ext cx="0" cy="0"/>
          <a:chOff x="0" y="0"/>
          <a:chExt cx="0" cy="0"/>
        </a:xfrm>
      </p:grpSpPr>
      <p:sp>
        <p:nvSpPr>
          <p:cNvPr id="34" name="任意多边形: 形状 33">
            <a:extLst>
              <a:ext uri="{FF2B5EF4-FFF2-40B4-BE49-F238E27FC236}">
                <a16:creationId xmlns:a16="http://schemas.microsoft.com/office/drawing/2014/main" id="{4DC6A050-374D-4F80-8FD3-D53EF8E5DFF8}"/>
              </a:ext>
            </a:extLst>
          </p:cNvPr>
          <p:cNvSpPr/>
          <p:nvPr userDrawn="1"/>
        </p:nvSpPr>
        <p:spPr>
          <a:xfrm>
            <a:off x="0" y="4139892"/>
            <a:ext cx="12192000" cy="2718109"/>
          </a:xfrm>
          <a:custGeom>
            <a:avLst/>
            <a:gdLst>
              <a:gd name="connsiteX0" fmla="*/ 0 w 12192000"/>
              <a:gd name="connsiteY0" fmla="*/ 0 h 2718109"/>
              <a:gd name="connsiteX1" fmla="*/ 12192000 w 12192000"/>
              <a:gd name="connsiteY1" fmla="*/ 1169191 h 2718109"/>
              <a:gd name="connsiteX2" fmla="*/ 12192000 w 12192000"/>
              <a:gd name="connsiteY2" fmla="*/ 2718109 h 2718109"/>
              <a:gd name="connsiteX3" fmla="*/ 0 w 12192000"/>
              <a:gd name="connsiteY3" fmla="*/ 2718109 h 2718109"/>
            </a:gdLst>
            <a:ahLst/>
            <a:cxnLst>
              <a:cxn ang="0">
                <a:pos x="connsiteX0" y="connsiteY0"/>
              </a:cxn>
              <a:cxn ang="0">
                <a:pos x="connsiteX1" y="connsiteY1"/>
              </a:cxn>
              <a:cxn ang="0">
                <a:pos x="connsiteX2" y="connsiteY2"/>
              </a:cxn>
              <a:cxn ang="0">
                <a:pos x="connsiteX3" y="connsiteY3"/>
              </a:cxn>
            </a:cxnLst>
            <a:rect l="l" t="t" r="r" b="b"/>
            <a:pathLst>
              <a:path w="12192000" h="2718109">
                <a:moveTo>
                  <a:pt x="0" y="0"/>
                </a:moveTo>
                <a:lnTo>
                  <a:pt x="12192000" y="1169191"/>
                </a:lnTo>
                <a:lnTo>
                  <a:pt x="12192000" y="2718109"/>
                </a:lnTo>
                <a:lnTo>
                  <a:pt x="0" y="2718109"/>
                </a:lnTo>
                <a:close/>
              </a:path>
            </a:pathLst>
          </a:custGeom>
          <a:blipFill>
            <a:blip r:embed="rId2"/>
            <a:srcRect/>
            <a:stretch>
              <a:fillRect t="-117773" b="-81659"/>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0" name="标题 1"/>
          <p:cNvSpPr>
            <a:spLocks noGrp="1"/>
          </p:cNvSpPr>
          <p:nvPr userDrawn="1">
            <p:ph type="title"/>
          </p:nvPr>
        </p:nvSpPr>
        <p:spPr>
          <a:xfrm>
            <a:off x="6101303" y="2397956"/>
            <a:ext cx="5419185" cy="895350"/>
          </a:xfrm>
        </p:spPr>
        <p:txBody>
          <a:bodyPr anchor="b">
            <a:normAutofit/>
          </a:bodyPr>
          <a:lstStyle>
            <a:lvl1pPr algn="l">
              <a:defRPr sz="2400" b="1">
                <a:solidFill>
                  <a:schemeClr val="tx1"/>
                </a:solidFill>
              </a:defRPr>
            </a:lvl1pPr>
          </a:lstStyle>
          <a:p>
            <a:r>
              <a:rPr lang="en-US" dirty="0"/>
              <a:t>Click to edit Master title style</a:t>
            </a:r>
            <a:endParaRPr lang="zh-CN" altLang="en-US" dirty="0"/>
          </a:p>
        </p:txBody>
      </p:sp>
      <p:sp>
        <p:nvSpPr>
          <p:cNvPr id="21" name="文本占位符 2"/>
          <p:cNvSpPr>
            <a:spLocks noGrp="1"/>
          </p:cNvSpPr>
          <p:nvPr userDrawn="1">
            <p:ph type="body" idx="1"/>
          </p:nvPr>
        </p:nvSpPr>
        <p:spPr>
          <a:xfrm>
            <a:off x="6102419" y="3293306"/>
            <a:ext cx="5419185" cy="1015623"/>
          </a:xfrm>
        </p:spPr>
        <p:txBody>
          <a:bodyPr anchor="t">
            <a:normAutofit/>
          </a:bodyPr>
          <a:lstStyle>
            <a:lvl1pPr marL="0" indent="0" algn="l">
              <a:lnSpc>
                <a:spcPct val="100000"/>
              </a:lnSpc>
              <a:buNone/>
              <a:defRPr sz="1100">
                <a:solidFill>
                  <a:schemeClr val="tx1"/>
                </a:solidFill>
              </a:defRPr>
            </a:lvl1pPr>
            <a:lvl2pPr marL="457178" indent="0">
              <a:buNone/>
              <a:defRPr sz="2000">
                <a:solidFill>
                  <a:schemeClr val="tx1">
                    <a:tint val="75000"/>
                  </a:schemeClr>
                </a:solidFill>
              </a:defRPr>
            </a:lvl2pPr>
            <a:lvl3pPr marL="914354" indent="0">
              <a:buNone/>
              <a:defRPr sz="1800">
                <a:solidFill>
                  <a:schemeClr val="tx1">
                    <a:tint val="75000"/>
                  </a:schemeClr>
                </a:solidFill>
              </a:defRPr>
            </a:lvl3pPr>
            <a:lvl4pPr marL="1371532" indent="0">
              <a:buNone/>
              <a:defRPr sz="1600">
                <a:solidFill>
                  <a:schemeClr val="tx1">
                    <a:tint val="75000"/>
                  </a:schemeClr>
                </a:solidFill>
              </a:defRPr>
            </a:lvl4pPr>
            <a:lvl5pPr marL="1828709" indent="0">
              <a:buNone/>
              <a:defRPr sz="1600">
                <a:solidFill>
                  <a:schemeClr val="tx1">
                    <a:tint val="75000"/>
                  </a:schemeClr>
                </a:solidFill>
              </a:defRPr>
            </a:lvl5pPr>
            <a:lvl6pPr marL="2285886" indent="0">
              <a:buNone/>
              <a:defRPr sz="1600">
                <a:solidFill>
                  <a:schemeClr val="tx1">
                    <a:tint val="75000"/>
                  </a:schemeClr>
                </a:solidFill>
              </a:defRPr>
            </a:lvl6pPr>
            <a:lvl7pPr marL="2743062" indent="0">
              <a:buNone/>
              <a:defRPr sz="1600">
                <a:solidFill>
                  <a:schemeClr val="tx1">
                    <a:tint val="75000"/>
                  </a:schemeClr>
                </a:solidFill>
              </a:defRPr>
            </a:lvl7pPr>
            <a:lvl8pPr marL="3200240" indent="0">
              <a:buNone/>
              <a:defRPr sz="1600">
                <a:solidFill>
                  <a:schemeClr val="tx1">
                    <a:tint val="75000"/>
                  </a:schemeClr>
                </a:solidFill>
              </a:defRPr>
            </a:lvl8pPr>
            <a:lvl9pPr marL="3657418" indent="0">
              <a:buNone/>
              <a:defRPr sz="1600">
                <a:solidFill>
                  <a:schemeClr val="tx1">
                    <a:tint val="75000"/>
                  </a:schemeClr>
                </a:solidFill>
              </a:defRPr>
            </a:lvl9pPr>
          </a:lstStyle>
          <a:p>
            <a:pPr lvl="0"/>
            <a:r>
              <a:rPr lang="en-US" dirty="0"/>
              <a:t>Edit Master text styles</a:t>
            </a:r>
          </a:p>
        </p:txBody>
      </p:sp>
    </p:spTree>
    <p:extLst>
      <p:ext uri="{BB962C8B-B14F-4D97-AF65-F5344CB8AC3E}">
        <p14:creationId xmlns:p14="http://schemas.microsoft.com/office/powerpoint/2010/main" val="2853334272"/>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标题和内容">
    <p:spTree>
      <p:nvGrpSpPr>
        <p:cNvPr id="1" name=""/>
        <p:cNvGrpSpPr/>
        <p:nvPr/>
      </p:nvGrpSpPr>
      <p:grpSpPr>
        <a:xfrm>
          <a:off x="0" y="0"/>
          <a:ext cx="0" cy="0"/>
          <a:chOff x="0" y="0"/>
          <a:chExt cx="0" cy="0"/>
        </a:xfrm>
      </p:grpSpPr>
      <p:sp>
        <p:nvSpPr>
          <p:cNvPr id="3" name="日期占位符 2">
            <a:extLst>
              <a:ext uri="{FF2B5EF4-FFF2-40B4-BE49-F238E27FC236}">
                <a16:creationId xmlns:a16="http://schemas.microsoft.com/office/drawing/2014/main" id="{9888B6D7-9D3F-49D7-BACE-73A9D1149A74}"/>
              </a:ext>
            </a:extLst>
          </p:cNvPr>
          <p:cNvSpPr>
            <a:spLocks noGrp="1"/>
          </p:cNvSpPr>
          <p:nvPr>
            <p:ph type="dt" sz="half" idx="10"/>
          </p:nvPr>
        </p:nvSpPr>
        <p:spPr/>
        <p:txBody>
          <a:bodyPr/>
          <a:lstStyle/>
          <a:p>
            <a:endParaRPr lang="zh-CN" altLang="en-US"/>
          </a:p>
        </p:txBody>
      </p:sp>
      <p:sp>
        <p:nvSpPr>
          <p:cNvPr id="4" name="页脚占位符 3">
            <a:extLst>
              <a:ext uri="{FF2B5EF4-FFF2-40B4-BE49-F238E27FC236}">
                <a16:creationId xmlns:a16="http://schemas.microsoft.com/office/drawing/2014/main" id="{7AC997A4-1DD8-4731-B9FD-42398A20FF85}"/>
              </a:ext>
            </a:extLst>
          </p:cNvPr>
          <p:cNvSpPr>
            <a:spLocks noGrp="1"/>
          </p:cNvSpPr>
          <p:nvPr>
            <p:ph type="ftr" sz="quarter" idx="11"/>
          </p:nvPr>
        </p:nvSpPr>
        <p:spPr/>
        <p:txBody>
          <a:bodyPr/>
          <a:lstStyle/>
          <a:p>
            <a:r>
              <a:rPr lang="en-US" altLang="zh-CN"/>
              <a:t>https://islide-powerpoint.com </a:t>
            </a:r>
            <a:endParaRPr lang="zh-CN" altLang="en-US" dirty="0"/>
          </a:p>
        </p:txBody>
      </p:sp>
      <p:sp>
        <p:nvSpPr>
          <p:cNvPr id="5" name="灯片编号占位符 4">
            <a:extLst>
              <a:ext uri="{FF2B5EF4-FFF2-40B4-BE49-F238E27FC236}">
                <a16:creationId xmlns:a16="http://schemas.microsoft.com/office/drawing/2014/main" id="{DBA9825E-1876-42AD-ABCF-E0E100F351CA}"/>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
        <p:nvSpPr>
          <p:cNvPr id="6" name="标题 5">
            <a:extLst>
              <a:ext uri="{FF2B5EF4-FFF2-40B4-BE49-F238E27FC236}">
                <a16:creationId xmlns:a16="http://schemas.microsoft.com/office/drawing/2014/main" id="{D124F9DB-C87A-423F-9657-38C7A2901430}"/>
              </a:ext>
            </a:extLst>
          </p:cNvPr>
          <p:cNvSpPr>
            <a:spLocks noGrp="1"/>
          </p:cNvSpPr>
          <p:nvPr>
            <p:ph type="title" hasCustomPrompt="1"/>
          </p:nvPr>
        </p:nvSpPr>
        <p:spPr/>
        <p:txBody>
          <a:bodyPr/>
          <a:lstStyle>
            <a:lvl1pPr>
              <a:defRPr/>
            </a:lvl1pPr>
          </a:lstStyle>
          <a:p>
            <a:r>
              <a:rPr lang="en-US" altLang="zh-CN" dirty="0"/>
              <a:t>Click to edit Master title style</a:t>
            </a:r>
            <a:endParaRPr lang="zh-CN" altLang="en-US" dirty="0"/>
          </a:p>
        </p:txBody>
      </p:sp>
      <p:sp>
        <p:nvSpPr>
          <p:cNvPr id="8" name="内容占位符 7">
            <a:extLst>
              <a:ext uri="{FF2B5EF4-FFF2-40B4-BE49-F238E27FC236}">
                <a16:creationId xmlns:a16="http://schemas.microsoft.com/office/drawing/2014/main" id="{2070191C-4093-409C-8FD5-7369A79637AD}"/>
              </a:ext>
            </a:extLst>
          </p:cNvPr>
          <p:cNvSpPr>
            <a:spLocks noGrp="1"/>
          </p:cNvSpPr>
          <p:nvPr>
            <p:ph sz="quarter" idx="13" hasCustomPrompt="1"/>
          </p:nvPr>
        </p:nvSpPr>
        <p:spPr>
          <a:xfrm>
            <a:off x="669925" y="1130299"/>
            <a:ext cx="10850563" cy="5006975"/>
          </a:xfrm>
        </p:spPr>
        <p:txBody>
          <a:bodyPr/>
          <a:lstStyle>
            <a:lvl1pPr>
              <a:defRPr/>
            </a:lvl1pPr>
            <a:lvl2pPr>
              <a:defRPr/>
            </a:lvl2pPr>
            <a:lvl3pPr>
              <a:defRPr/>
            </a:lvl3pPr>
            <a:lvl4pPr>
              <a:defRPr/>
            </a:lvl4pPr>
            <a:lvl5pPr>
              <a:defRPr/>
            </a:lvl5pPr>
          </a:lstStyle>
          <a:p>
            <a:pPr lvl="0"/>
            <a:r>
              <a:rPr lang="en-US" altLang="zh-CN" dirty="0"/>
              <a:t>Edit Master text styles</a:t>
            </a:r>
          </a:p>
          <a:p>
            <a:pPr lvl="1"/>
            <a:r>
              <a:rPr lang="en-US" altLang="zh-CN" dirty="0"/>
              <a:t>Second level</a:t>
            </a:r>
          </a:p>
          <a:p>
            <a:pPr lvl="2"/>
            <a:r>
              <a:rPr lang="en-US" altLang="zh-CN" dirty="0"/>
              <a:t>Third level</a:t>
            </a:r>
          </a:p>
          <a:p>
            <a:pPr lvl="3"/>
            <a:r>
              <a:rPr lang="en-US" altLang="zh-CN" dirty="0"/>
              <a:t>Fourth level</a:t>
            </a:r>
          </a:p>
          <a:p>
            <a:pPr lvl="4"/>
            <a:r>
              <a:rPr lang="en-US" altLang="zh-CN" dirty="0"/>
              <a:t>Fifth level</a:t>
            </a:r>
            <a:endParaRPr lang="zh-CN" altLang="en-US" dirty="0"/>
          </a:p>
        </p:txBody>
      </p:sp>
    </p:spTree>
    <p:extLst>
      <p:ext uri="{BB962C8B-B14F-4D97-AF65-F5344CB8AC3E}">
        <p14:creationId xmlns:p14="http://schemas.microsoft.com/office/powerpoint/2010/main" val="36775934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userDrawn="1">
  <p:cSld name="仅标题页">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1C7A1C-3684-4AAF-A408-C63B6CB64104}"/>
              </a:ext>
            </a:extLst>
          </p:cNvPr>
          <p:cNvSpPr>
            <a:spLocks noGrp="1"/>
          </p:cNvSpPr>
          <p:nvPr>
            <p:ph type="title" hasCustomPrompt="1"/>
          </p:nvPr>
        </p:nvSpPr>
        <p:spPr/>
        <p:txBody>
          <a:bodyPr/>
          <a:lstStyle>
            <a:lvl1pPr>
              <a:defRPr/>
            </a:lvl1pPr>
          </a:lstStyle>
          <a:p>
            <a:r>
              <a:rPr lang="en-US" altLang="zh-CN" dirty="0"/>
              <a:t>Click to edit Master title style</a:t>
            </a:r>
            <a:endParaRPr lang="en-US" dirty="0"/>
          </a:p>
        </p:txBody>
      </p:sp>
      <p:sp>
        <p:nvSpPr>
          <p:cNvPr id="3" name="Date Placeholder 2">
            <a:extLst>
              <a:ext uri="{FF2B5EF4-FFF2-40B4-BE49-F238E27FC236}">
                <a16:creationId xmlns:a16="http://schemas.microsoft.com/office/drawing/2014/main" id="{8986EA5F-D77D-4318-90E9-C04AA8ADC0D1}"/>
              </a:ext>
            </a:extLst>
          </p:cNvPr>
          <p:cNvSpPr>
            <a:spLocks noGrp="1"/>
          </p:cNvSpPr>
          <p:nvPr>
            <p:ph type="dt" sz="half" idx="10"/>
          </p:nvPr>
        </p:nvSpPr>
        <p:spPr/>
        <p:txBody>
          <a:bodyPr/>
          <a:lstStyle/>
          <a:p>
            <a:endParaRPr lang="zh-CN" altLang="en-US"/>
          </a:p>
        </p:txBody>
      </p:sp>
      <p:sp>
        <p:nvSpPr>
          <p:cNvPr id="4" name="Footer Placeholder 3">
            <a:extLst>
              <a:ext uri="{FF2B5EF4-FFF2-40B4-BE49-F238E27FC236}">
                <a16:creationId xmlns:a16="http://schemas.microsoft.com/office/drawing/2014/main" id="{00832621-D9D9-445E-BFF9-F8348FA1E262}"/>
              </a:ext>
            </a:extLst>
          </p:cNvPr>
          <p:cNvSpPr>
            <a:spLocks noGrp="1"/>
          </p:cNvSpPr>
          <p:nvPr>
            <p:ph type="ftr" sz="quarter" idx="11"/>
          </p:nvPr>
        </p:nvSpPr>
        <p:spPr/>
        <p:txBody>
          <a:bodyPr/>
          <a:lstStyle/>
          <a:p>
            <a:r>
              <a:rPr lang="en-US" altLang="zh-CN"/>
              <a:t>https://islide-powerpoint.com </a:t>
            </a:r>
            <a:endParaRPr lang="zh-CN" altLang="en-US" dirty="0"/>
          </a:p>
        </p:txBody>
      </p:sp>
      <p:sp>
        <p:nvSpPr>
          <p:cNvPr id="5" name="Slide Number Placeholder 4">
            <a:extLst>
              <a:ext uri="{FF2B5EF4-FFF2-40B4-BE49-F238E27FC236}">
                <a16:creationId xmlns:a16="http://schemas.microsoft.com/office/drawing/2014/main" id="{8371151B-F790-4A9F-962F-B8718A9560A9}"/>
              </a:ext>
            </a:extLst>
          </p:cNvPr>
          <p:cNvSpPr>
            <a:spLocks noGrp="1"/>
          </p:cNvSpPr>
          <p:nvPr>
            <p:ph type="sldNum" sz="quarter" idx="12"/>
          </p:nvPr>
        </p:nvSpPr>
        <p:spPr/>
        <p:txBody>
          <a:body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12841762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blank" preserve="1">
  <p:cSld name="空白">
    <p:spTree>
      <p:nvGrpSpPr>
        <p:cNvPr id="1" name=""/>
        <p:cNvGrpSpPr/>
        <p:nvPr/>
      </p:nvGrpSpPr>
      <p:grpSpPr>
        <a:xfrm>
          <a:off x="0" y="0"/>
          <a:ext cx="0" cy="0"/>
          <a:chOff x="0" y="0"/>
          <a:chExt cx="0" cy="0"/>
        </a:xfrm>
      </p:grpSpPr>
    </p:spTree>
    <p:extLst>
      <p:ext uri="{BB962C8B-B14F-4D97-AF65-F5344CB8AC3E}">
        <p14:creationId xmlns:p14="http://schemas.microsoft.com/office/powerpoint/2010/main" val="34177286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末尾幻灯片">
    <p:bg>
      <p:bgPr>
        <a:solidFill>
          <a:schemeClr val="tx1"/>
        </a:solidFill>
        <a:effectLst/>
      </p:bgPr>
    </p:bg>
    <p:spTree>
      <p:nvGrpSpPr>
        <p:cNvPr id="1" name=""/>
        <p:cNvGrpSpPr/>
        <p:nvPr/>
      </p:nvGrpSpPr>
      <p:grpSpPr>
        <a:xfrm>
          <a:off x="0" y="0"/>
          <a:ext cx="0" cy="0"/>
          <a:chOff x="0" y="0"/>
          <a:chExt cx="0" cy="0"/>
        </a:xfrm>
      </p:grpSpPr>
      <p:sp>
        <p:nvSpPr>
          <p:cNvPr id="47" name="矩形 46">
            <a:extLst>
              <a:ext uri="{FF2B5EF4-FFF2-40B4-BE49-F238E27FC236}">
                <a16:creationId xmlns:a16="http://schemas.microsoft.com/office/drawing/2014/main" id="{41722E94-433B-4465-B172-524F51860221}"/>
              </a:ext>
            </a:extLst>
          </p:cNvPr>
          <p:cNvSpPr/>
          <p:nvPr userDrawn="1"/>
        </p:nvSpPr>
        <p:spPr>
          <a:xfrm>
            <a:off x="6096000" y="-1"/>
            <a:ext cx="6096000" cy="6858001"/>
          </a:xfrm>
          <a:prstGeom prst="rect">
            <a:avLst/>
          </a:prstGeom>
          <a:blipFill>
            <a:blip r:embed="rId2"/>
            <a:srcRect/>
            <a:stretch>
              <a:fillRect l="-13032" r="-55494"/>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标题 1"/>
          <p:cNvSpPr>
            <a:spLocks noGrp="1"/>
          </p:cNvSpPr>
          <p:nvPr userDrawn="1">
            <p:ph type="ctrTitle" hasCustomPrompt="1"/>
          </p:nvPr>
        </p:nvSpPr>
        <p:spPr>
          <a:xfrm>
            <a:off x="673100" y="1135063"/>
            <a:ext cx="4728041" cy="2802901"/>
          </a:xfrm>
        </p:spPr>
        <p:txBody>
          <a:bodyPr anchor="b">
            <a:normAutofit/>
          </a:bodyPr>
          <a:lstStyle>
            <a:lvl1pPr marL="0" indent="0" algn="ctr">
              <a:buFont typeface="Arial" panose="020B0604020202020204" pitchFamily="34" charset="0"/>
              <a:buNone/>
              <a:defRPr sz="3200">
                <a:solidFill>
                  <a:schemeClr val="bg1"/>
                </a:solidFill>
              </a:defRPr>
            </a:lvl1pPr>
          </a:lstStyle>
          <a:p>
            <a:r>
              <a:rPr lang="en-US" altLang="zh-CN" dirty="0"/>
              <a:t>Conclusion</a:t>
            </a:r>
            <a:endParaRPr lang="zh-CN" altLang="en-US" dirty="0"/>
          </a:p>
        </p:txBody>
      </p:sp>
      <p:sp>
        <p:nvSpPr>
          <p:cNvPr id="15" name="文本占位符 62"/>
          <p:cNvSpPr>
            <a:spLocks noGrp="1"/>
          </p:cNvSpPr>
          <p:nvPr userDrawn="1">
            <p:ph type="body" sz="quarter" idx="18" hasCustomPrompt="1"/>
          </p:nvPr>
        </p:nvSpPr>
        <p:spPr>
          <a:xfrm>
            <a:off x="673100" y="4658757"/>
            <a:ext cx="4728041" cy="310871"/>
          </a:xfrm>
        </p:spPr>
        <p:txBody>
          <a:bodyPr vert="horz" lIns="91440" tIns="45720" rIns="91440" bIns="45720" rtlCol="0">
            <a:normAutofit/>
          </a:bodyPr>
          <a:lstStyle>
            <a:lvl1pPr marL="0" indent="0" algn="ctr">
              <a:buNone/>
              <a:defRPr lang="zh-CN" altLang="en-US" sz="1500" smtClean="0">
                <a:solidFill>
                  <a:schemeClr val="bg1"/>
                </a:solidFill>
              </a:defRPr>
            </a:lvl1pPr>
            <a:lvl2pPr>
              <a:defRPr lang="zh-CN" altLang="en-US" sz="2000" smtClean="0"/>
            </a:lvl2pPr>
            <a:lvl3pPr>
              <a:defRPr lang="zh-CN" altLang="en-US" sz="1800" smtClean="0"/>
            </a:lvl3pPr>
            <a:lvl4pPr>
              <a:defRPr lang="zh-CN" altLang="en-US" sz="1600" smtClean="0"/>
            </a:lvl4pPr>
            <a:lvl5pPr>
              <a:defRPr lang="zh-CN" altLang="en-US" sz="1600"/>
            </a:lvl5pPr>
          </a:lstStyle>
          <a:p>
            <a:pPr marL="228589" marR="0" lvl="0" indent="-228589" fontAlgn="auto">
              <a:spcAft>
                <a:spcPts val="0"/>
              </a:spcAft>
              <a:buClrTx/>
              <a:buSzTx/>
              <a:tabLst/>
            </a:pPr>
            <a:r>
              <a:rPr lang="en-US" altLang="zh-CN" dirty="0"/>
              <a:t>Data</a:t>
            </a:r>
          </a:p>
        </p:txBody>
      </p:sp>
      <p:sp>
        <p:nvSpPr>
          <p:cNvPr id="6" name="文本占位符 13">
            <a:extLst>
              <a:ext uri="{FF2B5EF4-FFF2-40B4-BE49-F238E27FC236}">
                <a16:creationId xmlns:a16="http://schemas.microsoft.com/office/drawing/2014/main" id="{05EBDA4F-7210-4CAE-8333-80DB24212E78}"/>
              </a:ext>
            </a:extLst>
          </p:cNvPr>
          <p:cNvSpPr>
            <a:spLocks noGrp="1"/>
          </p:cNvSpPr>
          <p:nvPr>
            <p:ph type="body" sz="quarter" idx="10" hasCustomPrompt="1"/>
          </p:nvPr>
        </p:nvSpPr>
        <p:spPr>
          <a:xfrm>
            <a:off x="673102" y="4362486"/>
            <a:ext cx="4728041" cy="296271"/>
          </a:xfrm>
        </p:spPr>
        <p:txBody>
          <a:bodyPr vert="horz" anchor="ctr">
            <a:noAutofit/>
          </a:bodyPr>
          <a:lstStyle>
            <a:lvl1pPr marL="0" indent="0" algn="ctr">
              <a:buNone/>
              <a:defRPr sz="1500" b="0">
                <a:solidFill>
                  <a:schemeClr val="bg1"/>
                </a:solidFill>
              </a:defRPr>
            </a:lvl1pPr>
            <a:lvl2pPr marL="457177" indent="0">
              <a:buNone/>
              <a:defRPr/>
            </a:lvl2pPr>
            <a:lvl3pPr marL="914353" indent="0">
              <a:buNone/>
              <a:defRPr/>
            </a:lvl3pPr>
            <a:lvl4pPr marL="1371531" indent="0">
              <a:buNone/>
              <a:defRPr/>
            </a:lvl4pPr>
            <a:lvl5pPr marL="1828709" indent="0">
              <a:buNone/>
              <a:defRPr/>
            </a:lvl5pPr>
          </a:lstStyle>
          <a:p>
            <a:pPr lvl="0"/>
            <a:r>
              <a:rPr lang="en-US" altLang="zh-CN" dirty="0"/>
              <a:t>Signature</a:t>
            </a:r>
          </a:p>
        </p:txBody>
      </p:sp>
    </p:spTree>
    <p:extLst>
      <p:ext uri="{BB962C8B-B14F-4D97-AF65-F5344CB8AC3E}">
        <p14:creationId xmlns:p14="http://schemas.microsoft.com/office/powerpoint/2010/main" val="2378658405"/>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669924" y="1"/>
            <a:ext cx="10850563" cy="1028699"/>
          </a:xfrm>
          <a:prstGeom prst="rect">
            <a:avLst/>
          </a:prstGeom>
        </p:spPr>
        <p:txBody>
          <a:bodyPr vert="horz" lIns="91440" tIns="45720" rIns="91440" bIns="45720" rtlCol="0" anchor="b">
            <a:normAutofit/>
          </a:bodyPr>
          <a:lstStyle/>
          <a:p>
            <a:r>
              <a:rPr lang="en-US" altLang="zh-CN" dirty="0"/>
              <a:t>Click to edit Master title style</a:t>
            </a:r>
            <a:endParaRPr lang="zh-CN" altLang="en-US" dirty="0"/>
          </a:p>
        </p:txBody>
      </p:sp>
      <p:sp>
        <p:nvSpPr>
          <p:cNvPr id="3" name="文本占位符 2"/>
          <p:cNvSpPr>
            <a:spLocks noGrp="1"/>
          </p:cNvSpPr>
          <p:nvPr>
            <p:ph type="body" idx="1"/>
          </p:nvPr>
        </p:nvSpPr>
        <p:spPr>
          <a:xfrm>
            <a:off x="669924" y="1123950"/>
            <a:ext cx="10850563" cy="5019675"/>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zh-CN" altLang="en-US" dirty="0"/>
          </a:p>
        </p:txBody>
      </p:sp>
      <p:cxnSp>
        <p:nvCxnSpPr>
          <p:cNvPr id="7" name="直接连接符 6"/>
          <p:cNvCxnSpPr/>
          <p:nvPr userDrawn="1"/>
        </p:nvCxnSpPr>
        <p:spPr>
          <a:xfrm>
            <a:off x="669924" y="1028700"/>
            <a:ext cx="10850563" cy="0"/>
          </a:xfrm>
          <a:prstGeom prst="line">
            <a:avLst/>
          </a:prstGeom>
          <a:ln w="31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日期占位符 3">
            <a:extLst>
              <a:ext uri="{FF2B5EF4-FFF2-40B4-BE49-F238E27FC236}">
                <a16:creationId xmlns:a16="http://schemas.microsoft.com/office/drawing/2014/main" id="{04388434-9949-479C-A9C3-67A953F6A939}"/>
              </a:ext>
            </a:extLst>
          </p:cNvPr>
          <p:cNvSpPr>
            <a:spLocks noGrp="1"/>
          </p:cNvSpPr>
          <p:nvPr>
            <p:ph type="dt" sz="half" idx="2"/>
          </p:nvPr>
        </p:nvSpPr>
        <p:spPr>
          <a:xfrm>
            <a:off x="5401732" y="6240463"/>
            <a:ext cx="1388536" cy="206381"/>
          </a:xfrm>
          <a:prstGeom prst="rect">
            <a:avLst/>
          </a:prstGeom>
        </p:spPr>
        <p:txBody>
          <a:bodyPr vert="horz" lIns="91440" tIns="45720" rIns="91440" bIns="45720" rtlCol="0" anchor="ctr"/>
          <a:lstStyle>
            <a:lvl1pPr algn="ctr">
              <a:defRPr sz="1000">
                <a:solidFill>
                  <a:schemeClr val="tx1">
                    <a:lumMod val="50000"/>
                    <a:lumOff val="50000"/>
                  </a:schemeClr>
                </a:solidFill>
              </a:defRPr>
            </a:lvl1pPr>
          </a:lstStyle>
          <a:p>
            <a:endParaRPr lang="zh-CN" altLang="en-US"/>
          </a:p>
        </p:txBody>
      </p:sp>
      <p:sp>
        <p:nvSpPr>
          <p:cNvPr id="9" name="页脚占位符 4">
            <a:extLst>
              <a:ext uri="{FF2B5EF4-FFF2-40B4-BE49-F238E27FC236}">
                <a16:creationId xmlns:a16="http://schemas.microsoft.com/office/drawing/2014/main" id="{50A5656E-7A33-4865-A262-1F96263BAA16}"/>
              </a:ext>
            </a:extLst>
          </p:cNvPr>
          <p:cNvSpPr>
            <a:spLocks noGrp="1"/>
          </p:cNvSpPr>
          <p:nvPr>
            <p:ph type="ftr" sz="quarter" idx="3"/>
          </p:nvPr>
        </p:nvSpPr>
        <p:spPr>
          <a:xfrm>
            <a:off x="669924" y="6240463"/>
            <a:ext cx="4140201" cy="206381"/>
          </a:xfrm>
          <a:prstGeom prst="rect">
            <a:avLst/>
          </a:prstGeom>
        </p:spPr>
        <p:txBody>
          <a:bodyPr vert="horz" lIns="91440" tIns="45720" rIns="91440" bIns="45720" rtlCol="0" anchor="ctr"/>
          <a:lstStyle>
            <a:lvl1pPr algn="l">
              <a:defRPr sz="1000">
                <a:solidFill>
                  <a:schemeClr val="tx1">
                    <a:lumMod val="50000"/>
                    <a:lumOff val="50000"/>
                  </a:schemeClr>
                </a:solidFill>
              </a:defRPr>
            </a:lvl1pPr>
          </a:lstStyle>
          <a:p>
            <a:r>
              <a:rPr lang="en-US" altLang="zh-CN"/>
              <a:t>https://islide-powerpoint.com </a:t>
            </a:r>
            <a:endParaRPr lang="zh-CN" altLang="en-US" dirty="0"/>
          </a:p>
        </p:txBody>
      </p:sp>
      <p:sp>
        <p:nvSpPr>
          <p:cNvPr id="10" name="灯片编号占位符 5">
            <a:extLst>
              <a:ext uri="{FF2B5EF4-FFF2-40B4-BE49-F238E27FC236}">
                <a16:creationId xmlns:a16="http://schemas.microsoft.com/office/drawing/2014/main" id="{5BF52F79-380E-4278-8B67-588AFE5840F9}"/>
              </a:ext>
            </a:extLst>
          </p:cNvPr>
          <p:cNvSpPr>
            <a:spLocks noGrp="1"/>
          </p:cNvSpPr>
          <p:nvPr>
            <p:ph type="sldNum" sz="quarter" idx="4"/>
          </p:nvPr>
        </p:nvSpPr>
        <p:spPr>
          <a:xfrm>
            <a:off x="8610599" y="6240463"/>
            <a:ext cx="2909888" cy="206381"/>
          </a:xfrm>
          <a:prstGeom prst="rect">
            <a:avLst/>
          </a:prstGeom>
        </p:spPr>
        <p:txBody>
          <a:bodyPr vert="horz" lIns="91440" tIns="45720" rIns="91440" bIns="45720" rtlCol="0" anchor="ctr"/>
          <a:lstStyle>
            <a:lvl1pPr algn="r">
              <a:defRPr sz="1000">
                <a:solidFill>
                  <a:schemeClr val="tx1">
                    <a:lumMod val="50000"/>
                    <a:lumOff val="50000"/>
                  </a:schemeClr>
                </a:solidFill>
              </a:defRPr>
            </a:lvl1pPr>
          </a:lstStyle>
          <a:p>
            <a:fld id="{5DD3DB80-B894-403A-B48E-6FDC1A72010E}" type="slidenum">
              <a:rPr lang="zh-CN" altLang="en-US" smtClean="0"/>
              <a:pPr/>
              <a:t>‹#›</a:t>
            </a:fld>
            <a:endParaRPr lang="zh-CN" altLang="en-US"/>
          </a:p>
        </p:txBody>
      </p:sp>
    </p:spTree>
    <p:extLst>
      <p:ext uri="{BB962C8B-B14F-4D97-AF65-F5344CB8AC3E}">
        <p14:creationId xmlns:p14="http://schemas.microsoft.com/office/powerpoint/2010/main" val="3784027784"/>
      </p:ext>
    </p:extLst>
  </p:cSld>
  <p:clrMap bg1="lt1" tx1="dk1" bg2="lt2" tx2="dk2" accent1="accent1" accent2="accent2" accent3="accent3" accent4="accent4" accent5="accent5" accent6="accent6" hlink="hlink" folHlink="folHlink"/>
  <p:sldLayoutIdLst>
    <p:sldLayoutId id="2147483660" r:id="rId1"/>
    <p:sldLayoutId id="2147483651" r:id="rId2"/>
    <p:sldLayoutId id="2147483669" r:id="rId3"/>
    <p:sldLayoutId id="2147483662" r:id="rId4"/>
    <p:sldLayoutId id="2147483655" r:id="rId5"/>
    <p:sldLayoutId id="2147483661" r:id="rId6"/>
  </p:sldLayoutIdLst>
  <p:hf hdr="0" dt="0"/>
  <p:txStyles>
    <p:titleStyle>
      <a:lvl1pPr algn="l" defTabSz="914354"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228589" indent="-228589" algn="l" defTabSz="914354" rtl="0" eaLnBrk="1" latinLnBrk="0" hangingPunct="1">
        <a:lnSpc>
          <a:spcPct val="90000"/>
        </a:lnSpc>
        <a:spcBef>
          <a:spcPts val="1000"/>
        </a:spcBef>
        <a:buFont typeface="Arial" panose="020B0604020202020204" pitchFamily="34" charset="0"/>
        <a:buChar char="•"/>
        <a:defRPr sz="1800" kern="1200">
          <a:solidFill>
            <a:schemeClr val="tx1"/>
          </a:solidFill>
          <a:latin typeface="+mn-lt"/>
          <a:ea typeface="+mn-ea"/>
          <a:cs typeface="+mn-cs"/>
        </a:defRPr>
      </a:lvl1pPr>
      <a:lvl2pPr marL="685766" indent="-228589" algn="l" defTabSz="914354"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1142942" indent="-228589" algn="l" defTabSz="914354"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120"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4pPr>
      <a:lvl5pPr marL="2057298" indent="-228589" algn="l" defTabSz="914354" rtl="0" eaLnBrk="1" latinLnBrk="0" hangingPunct="1">
        <a:lnSpc>
          <a:spcPct val="90000"/>
        </a:lnSpc>
        <a:spcBef>
          <a:spcPts val="500"/>
        </a:spcBef>
        <a:buFont typeface="Arial" panose="020B0604020202020204" pitchFamily="34" charset="0"/>
        <a:buChar char="•"/>
        <a:defRPr sz="1200" kern="1200">
          <a:solidFill>
            <a:schemeClr val="tx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22" userDrawn="1">
          <p15:clr>
            <a:srgbClr val="F26B43"/>
          </p15:clr>
        </p15:guide>
        <p15:guide id="2" pos="7257" userDrawn="1">
          <p15:clr>
            <a:srgbClr val="F26B43"/>
          </p15:clr>
        </p15:guide>
        <p15:guide id="3" orient="horz" pos="648" userDrawn="1">
          <p15:clr>
            <a:srgbClr val="F26B43"/>
          </p15:clr>
        </p15:guide>
        <p15:guide id="4" orient="horz" pos="712" userDrawn="1">
          <p15:clr>
            <a:srgbClr val="F26B43"/>
          </p15:clr>
        </p15:guide>
        <p15:guide id="5" orient="horz" pos="3931" userDrawn="1">
          <p15:clr>
            <a:srgbClr val="F26B43"/>
          </p15:clr>
        </p15:guide>
        <p15:guide id="6" orient="horz" pos="386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vmlDrawing" Target="../drawings/vmlDrawing1.vml"/><Relationship Id="rId1" Type="http://schemas.openxmlformats.org/officeDocument/2006/relationships/themeOverride" Target="../theme/themeOverride1.xml"/><Relationship Id="rId6" Type="http://schemas.openxmlformats.org/officeDocument/2006/relationships/hyperlink" Target="https://islide-powerpoint.com/" TargetMode="External"/><Relationship Id="rId5" Type="http://schemas.openxmlformats.org/officeDocument/2006/relationships/image" Target="../media/image2.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0.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5.xml"/><Relationship Id="rId1" Type="http://schemas.openxmlformats.org/officeDocument/2006/relationships/themeOverride" Target="../theme/themeOverr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1.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1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vmlDrawing" Target="../drawings/vmlDrawing2.vml"/><Relationship Id="rId1" Type="http://schemas.openxmlformats.org/officeDocument/2006/relationships/themeOverride" Target="../theme/themeOverride13.xml"/><Relationship Id="rId6" Type="http://schemas.openxmlformats.org/officeDocument/2006/relationships/hyperlink" Target="https://islide-powerpoint.com/" TargetMode="External"/><Relationship Id="rId5" Type="http://schemas.openxmlformats.org/officeDocument/2006/relationships/image" Target="../media/image2.emf"/><Relationship Id="rId4" Type="http://schemas.openxmlformats.org/officeDocument/2006/relationships/oleObject" Target="../embeddings/oleObject2.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hyperlink" Target="https://islide-powerpoint.com/" TargetMode="Externa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2" Type="http://schemas.openxmlformats.org/officeDocument/2006/relationships/hyperlink" Target="https://islide-powerpoint.com/" TargetMode="Externa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4.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5.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6.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7.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8.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hemeOverride" Target="../theme/themeOverr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矩形 12">
            <a:extLst>
              <a:ext uri="{FF2B5EF4-FFF2-40B4-BE49-F238E27FC236}">
                <a16:creationId xmlns:a16="http://schemas.microsoft.com/office/drawing/2014/main" id="{D249B704-89FE-4F9A-ABA8-72B22083DF90}"/>
              </a:ext>
            </a:extLst>
          </p:cNvPr>
          <p:cNvSpPr/>
          <p:nvPr/>
        </p:nvSpPr>
        <p:spPr>
          <a:xfrm>
            <a:off x="5700409" y="5549902"/>
            <a:ext cx="5818489" cy="5873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aphicFrame>
        <p:nvGraphicFramePr>
          <p:cNvPr id="3" name="对象 2" hidden="1">
            <a:extLst>
              <a:ext uri="{FF2B5EF4-FFF2-40B4-BE49-F238E27FC236}">
                <a16:creationId xmlns:a16="http://schemas.microsoft.com/office/drawing/2014/main" id="{3C326D0B-7DAB-41B6-8030-2E4A18CC949B}"/>
              </a:ext>
            </a:extLst>
          </p:cNvPr>
          <p:cNvGraphicFramePr>
            <a:graphicFrameLocks noChangeAspect="1"/>
          </p:cNvGraphicFramePr>
          <p:nvPr>
            <p:extLst>
              <p:ext uri="{D42A27DB-BD31-4B8C-83A1-F6EECF244321}">
                <p14:modId xmlns:p14="http://schemas.microsoft.com/office/powerpoint/2010/main" val="2584086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1"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3C326D0B-7DAB-41B6-8030-2E4A18CC9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EC933494-1B63-4A32-964F-D05236799BAA}"/>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4000" b="1"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6" name="文本占位符 5"/>
          <p:cNvSpPr>
            <a:spLocks noGrp="1"/>
          </p:cNvSpPr>
          <p:nvPr>
            <p:ph type="body" sz="quarter" idx="10"/>
          </p:nvPr>
        </p:nvSpPr>
        <p:spPr/>
        <p:txBody>
          <a:bodyPr/>
          <a:lstStyle/>
          <a:p>
            <a:r>
              <a:rPr lang="en-US" altLang="zh-CN" dirty="0"/>
              <a:t>Speaker name and title</a:t>
            </a:r>
          </a:p>
        </p:txBody>
      </p:sp>
      <p:sp>
        <p:nvSpPr>
          <p:cNvPr id="7" name="文本占位符 6"/>
          <p:cNvSpPr>
            <a:spLocks noGrp="1"/>
          </p:cNvSpPr>
          <p:nvPr>
            <p:ph type="body" sz="quarter" idx="11"/>
          </p:nvPr>
        </p:nvSpPr>
        <p:spPr>
          <a:xfrm>
            <a:off x="5826868" y="5711820"/>
            <a:ext cx="3180610" cy="296271"/>
          </a:xfrm>
        </p:spPr>
        <p:txBody>
          <a:bodyPr/>
          <a:lstStyle/>
          <a:p>
            <a:r>
              <a:rPr lang="en-US" altLang="zh-CN" dirty="0">
                <a:hlinkClick r:id="rId6">
                  <a:extLst>
                    <a:ext uri="{A12FA001-AC4F-418D-AE19-62706E023703}">
                      <ahyp:hlinkClr xmlns:ahyp="http://schemas.microsoft.com/office/drawing/2018/hyperlinkcolor" val="tx"/>
                    </a:ext>
                  </a:extLst>
                </a:hlinkClick>
              </a:rPr>
              <a:t>https://iSlide-PowerPoint.com</a:t>
            </a:r>
            <a:endParaRPr lang="en-US" altLang="en-US" dirty="0"/>
          </a:p>
        </p:txBody>
      </p:sp>
      <p:sp>
        <p:nvSpPr>
          <p:cNvPr id="5" name="副标题 4"/>
          <p:cNvSpPr>
            <a:spLocks noGrp="1"/>
          </p:cNvSpPr>
          <p:nvPr>
            <p:ph type="subTitle" idx="1"/>
          </p:nvPr>
        </p:nvSpPr>
        <p:spPr>
          <a:xfrm>
            <a:off x="673098" y="5549901"/>
            <a:ext cx="10845800" cy="558799"/>
          </a:xfrm>
        </p:spPr>
        <p:txBody>
          <a:bodyPr>
            <a:normAutofit/>
          </a:bodyPr>
          <a:lstStyle/>
          <a:p>
            <a:r>
              <a:rPr lang="en-US" altLang="zh-CN" sz="2800" spc="600" dirty="0"/>
              <a:t>subtitle here</a:t>
            </a:r>
          </a:p>
        </p:txBody>
      </p:sp>
      <p:sp>
        <p:nvSpPr>
          <p:cNvPr id="4" name="标题 3"/>
          <p:cNvSpPr>
            <a:spLocks noGrp="1"/>
          </p:cNvSpPr>
          <p:nvPr>
            <p:ph type="ctrTitle"/>
          </p:nvPr>
        </p:nvSpPr>
        <p:spPr>
          <a:xfrm>
            <a:off x="673099" y="1028699"/>
            <a:ext cx="10845800" cy="3050932"/>
          </a:xfrm>
        </p:spPr>
        <p:txBody>
          <a:bodyPr>
            <a:normAutofit/>
          </a:bodyPr>
          <a:lstStyle/>
          <a:p>
            <a:r>
              <a:rPr lang="en-US" altLang="zh-CN" b="0" dirty="0"/>
              <a:t>ISLIDE</a:t>
            </a:r>
            <a:r>
              <a:rPr lang="en-US" altLang="zh-CN" b="0" baseline="30000" dirty="0"/>
              <a:t>®</a:t>
            </a:r>
            <a:r>
              <a:rPr lang="en-US" altLang="zh-CN" b="0" dirty="0"/>
              <a:t> </a:t>
            </a:r>
            <a:br>
              <a:rPr lang="en-US" altLang="zh-CN" sz="4400" dirty="0"/>
            </a:br>
            <a:r>
              <a:rPr lang="en-US" altLang="zh-CN" sz="8800" spc="-300" dirty="0"/>
              <a:t>P</a:t>
            </a:r>
            <a:r>
              <a:rPr lang="en-US" altLang="zh-CN" sz="8800" spc="-300" dirty="0">
                <a:solidFill>
                  <a:schemeClr val="accent3"/>
                </a:solidFill>
              </a:rPr>
              <a:t>O</a:t>
            </a:r>
            <a:r>
              <a:rPr lang="en-US" altLang="zh-CN" sz="8800" spc="-300" dirty="0"/>
              <a:t>WER </a:t>
            </a:r>
            <a:r>
              <a:rPr lang="en-US" altLang="zh-CN" sz="8800" spc="-300" dirty="0">
                <a:solidFill>
                  <a:schemeClr val="accent3"/>
                </a:solidFill>
              </a:rPr>
              <a:t>POINT</a:t>
            </a:r>
            <a:br>
              <a:rPr lang="en-US" altLang="zh-CN" sz="4400" dirty="0"/>
            </a:br>
            <a:r>
              <a:rPr lang="en-US" altLang="zh-CN" sz="4400" dirty="0"/>
              <a:t>    </a:t>
            </a:r>
            <a:r>
              <a:rPr lang="en-US" altLang="zh-CN" dirty="0"/>
              <a:t>STANDARD TEMPLATE</a:t>
            </a:r>
            <a:endParaRPr lang="zh-CN" altLang="en-US" sz="4400" dirty="0"/>
          </a:p>
        </p:txBody>
      </p:sp>
      <p:cxnSp>
        <p:nvCxnSpPr>
          <p:cNvPr id="15" name="直接箭头连接符 14">
            <a:extLst>
              <a:ext uri="{FF2B5EF4-FFF2-40B4-BE49-F238E27FC236}">
                <a16:creationId xmlns:a16="http://schemas.microsoft.com/office/drawing/2014/main" id="{09906215-CC4A-433A-BA04-D02B88BA1175}"/>
              </a:ext>
            </a:extLst>
          </p:cNvPr>
          <p:cNvCxnSpPr>
            <a:cxnSpLocks/>
          </p:cNvCxnSpPr>
          <p:nvPr/>
        </p:nvCxnSpPr>
        <p:spPr>
          <a:xfrm flipV="1">
            <a:off x="5963055" y="5856051"/>
            <a:ext cx="379379" cy="13077"/>
          </a:xfrm>
          <a:prstGeom prst="straightConnector1">
            <a:avLst/>
          </a:prstGeom>
          <a:ln w="25400" cap="sq">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直接箭头连接符 23">
            <a:extLst>
              <a:ext uri="{FF2B5EF4-FFF2-40B4-BE49-F238E27FC236}">
                <a16:creationId xmlns:a16="http://schemas.microsoft.com/office/drawing/2014/main" id="{FE2B6ED7-7C56-4D43-B074-2853AB967D14}"/>
              </a:ext>
            </a:extLst>
          </p:cNvPr>
          <p:cNvCxnSpPr>
            <a:cxnSpLocks/>
          </p:cNvCxnSpPr>
          <p:nvPr/>
        </p:nvCxnSpPr>
        <p:spPr>
          <a:xfrm>
            <a:off x="820245" y="3695390"/>
            <a:ext cx="419977" cy="0"/>
          </a:xfrm>
          <a:prstGeom prst="straightConnector1">
            <a:avLst/>
          </a:prstGeom>
          <a:ln w="63500" cap="sq">
            <a:solidFill>
              <a:schemeClr val="accent3"/>
            </a:solidFill>
            <a:tailEnd type="arrow"/>
          </a:ln>
        </p:spPr>
        <p:style>
          <a:lnRef idx="1">
            <a:schemeClr val="accent1"/>
          </a:lnRef>
          <a:fillRef idx="0">
            <a:schemeClr val="accent1"/>
          </a:fillRef>
          <a:effectRef idx="0">
            <a:schemeClr val="accent1"/>
          </a:effectRef>
          <a:fontRef idx="minor">
            <a:schemeClr val="tx1"/>
          </a:fontRef>
        </p:style>
      </p:cxnSp>
      <p:sp>
        <p:nvSpPr>
          <p:cNvPr id="36" name="矩形 35">
            <a:extLst>
              <a:ext uri="{FF2B5EF4-FFF2-40B4-BE49-F238E27FC236}">
                <a16:creationId xmlns:a16="http://schemas.microsoft.com/office/drawing/2014/main" id="{A3BF2269-A888-466A-A775-4651E9A65530}"/>
              </a:ext>
            </a:extLst>
          </p:cNvPr>
          <p:cNvSpPr/>
          <p:nvPr/>
        </p:nvSpPr>
        <p:spPr>
          <a:xfrm>
            <a:off x="10242633" y="0"/>
            <a:ext cx="1277855" cy="1277855"/>
          </a:xfrm>
          <a:prstGeom prst="rect">
            <a:avLst/>
          </a:prstGeom>
          <a:solidFill>
            <a:schemeClr val="accent3"/>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2800" dirty="0">
                <a:solidFill>
                  <a:schemeClr val="tx1"/>
                </a:solidFill>
                <a:latin typeface="Impact" panose="020B0806030902050204" pitchFamily="34" charset="0"/>
              </a:rPr>
              <a:t>LOGO</a:t>
            </a:r>
          </a:p>
        </p:txBody>
      </p:sp>
    </p:spTree>
    <p:extLst>
      <p:ext uri="{BB962C8B-B14F-4D97-AF65-F5344CB8AC3E}">
        <p14:creationId xmlns:p14="http://schemas.microsoft.com/office/powerpoint/2010/main" val="22717418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CAFF9C3-6F34-48DB-9180-72695404E9CE}"/>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81F3F03B-5A11-495D-90CB-00CAD1305258}"/>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AB3DF072-3EA4-4C93-8B8F-2441F936D9D5}"/>
              </a:ext>
            </a:extLst>
          </p:cNvPr>
          <p:cNvSpPr>
            <a:spLocks noGrp="1"/>
          </p:cNvSpPr>
          <p:nvPr>
            <p:ph type="sldNum" sz="quarter" idx="12"/>
          </p:nvPr>
        </p:nvSpPr>
        <p:spPr/>
        <p:txBody>
          <a:bodyPr/>
          <a:lstStyle/>
          <a:p>
            <a:fld id="{5DD3DB80-B894-403A-B48E-6FDC1A72010E}" type="slidenum">
              <a:rPr lang="zh-CN" altLang="en-US" smtClean="0"/>
              <a:pPr/>
              <a:t>10</a:t>
            </a:fld>
            <a:endParaRPr lang="zh-CN" altLang="en-US"/>
          </a:p>
        </p:txBody>
      </p:sp>
      <p:grpSp>
        <p:nvGrpSpPr>
          <p:cNvPr id="5" name="27763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9C2695E-B5BE-4297-B83B-712FF4CE73FE}"/>
              </a:ext>
            </a:extLst>
          </p:cNvPr>
          <p:cNvGrpSpPr>
            <a:grpSpLocks noChangeAspect="1"/>
          </p:cNvGrpSpPr>
          <p:nvPr/>
        </p:nvGrpSpPr>
        <p:grpSpPr>
          <a:xfrm>
            <a:off x="673099" y="1317314"/>
            <a:ext cx="10845801" cy="4642472"/>
            <a:chOff x="673099" y="1317314"/>
            <a:chExt cx="10845801" cy="4642472"/>
          </a:xfrm>
        </p:grpSpPr>
        <p:sp>
          <p:nvSpPr>
            <p:cNvPr id="6" name="îṣḻïdé">
              <a:extLst>
                <a:ext uri="{FF2B5EF4-FFF2-40B4-BE49-F238E27FC236}">
                  <a16:creationId xmlns:a16="http://schemas.microsoft.com/office/drawing/2014/main" id="{A1F86F39-251F-4601-AC8B-0126F9478D2E}"/>
                </a:ext>
              </a:extLst>
            </p:cNvPr>
            <p:cNvSpPr/>
            <p:nvPr/>
          </p:nvSpPr>
          <p:spPr>
            <a:xfrm>
              <a:off x="8039933" y="2978142"/>
              <a:ext cx="3478967" cy="1320816"/>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chorCtr="0">
              <a:normAutofit/>
            </a:bodyPr>
            <a:lstStyle/>
            <a:p>
              <a:pPr algn="ctr">
                <a:lnSpc>
                  <a:spcPct val="150000"/>
                </a:lnSpc>
              </a:pPr>
              <a:r>
                <a:rPr lang="en-US" altLang="zh-CN" b="1" kern="0" dirty="0">
                  <a:solidFill>
                    <a:schemeClr val="tx1"/>
                  </a:solidFill>
                </a:rPr>
                <a:t>…TEXT</a:t>
              </a:r>
            </a:p>
          </p:txBody>
        </p:sp>
        <p:sp>
          <p:nvSpPr>
            <p:cNvPr id="7" name="iṥḷíḓé">
              <a:extLst>
                <a:ext uri="{FF2B5EF4-FFF2-40B4-BE49-F238E27FC236}">
                  <a16:creationId xmlns:a16="http://schemas.microsoft.com/office/drawing/2014/main" id="{A1F86F39-251F-4601-AC8B-0126F9478D2E}"/>
                </a:ext>
              </a:extLst>
            </p:cNvPr>
            <p:cNvSpPr/>
            <p:nvPr/>
          </p:nvSpPr>
          <p:spPr>
            <a:xfrm>
              <a:off x="673099" y="2978142"/>
              <a:ext cx="3478967" cy="1320816"/>
            </a:xfrm>
            <a:prstGeom prst="rect">
              <a:avLst/>
            </a:prstGeom>
            <a:solidFill>
              <a:schemeClr val="bg1">
                <a:lumMod val="95000"/>
              </a:schemeClr>
            </a:solidFill>
            <a:ln w="3175">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ctr" anchorCtr="0">
              <a:normAutofit/>
            </a:bodyPr>
            <a:lstStyle/>
            <a:p>
              <a:pPr algn="ctr">
                <a:lnSpc>
                  <a:spcPct val="150000"/>
                </a:lnSpc>
              </a:pPr>
              <a:r>
                <a:rPr lang="en-US" altLang="zh-CN" b="1" kern="0" dirty="0">
                  <a:solidFill>
                    <a:schemeClr val="tx1"/>
                  </a:solidFill>
                </a:rPr>
                <a:t>…TEXT</a:t>
              </a:r>
              <a:endParaRPr lang="en-US" altLang="zh-CN" dirty="0">
                <a:solidFill>
                  <a:schemeClr val="tx1"/>
                </a:solidFill>
              </a:endParaRPr>
            </a:p>
          </p:txBody>
        </p:sp>
        <p:sp>
          <p:nvSpPr>
            <p:cNvPr id="8" name="ïṥḷíḓé">
              <a:extLst>
                <a:ext uri="{FF2B5EF4-FFF2-40B4-BE49-F238E27FC236}">
                  <a16:creationId xmlns:a16="http://schemas.microsoft.com/office/drawing/2014/main" id="{C4DEE7B5-B7D3-4B78-9276-2925B217FCF7}"/>
                </a:ext>
              </a:extLst>
            </p:cNvPr>
            <p:cNvSpPr/>
            <p:nvPr/>
          </p:nvSpPr>
          <p:spPr bwMode="auto">
            <a:xfrm>
              <a:off x="4152066" y="1684946"/>
              <a:ext cx="3865570" cy="3907208"/>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lnTo>
                    <a:pt x="21600" y="0"/>
                  </a:lnTo>
                  <a:lnTo>
                    <a:pt x="21600" y="21599"/>
                  </a:lnTo>
                  <a:lnTo>
                    <a:pt x="0" y="21599"/>
                  </a:lnTo>
                  <a:lnTo>
                    <a:pt x="0" y="0"/>
                  </a:lnTo>
                  <a:cubicBezTo>
                    <a:pt x="3599" y="0"/>
                    <a:pt x="7199" y="0"/>
                    <a:pt x="10800" y="0"/>
                  </a:cubicBezTo>
                </a:path>
              </a:pathLst>
            </a:custGeom>
            <a:pattFill prst="dkDnDiag">
              <a:fgClr>
                <a:schemeClr val="bg1">
                  <a:lumMod val="95000"/>
                </a:schemeClr>
              </a:fgClr>
              <a:bgClr>
                <a:schemeClr val="bg1"/>
              </a:bgClr>
            </a:pattFill>
            <a:ln w="19050">
              <a:solidFill>
                <a:schemeClr val="bg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dirty="0">
                <a:solidFill>
                  <a:schemeClr val="lt1"/>
                </a:solidFill>
              </a:endParaRPr>
            </a:p>
          </p:txBody>
        </p:sp>
        <p:grpSp>
          <p:nvGrpSpPr>
            <p:cNvPr id="9" name="işľïḑè">
              <a:extLst>
                <a:ext uri="{FF2B5EF4-FFF2-40B4-BE49-F238E27FC236}">
                  <a16:creationId xmlns:a16="http://schemas.microsoft.com/office/drawing/2014/main" id="{6E1C1F63-573E-4993-9AF3-7A0AC4FF845C}"/>
                </a:ext>
              </a:extLst>
            </p:cNvPr>
            <p:cNvGrpSpPr/>
            <p:nvPr/>
          </p:nvGrpSpPr>
          <p:grpSpPr>
            <a:xfrm>
              <a:off x="5912337" y="1512432"/>
              <a:ext cx="345028" cy="345028"/>
              <a:chOff x="5990341" y="1590436"/>
              <a:chExt cx="189020" cy="189020"/>
            </a:xfrm>
          </p:grpSpPr>
          <p:sp>
            <p:nvSpPr>
              <p:cNvPr id="43" name="îṣlïḍe">
                <a:extLst>
                  <a:ext uri="{FF2B5EF4-FFF2-40B4-BE49-F238E27FC236}">
                    <a16:creationId xmlns:a16="http://schemas.microsoft.com/office/drawing/2014/main" id="{3964C6A6-1838-40A5-BA31-0F7CC00D58F7}"/>
                  </a:ext>
                </a:extLst>
              </p:cNvPr>
              <p:cNvSpPr/>
              <p:nvPr/>
            </p:nvSpPr>
            <p:spPr>
              <a:xfrm>
                <a:off x="5990341" y="1590436"/>
                <a:ext cx="189020" cy="189020"/>
              </a:xfrm>
              <a:prstGeom prst="flowChartConnector">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4" name="iṥlïḓé">
                <a:extLst>
                  <a:ext uri="{FF2B5EF4-FFF2-40B4-BE49-F238E27FC236}">
                    <a16:creationId xmlns:a16="http://schemas.microsoft.com/office/drawing/2014/main" id="{B528C8E1-7A14-4DB0-B6BB-D0BBA31D64B1}"/>
                  </a:ext>
                </a:extLst>
              </p:cNvPr>
              <p:cNvSpPr/>
              <p:nvPr/>
            </p:nvSpPr>
            <p:spPr>
              <a:xfrm rot="5400000">
                <a:off x="6041231" y="1647343"/>
                <a:ext cx="87240" cy="75207"/>
              </a:xfrm>
              <a:prstGeom prst="triangl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0" name="ís1íḓe">
              <a:extLst>
                <a:ext uri="{FF2B5EF4-FFF2-40B4-BE49-F238E27FC236}">
                  <a16:creationId xmlns:a16="http://schemas.microsoft.com/office/drawing/2014/main" id="{27A164DB-C595-402B-B143-2768C93D240B}"/>
                </a:ext>
              </a:extLst>
            </p:cNvPr>
            <p:cNvGrpSpPr/>
            <p:nvPr/>
          </p:nvGrpSpPr>
          <p:grpSpPr>
            <a:xfrm>
              <a:off x="5912337" y="5419640"/>
              <a:ext cx="345028" cy="345028"/>
              <a:chOff x="5990341" y="5497644"/>
              <a:chExt cx="189020" cy="189020"/>
            </a:xfrm>
          </p:grpSpPr>
          <p:sp>
            <p:nvSpPr>
              <p:cNvPr id="41" name="ísļîdê">
                <a:extLst>
                  <a:ext uri="{FF2B5EF4-FFF2-40B4-BE49-F238E27FC236}">
                    <a16:creationId xmlns:a16="http://schemas.microsoft.com/office/drawing/2014/main" id="{3964C6A6-1838-40A5-BA31-0F7CC00D58F7}"/>
                  </a:ext>
                </a:extLst>
              </p:cNvPr>
              <p:cNvSpPr/>
              <p:nvPr/>
            </p:nvSpPr>
            <p:spPr>
              <a:xfrm>
                <a:off x="5990341" y="5497644"/>
                <a:ext cx="189020" cy="189020"/>
              </a:xfrm>
              <a:prstGeom prst="flowChartConnector">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2" name="îśḻiḑe">
                <a:extLst>
                  <a:ext uri="{FF2B5EF4-FFF2-40B4-BE49-F238E27FC236}">
                    <a16:creationId xmlns:a16="http://schemas.microsoft.com/office/drawing/2014/main" id="{B528C8E1-7A14-4DB0-B6BB-D0BBA31D64B1}"/>
                  </a:ext>
                </a:extLst>
              </p:cNvPr>
              <p:cNvSpPr/>
              <p:nvPr/>
            </p:nvSpPr>
            <p:spPr>
              <a:xfrm rot="16200000" flipH="1">
                <a:off x="6041231" y="5554551"/>
                <a:ext cx="87240" cy="75207"/>
              </a:xfrm>
              <a:prstGeom prst="triangl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1" name="î$1îde">
              <a:extLst>
                <a:ext uri="{FF2B5EF4-FFF2-40B4-BE49-F238E27FC236}">
                  <a16:creationId xmlns:a16="http://schemas.microsoft.com/office/drawing/2014/main" id="{75CDA9F3-3001-4C65-9F5D-398AD6D6DCED}"/>
                </a:ext>
              </a:extLst>
            </p:cNvPr>
            <p:cNvGrpSpPr/>
            <p:nvPr/>
          </p:nvGrpSpPr>
          <p:grpSpPr>
            <a:xfrm>
              <a:off x="7848341" y="3466036"/>
              <a:ext cx="345028" cy="345028"/>
              <a:chOff x="7848341" y="3466036"/>
              <a:chExt cx="345028" cy="345028"/>
            </a:xfrm>
          </p:grpSpPr>
          <p:sp>
            <p:nvSpPr>
              <p:cNvPr id="39" name="i$ḻïḋe">
                <a:extLst>
                  <a:ext uri="{FF2B5EF4-FFF2-40B4-BE49-F238E27FC236}">
                    <a16:creationId xmlns:a16="http://schemas.microsoft.com/office/drawing/2014/main" id="{3964C6A6-1838-40A5-BA31-0F7CC00D58F7}"/>
                  </a:ext>
                </a:extLst>
              </p:cNvPr>
              <p:cNvSpPr/>
              <p:nvPr/>
            </p:nvSpPr>
            <p:spPr>
              <a:xfrm>
                <a:off x="7848341" y="3466036"/>
                <a:ext cx="345028" cy="345028"/>
              </a:xfrm>
              <a:prstGeom prst="flowChartConnector">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40" name="ís1ïdê">
                <a:extLst>
                  <a:ext uri="{FF2B5EF4-FFF2-40B4-BE49-F238E27FC236}">
                    <a16:creationId xmlns:a16="http://schemas.microsoft.com/office/drawing/2014/main" id="{B528C8E1-7A14-4DB0-B6BB-D0BBA31D64B1}"/>
                  </a:ext>
                </a:extLst>
              </p:cNvPr>
              <p:cNvSpPr/>
              <p:nvPr/>
            </p:nvSpPr>
            <p:spPr>
              <a:xfrm rot="10800000">
                <a:off x="7941233" y="3569911"/>
                <a:ext cx="159244" cy="137278"/>
              </a:xfrm>
              <a:prstGeom prst="triangl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2" name="ïsļidè">
              <a:extLst>
                <a:ext uri="{FF2B5EF4-FFF2-40B4-BE49-F238E27FC236}">
                  <a16:creationId xmlns:a16="http://schemas.microsoft.com/office/drawing/2014/main" id="{BAD867A7-3A96-4862-9CD6-95DB4F4DA268}"/>
                </a:ext>
              </a:extLst>
            </p:cNvPr>
            <p:cNvGrpSpPr/>
            <p:nvPr/>
          </p:nvGrpSpPr>
          <p:grpSpPr>
            <a:xfrm>
              <a:off x="3976333" y="3466037"/>
              <a:ext cx="345028" cy="345028"/>
              <a:chOff x="4054337" y="3544041"/>
              <a:chExt cx="189020" cy="189020"/>
            </a:xfrm>
          </p:grpSpPr>
          <p:sp>
            <p:nvSpPr>
              <p:cNvPr id="37" name="íṥ1îḓé">
                <a:extLst>
                  <a:ext uri="{FF2B5EF4-FFF2-40B4-BE49-F238E27FC236}">
                    <a16:creationId xmlns:a16="http://schemas.microsoft.com/office/drawing/2014/main" id="{3964C6A6-1838-40A5-BA31-0F7CC00D58F7}"/>
                  </a:ext>
                </a:extLst>
              </p:cNvPr>
              <p:cNvSpPr/>
              <p:nvPr/>
            </p:nvSpPr>
            <p:spPr>
              <a:xfrm flipV="1">
                <a:off x="4054337" y="3544041"/>
                <a:ext cx="189020" cy="189020"/>
              </a:xfrm>
              <a:prstGeom prst="flowChartConnector">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sp>
            <p:nvSpPr>
              <p:cNvPr id="38" name="íśḷíḋé">
                <a:extLst>
                  <a:ext uri="{FF2B5EF4-FFF2-40B4-BE49-F238E27FC236}">
                    <a16:creationId xmlns:a16="http://schemas.microsoft.com/office/drawing/2014/main" id="{B528C8E1-7A14-4DB0-B6BB-D0BBA31D64B1}"/>
                  </a:ext>
                </a:extLst>
              </p:cNvPr>
              <p:cNvSpPr/>
              <p:nvPr/>
            </p:nvSpPr>
            <p:spPr>
              <a:xfrm rot="10800000" flipV="1">
                <a:off x="4105227" y="3600948"/>
                <a:ext cx="87240" cy="75207"/>
              </a:xfrm>
              <a:prstGeom prst="triangle">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3" name="ïslîďè">
              <a:extLst>
                <a:ext uri="{FF2B5EF4-FFF2-40B4-BE49-F238E27FC236}">
                  <a16:creationId xmlns:a16="http://schemas.microsoft.com/office/drawing/2014/main" id="{B81BA2E6-43B1-4741-914D-329113FB7832}"/>
                </a:ext>
              </a:extLst>
            </p:cNvPr>
            <p:cNvGrpSpPr/>
            <p:nvPr/>
          </p:nvGrpSpPr>
          <p:grpSpPr>
            <a:xfrm>
              <a:off x="3807816" y="1478206"/>
              <a:ext cx="708440" cy="708440"/>
              <a:chOff x="5019675" y="2562224"/>
              <a:chExt cx="660150" cy="660150"/>
            </a:xfrm>
          </p:grpSpPr>
          <p:sp>
            <p:nvSpPr>
              <p:cNvPr id="35" name="i$ľïḑé">
                <a:extLst>
                  <a:ext uri="{FF2B5EF4-FFF2-40B4-BE49-F238E27FC236}">
                    <a16:creationId xmlns:a16="http://schemas.microsoft.com/office/drawing/2014/main" id="{FAC7BDBF-3E95-4E63-81A3-4047A0958E5F}"/>
                  </a:ext>
                </a:extLst>
              </p:cNvPr>
              <p:cNvSpPr/>
              <p:nvPr/>
            </p:nvSpPr>
            <p:spPr>
              <a:xfrm>
                <a:off x="5019675" y="2562224"/>
                <a:ext cx="660150" cy="660150"/>
              </a:xfrm>
              <a:prstGeom prst="ellipse">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solidFill>
                    <a:schemeClr val="tx1"/>
                  </a:solidFill>
                </a:endParaRPr>
              </a:p>
            </p:txBody>
          </p:sp>
          <p:sp>
            <p:nvSpPr>
              <p:cNvPr id="36" name="ïṩ1iḓè">
                <a:extLst>
                  <a:ext uri="{FF2B5EF4-FFF2-40B4-BE49-F238E27FC236}">
                    <a16:creationId xmlns:a16="http://schemas.microsoft.com/office/drawing/2014/main" id="{8CC13D89-BC5E-47D7-8C69-684048FA5C8D}"/>
                  </a:ext>
                </a:extLst>
              </p:cNvPr>
              <p:cNvSpPr/>
              <p:nvPr/>
            </p:nvSpPr>
            <p:spPr>
              <a:xfrm>
                <a:off x="5206310" y="2760703"/>
                <a:ext cx="286880" cy="263192"/>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4" name="ïṡlîḋe">
              <a:extLst>
                <a:ext uri="{FF2B5EF4-FFF2-40B4-BE49-F238E27FC236}">
                  <a16:creationId xmlns:a16="http://schemas.microsoft.com/office/drawing/2014/main" id="{3D2EA1FE-1F1C-438F-B4F2-E651071F0FE8}"/>
                </a:ext>
              </a:extLst>
            </p:cNvPr>
            <p:cNvGrpSpPr/>
            <p:nvPr/>
          </p:nvGrpSpPr>
          <p:grpSpPr>
            <a:xfrm>
              <a:off x="1857077" y="1317314"/>
              <a:ext cx="1763279" cy="1030224"/>
              <a:chOff x="1897843" y="1953185"/>
              <a:chExt cx="1763279" cy="1030224"/>
            </a:xfrm>
          </p:grpSpPr>
          <p:sp>
            <p:nvSpPr>
              <p:cNvPr id="33" name="í$liḑé">
                <a:extLst>
                  <a:ext uri="{FF2B5EF4-FFF2-40B4-BE49-F238E27FC236}">
                    <a16:creationId xmlns:a16="http://schemas.microsoft.com/office/drawing/2014/main" id="{698E6602-8BEC-45F7-BE9D-F71B6D4C3EA3}"/>
                  </a:ext>
                </a:extLst>
              </p:cNvPr>
              <p:cNvSpPr/>
              <p:nvPr/>
            </p:nvSpPr>
            <p:spPr bwMode="auto">
              <a:xfrm>
                <a:off x="1897843" y="1953185"/>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defTabSz="914400"/>
                <a:r>
                  <a:rPr lang="en-US" altLang="zh-CN" sz="1600" b="1" kern="0" dirty="0"/>
                  <a:t>Text here</a:t>
                </a:r>
                <a:endParaRPr lang="zh-CN" altLang="en-US" sz="1600" b="1" kern="0" dirty="0"/>
              </a:p>
            </p:txBody>
          </p:sp>
          <p:sp>
            <p:nvSpPr>
              <p:cNvPr id="34" name="íṡ1ïḍé">
                <a:extLst>
                  <a:ext uri="{FF2B5EF4-FFF2-40B4-BE49-F238E27FC236}">
                    <a16:creationId xmlns:a16="http://schemas.microsoft.com/office/drawing/2014/main" id="{A1F86F39-251F-4601-AC8B-0126F9478D2E}"/>
                  </a:ext>
                </a:extLst>
              </p:cNvPr>
              <p:cNvSpPr/>
              <p:nvPr/>
            </p:nvSpPr>
            <p:spPr>
              <a:xfrm>
                <a:off x="1897843" y="2345298"/>
                <a:ext cx="1763279"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50000"/>
                  </a:lnSpc>
                </a:pPr>
                <a:r>
                  <a:rPr lang="en-US" altLang="zh-CN" sz="1100" dirty="0">
                    <a:solidFill>
                      <a:schemeClr val="tx1"/>
                    </a:solidFill>
                  </a:rPr>
                  <a:t>Supporting text here.</a:t>
                </a:r>
              </a:p>
              <a:p>
                <a:pPr lvl="0" algn="r">
                  <a:lnSpc>
                    <a:spcPct val="150000"/>
                  </a:lnSpc>
                </a:pPr>
                <a:r>
                  <a:rPr lang="en-US" altLang="zh-CN" sz="1100" dirty="0">
                    <a:solidFill>
                      <a:schemeClr val="tx1"/>
                    </a:solidFill>
                  </a:rPr>
                  <a:t>……</a:t>
                </a:r>
              </a:p>
            </p:txBody>
          </p:sp>
        </p:grpSp>
        <p:grpSp>
          <p:nvGrpSpPr>
            <p:cNvPr id="15" name="îSlíḑê">
              <a:extLst>
                <a:ext uri="{FF2B5EF4-FFF2-40B4-BE49-F238E27FC236}">
                  <a16:creationId xmlns:a16="http://schemas.microsoft.com/office/drawing/2014/main" id="{B81BA2E6-43B1-4741-914D-329113FB7832}"/>
                </a:ext>
              </a:extLst>
            </p:cNvPr>
            <p:cNvGrpSpPr/>
            <p:nvPr/>
          </p:nvGrpSpPr>
          <p:grpSpPr>
            <a:xfrm>
              <a:off x="7653446" y="1478206"/>
              <a:ext cx="708440" cy="708440"/>
              <a:chOff x="5019675" y="2562224"/>
              <a:chExt cx="660150" cy="660150"/>
            </a:xfrm>
          </p:grpSpPr>
          <p:sp>
            <p:nvSpPr>
              <p:cNvPr id="31" name="ïsľíďè">
                <a:extLst>
                  <a:ext uri="{FF2B5EF4-FFF2-40B4-BE49-F238E27FC236}">
                    <a16:creationId xmlns:a16="http://schemas.microsoft.com/office/drawing/2014/main" id="{FAC7BDBF-3E95-4E63-81A3-4047A0958E5F}"/>
                  </a:ext>
                </a:extLst>
              </p:cNvPr>
              <p:cNvSpPr/>
              <p:nvPr/>
            </p:nvSpPr>
            <p:spPr>
              <a:xfrm>
                <a:off x="5019675" y="2562224"/>
                <a:ext cx="660150" cy="660150"/>
              </a:xfrm>
              <a:prstGeom prst="ellipse">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solidFill>
                    <a:schemeClr val="tx1"/>
                  </a:solidFill>
                </a:endParaRPr>
              </a:p>
            </p:txBody>
          </p:sp>
          <p:sp>
            <p:nvSpPr>
              <p:cNvPr id="32" name="íšḻíďe">
                <a:extLst>
                  <a:ext uri="{FF2B5EF4-FFF2-40B4-BE49-F238E27FC236}">
                    <a16:creationId xmlns:a16="http://schemas.microsoft.com/office/drawing/2014/main" id="{8CC13D89-BC5E-47D7-8C69-684048FA5C8D}"/>
                  </a:ext>
                </a:extLst>
              </p:cNvPr>
              <p:cNvSpPr/>
              <p:nvPr/>
            </p:nvSpPr>
            <p:spPr>
              <a:xfrm>
                <a:off x="5206310" y="2760703"/>
                <a:ext cx="286880" cy="263192"/>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6" name="í$ļïḑé">
              <a:extLst>
                <a:ext uri="{FF2B5EF4-FFF2-40B4-BE49-F238E27FC236}">
                  <a16:creationId xmlns:a16="http://schemas.microsoft.com/office/drawing/2014/main" id="{C7A21A27-A68F-42A1-9D66-9BE2D56A6B7E}"/>
                </a:ext>
              </a:extLst>
            </p:cNvPr>
            <p:cNvGrpSpPr/>
            <p:nvPr/>
          </p:nvGrpSpPr>
          <p:grpSpPr>
            <a:xfrm>
              <a:off x="8549346" y="1317314"/>
              <a:ext cx="1763279" cy="1030224"/>
              <a:chOff x="1897843" y="1953185"/>
              <a:chExt cx="1763279" cy="1030224"/>
            </a:xfrm>
          </p:grpSpPr>
          <p:sp>
            <p:nvSpPr>
              <p:cNvPr id="29" name="ïṩľîdé">
                <a:extLst>
                  <a:ext uri="{FF2B5EF4-FFF2-40B4-BE49-F238E27FC236}">
                    <a16:creationId xmlns:a16="http://schemas.microsoft.com/office/drawing/2014/main" id="{698E6602-8BEC-45F7-BE9D-F71B6D4C3EA3}"/>
                  </a:ext>
                </a:extLst>
              </p:cNvPr>
              <p:cNvSpPr/>
              <p:nvPr/>
            </p:nvSpPr>
            <p:spPr bwMode="auto">
              <a:xfrm>
                <a:off x="1897843" y="1953185"/>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dirty="0"/>
                  <a:t>Text here</a:t>
                </a:r>
                <a:endParaRPr lang="zh-CN" altLang="en-US" sz="1600" b="1" kern="0" dirty="0"/>
              </a:p>
            </p:txBody>
          </p:sp>
          <p:sp>
            <p:nvSpPr>
              <p:cNvPr id="30" name="î$ḷïḋé">
                <a:extLst>
                  <a:ext uri="{FF2B5EF4-FFF2-40B4-BE49-F238E27FC236}">
                    <a16:creationId xmlns:a16="http://schemas.microsoft.com/office/drawing/2014/main" id="{A1F86F39-251F-4601-AC8B-0126F9478D2E}"/>
                  </a:ext>
                </a:extLst>
              </p:cNvPr>
              <p:cNvSpPr/>
              <p:nvPr/>
            </p:nvSpPr>
            <p:spPr>
              <a:xfrm>
                <a:off x="1897843" y="2345298"/>
                <a:ext cx="1763279"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50000"/>
                  </a:lnSpc>
                </a:pPr>
                <a:r>
                  <a:rPr lang="en-US" altLang="zh-CN" sz="1100" dirty="0">
                    <a:solidFill>
                      <a:schemeClr val="tx1"/>
                    </a:solidFill>
                  </a:rPr>
                  <a:t>Supporting text here.</a:t>
                </a:r>
              </a:p>
              <a:p>
                <a:pPr lvl="0">
                  <a:lnSpc>
                    <a:spcPct val="150000"/>
                  </a:lnSpc>
                </a:pPr>
                <a:r>
                  <a:rPr lang="en-US" altLang="zh-CN" sz="1100" dirty="0">
                    <a:solidFill>
                      <a:schemeClr val="tx1"/>
                    </a:solidFill>
                  </a:rPr>
                  <a:t>……</a:t>
                </a:r>
              </a:p>
            </p:txBody>
          </p:sp>
        </p:grpSp>
        <p:grpSp>
          <p:nvGrpSpPr>
            <p:cNvPr id="17" name="îṥḻidè">
              <a:extLst>
                <a:ext uri="{FF2B5EF4-FFF2-40B4-BE49-F238E27FC236}">
                  <a16:creationId xmlns:a16="http://schemas.microsoft.com/office/drawing/2014/main" id="{B81BA2E6-43B1-4741-914D-329113FB7832}"/>
                </a:ext>
              </a:extLst>
            </p:cNvPr>
            <p:cNvGrpSpPr/>
            <p:nvPr/>
          </p:nvGrpSpPr>
          <p:grpSpPr>
            <a:xfrm>
              <a:off x="3807816" y="5090454"/>
              <a:ext cx="708440" cy="708440"/>
              <a:chOff x="5019675" y="2562224"/>
              <a:chExt cx="660150" cy="660150"/>
            </a:xfrm>
          </p:grpSpPr>
          <p:sp>
            <p:nvSpPr>
              <p:cNvPr id="27" name="íṡļiďê">
                <a:extLst>
                  <a:ext uri="{FF2B5EF4-FFF2-40B4-BE49-F238E27FC236}">
                    <a16:creationId xmlns:a16="http://schemas.microsoft.com/office/drawing/2014/main" id="{FAC7BDBF-3E95-4E63-81A3-4047A0958E5F}"/>
                  </a:ext>
                </a:extLst>
              </p:cNvPr>
              <p:cNvSpPr/>
              <p:nvPr/>
            </p:nvSpPr>
            <p:spPr>
              <a:xfrm>
                <a:off x="5019675" y="2562224"/>
                <a:ext cx="660150" cy="660150"/>
              </a:xfrm>
              <a:prstGeom prst="ellipse">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solidFill>
                    <a:schemeClr val="tx1"/>
                  </a:solidFill>
                </a:endParaRPr>
              </a:p>
            </p:txBody>
          </p:sp>
          <p:sp>
            <p:nvSpPr>
              <p:cNvPr id="28" name="îsḻïdé">
                <a:extLst>
                  <a:ext uri="{FF2B5EF4-FFF2-40B4-BE49-F238E27FC236}">
                    <a16:creationId xmlns:a16="http://schemas.microsoft.com/office/drawing/2014/main" id="{8CC13D89-BC5E-47D7-8C69-684048FA5C8D}"/>
                  </a:ext>
                </a:extLst>
              </p:cNvPr>
              <p:cNvSpPr/>
              <p:nvPr/>
            </p:nvSpPr>
            <p:spPr>
              <a:xfrm>
                <a:off x="5206310" y="2760703"/>
                <a:ext cx="286880" cy="263192"/>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8" name="işḻiḓè">
              <a:extLst>
                <a:ext uri="{FF2B5EF4-FFF2-40B4-BE49-F238E27FC236}">
                  <a16:creationId xmlns:a16="http://schemas.microsoft.com/office/drawing/2014/main" id="{71D1F8D5-8AFF-4184-BF53-CDE7C0BEF860}"/>
                </a:ext>
              </a:extLst>
            </p:cNvPr>
            <p:cNvGrpSpPr/>
            <p:nvPr/>
          </p:nvGrpSpPr>
          <p:grpSpPr>
            <a:xfrm>
              <a:off x="1857077" y="4929562"/>
              <a:ext cx="1763279" cy="1030224"/>
              <a:chOff x="1897843" y="1953185"/>
              <a:chExt cx="1763279" cy="1030224"/>
            </a:xfrm>
          </p:grpSpPr>
          <p:sp>
            <p:nvSpPr>
              <p:cNvPr id="25" name="iṥļïḓê">
                <a:extLst>
                  <a:ext uri="{FF2B5EF4-FFF2-40B4-BE49-F238E27FC236}">
                    <a16:creationId xmlns:a16="http://schemas.microsoft.com/office/drawing/2014/main" id="{698E6602-8BEC-45F7-BE9D-F71B6D4C3EA3}"/>
                  </a:ext>
                </a:extLst>
              </p:cNvPr>
              <p:cNvSpPr/>
              <p:nvPr/>
            </p:nvSpPr>
            <p:spPr bwMode="auto">
              <a:xfrm>
                <a:off x="1897843" y="1953185"/>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defTabSz="914400"/>
                <a:r>
                  <a:rPr lang="en-US" altLang="zh-CN" sz="1600" b="1" kern="0" dirty="0"/>
                  <a:t>Text here</a:t>
                </a:r>
                <a:endParaRPr lang="zh-CN" altLang="en-US" sz="1600" b="1" kern="0" dirty="0"/>
              </a:p>
            </p:txBody>
          </p:sp>
          <p:sp>
            <p:nvSpPr>
              <p:cNvPr id="26" name="íSliḋe">
                <a:extLst>
                  <a:ext uri="{FF2B5EF4-FFF2-40B4-BE49-F238E27FC236}">
                    <a16:creationId xmlns:a16="http://schemas.microsoft.com/office/drawing/2014/main" id="{A1F86F39-251F-4601-AC8B-0126F9478D2E}"/>
                  </a:ext>
                </a:extLst>
              </p:cNvPr>
              <p:cNvSpPr/>
              <p:nvPr/>
            </p:nvSpPr>
            <p:spPr>
              <a:xfrm>
                <a:off x="1897843" y="2345298"/>
                <a:ext cx="1763279"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lnSpc>
                    <a:spcPct val="150000"/>
                  </a:lnSpc>
                </a:pPr>
                <a:r>
                  <a:rPr lang="en-US" altLang="zh-CN" sz="1100" dirty="0">
                    <a:solidFill>
                      <a:schemeClr val="tx1"/>
                    </a:solidFill>
                  </a:rPr>
                  <a:t>Supporting text here.</a:t>
                </a:r>
              </a:p>
              <a:p>
                <a:pPr lvl="0" algn="r">
                  <a:lnSpc>
                    <a:spcPct val="150000"/>
                  </a:lnSpc>
                </a:pPr>
                <a:r>
                  <a:rPr lang="en-US" altLang="zh-CN" sz="1100" dirty="0">
                    <a:solidFill>
                      <a:schemeClr val="tx1"/>
                    </a:solidFill>
                  </a:rPr>
                  <a:t>……</a:t>
                </a:r>
              </a:p>
            </p:txBody>
          </p:sp>
        </p:grpSp>
        <p:grpSp>
          <p:nvGrpSpPr>
            <p:cNvPr id="19" name="iŝlïḑè">
              <a:extLst>
                <a:ext uri="{FF2B5EF4-FFF2-40B4-BE49-F238E27FC236}">
                  <a16:creationId xmlns:a16="http://schemas.microsoft.com/office/drawing/2014/main" id="{B81BA2E6-43B1-4741-914D-329113FB7832}"/>
                </a:ext>
              </a:extLst>
            </p:cNvPr>
            <p:cNvGrpSpPr/>
            <p:nvPr/>
          </p:nvGrpSpPr>
          <p:grpSpPr>
            <a:xfrm>
              <a:off x="7653446" y="5090454"/>
              <a:ext cx="708440" cy="708440"/>
              <a:chOff x="5019675" y="2562224"/>
              <a:chExt cx="660150" cy="660150"/>
            </a:xfrm>
          </p:grpSpPr>
          <p:sp>
            <p:nvSpPr>
              <p:cNvPr id="23" name="íṧlíde">
                <a:extLst>
                  <a:ext uri="{FF2B5EF4-FFF2-40B4-BE49-F238E27FC236}">
                    <a16:creationId xmlns:a16="http://schemas.microsoft.com/office/drawing/2014/main" id="{FAC7BDBF-3E95-4E63-81A3-4047A0958E5F}"/>
                  </a:ext>
                </a:extLst>
              </p:cNvPr>
              <p:cNvSpPr/>
              <p:nvPr/>
            </p:nvSpPr>
            <p:spPr>
              <a:xfrm>
                <a:off x="5019675" y="2562224"/>
                <a:ext cx="660150" cy="660150"/>
              </a:xfrm>
              <a:prstGeom prst="ellipse">
                <a:avLst/>
              </a:prstGeom>
              <a:solidFill>
                <a:schemeClr val="bg1"/>
              </a:solidFill>
              <a:ln w="28575">
                <a:solidFill>
                  <a:schemeClr val="accent1"/>
                </a:solidFill>
                <a:round/>
                <a:headEnd/>
                <a:tailEnd/>
              </a:ln>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solidFill>
                    <a:schemeClr val="tx1"/>
                  </a:solidFill>
                </a:endParaRPr>
              </a:p>
            </p:txBody>
          </p:sp>
          <p:sp>
            <p:nvSpPr>
              <p:cNvPr id="24" name="ïšḷïďè">
                <a:extLst>
                  <a:ext uri="{FF2B5EF4-FFF2-40B4-BE49-F238E27FC236}">
                    <a16:creationId xmlns:a16="http://schemas.microsoft.com/office/drawing/2014/main" id="{8CC13D89-BC5E-47D7-8C69-684048FA5C8D}"/>
                  </a:ext>
                </a:extLst>
              </p:cNvPr>
              <p:cNvSpPr/>
              <p:nvPr/>
            </p:nvSpPr>
            <p:spPr>
              <a:xfrm>
                <a:off x="5206310" y="2760703"/>
                <a:ext cx="286880" cy="263192"/>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20" name="ïṧḻïde">
              <a:extLst>
                <a:ext uri="{FF2B5EF4-FFF2-40B4-BE49-F238E27FC236}">
                  <a16:creationId xmlns:a16="http://schemas.microsoft.com/office/drawing/2014/main" id="{3686777A-C32C-4DB1-B41B-6D4DABA63150}"/>
                </a:ext>
              </a:extLst>
            </p:cNvPr>
            <p:cNvGrpSpPr/>
            <p:nvPr/>
          </p:nvGrpSpPr>
          <p:grpSpPr>
            <a:xfrm>
              <a:off x="8549346" y="4929562"/>
              <a:ext cx="1763279" cy="1030224"/>
              <a:chOff x="1897843" y="1953185"/>
              <a:chExt cx="1763279" cy="1030224"/>
            </a:xfrm>
          </p:grpSpPr>
          <p:sp>
            <p:nvSpPr>
              <p:cNvPr id="21" name="îṡḻiḓé">
                <a:extLst>
                  <a:ext uri="{FF2B5EF4-FFF2-40B4-BE49-F238E27FC236}">
                    <a16:creationId xmlns:a16="http://schemas.microsoft.com/office/drawing/2014/main" id="{698E6602-8BEC-45F7-BE9D-F71B6D4C3EA3}"/>
                  </a:ext>
                </a:extLst>
              </p:cNvPr>
              <p:cNvSpPr/>
              <p:nvPr/>
            </p:nvSpPr>
            <p:spPr bwMode="auto">
              <a:xfrm>
                <a:off x="1897843" y="1953185"/>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dirty="0"/>
                  <a:t>Text here</a:t>
                </a:r>
                <a:endParaRPr lang="zh-CN" altLang="en-US" sz="1600" b="1" kern="0" dirty="0"/>
              </a:p>
            </p:txBody>
          </p:sp>
          <p:sp>
            <p:nvSpPr>
              <p:cNvPr id="22" name="išľïḑé">
                <a:extLst>
                  <a:ext uri="{FF2B5EF4-FFF2-40B4-BE49-F238E27FC236}">
                    <a16:creationId xmlns:a16="http://schemas.microsoft.com/office/drawing/2014/main" id="{A1F86F39-251F-4601-AC8B-0126F9478D2E}"/>
                  </a:ext>
                </a:extLst>
              </p:cNvPr>
              <p:cNvSpPr/>
              <p:nvPr/>
            </p:nvSpPr>
            <p:spPr>
              <a:xfrm>
                <a:off x="1897843" y="2345298"/>
                <a:ext cx="1763279"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nSpc>
                    <a:spcPct val="150000"/>
                  </a:lnSpc>
                </a:pPr>
                <a:r>
                  <a:rPr lang="en-US" altLang="zh-CN" sz="1100" dirty="0">
                    <a:solidFill>
                      <a:schemeClr val="tx1"/>
                    </a:solidFill>
                  </a:rPr>
                  <a:t>Supporting text here.</a:t>
                </a:r>
              </a:p>
              <a:p>
                <a:pPr lvl="0">
                  <a:lnSpc>
                    <a:spcPct val="150000"/>
                  </a:lnSpc>
                </a:pPr>
                <a:r>
                  <a:rPr lang="en-US" altLang="zh-CN" sz="1100" dirty="0">
                    <a:solidFill>
                      <a:schemeClr val="tx1"/>
                    </a:solidFill>
                  </a:rPr>
                  <a:t>……</a:t>
                </a:r>
              </a:p>
            </p:txBody>
          </p:sp>
        </p:grpSp>
      </p:grpSp>
    </p:spTree>
    <p:extLst>
      <p:ext uri="{BB962C8B-B14F-4D97-AF65-F5344CB8AC3E}">
        <p14:creationId xmlns:p14="http://schemas.microsoft.com/office/powerpoint/2010/main" val="40232958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61ABDAF5-90E4-4220-8727-8C605CAC63F0}"/>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58ADF543-0E5C-4F00-B6E5-DE84DD95E0E4}"/>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4614B599-3CD3-4748-B23D-1C47076965A2}"/>
              </a:ext>
            </a:extLst>
          </p:cNvPr>
          <p:cNvSpPr>
            <a:spLocks noGrp="1"/>
          </p:cNvSpPr>
          <p:nvPr>
            <p:ph type="sldNum" sz="quarter" idx="12"/>
          </p:nvPr>
        </p:nvSpPr>
        <p:spPr/>
        <p:txBody>
          <a:bodyPr/>
          <a:lstStyle/>
          <a:p>
            <a:fld id="{5DD3DB80-B894-403A-B48E-6FDC1A72010E}" type="slidenum">
              <a:rPr lang="zh-CN" altLang="en-US" smtClean="0"/>
              <a:pPr/>
              <a:t>11</a:t>
            </a:fld>
            <a:endParaRPr lang="zh-CN" altLang="en-US"/>
          </a:p>
        </p:txBody>
      </p:sp>
      <p:grpSp>
        <p:nvGrpSpPr>
          <p:cNvPr id="5" name="27765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D1706AC-6A92-45B2-BD03-5310D0E3F05A}"/>
              </a:ext>
            </a:extLst>
          </p:cNvPr>
          <p:cNvGrpSpPr>
            <a:grpSpLocks noChangeAspect="1"/>
          </p:cNvGrpSpPr>
          <p:nvPr/>
        </p:nvGrpSpPr>
        <p:grpSpPr>
          <a:xfrm>
            <a:off x="669925" y="1852654"/>
            <a:ext cx="10852150" cy="3886698"/>
            <a:chOff x="669925" y="1852654"/>
            <a:chExt cx="10852150" cy="3886698"/>
          </a:xfrm>
        </p:grpSpPr>
        <p:grpSp>
          <p:nvGrpSpPr>
            <p:cNvPr id="6" name="íšliḍe">
              <a:extLst>
                <a:ext uri="{FF2B5EF4-FFF2-40B4-BE49-F238E27FC236}">
                  <a16:creationId xmlns:a16="http://schemas.microsoft.com/office/drawing/2014/main" id="{06851839-5960-4788-B600-AE089D312016}"/>
                </a:ext>
              </a:extLst>
            </p:cNvPr>
            <p:cNvGrpSpPr/>
            <p:nvPr/>
          </p:nvGrpSpPr>
          <p:grpSpPr>
            <a:xfrm>
              <a:off x="4295775" y="1852654"/>
              <a:ext cx="3600450" cy="3571792"/>
              <a:chOff x="4313678" y="1860050"/>
              <a:chExt cx="3600450" cy="3571792"/>
            </a:xfrm>
          </p:grpSpPr>
          <p:sp>
            <p:nvSpPr>
              <p:cNvPr id="23" name="iśļîďê">
                <a:extLst>
                  <a:ext uri="{FF2B5EF4-FFF2-40B4-BE49-F238E27FC236}">
                    <a16:creationId xmlns:a16="http://schemas.microsoft.com/office/drawing/2014/main" id="{759FC31C-D2AD-422F-80CF-5FBECE819593}"/>
                  </a:ext>
                </a:extLst>
              </p:cNvPr>
              <p:cNvSpPr/>
              <p:nvPr/>
            </p:nvSpPr>
            <p:spPr>
              <a:xfrm>
                <a:off x="4343661" y="1860050"/>
                <a:ext cx="3570467" cy="3570466"/>
              </a:xfrm>
              <a:prstGeom prst="donut">
                <a:avLst>
                  <a:gd name="adj" fmla="val 32419"/>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4" name="î$ļîďè">
                <a:extLst>
                  <a:ext uri="{FF2B5EF4-FFF2-40B4-BE49-F238E27FC236}">
                    <a16:creationId xmlns:a16="http://schemas.microsoft.com/office/drawing/2014/main" id="{FBACD9B1-D6DC-4A63-AC57-21DD34764F81}"/>
                  </a:ext>
                </a:extLst>
              </p:cNvPr>
              <p:cNvSpPr/>
              <p:nvPr/>
            </p:nvSpPr>
            <p:spPr>
              <a:xfrm>
                <a:off x="4313678" y="1861376"/>
                <a:ext cx="3570467" cy="3570466"/>
              </a:xfrm>
              <a:prstGeom prst="ellipse">
                <a:avLst/>
              </a:prstGeom>
              <a:noFill/>
              <a:ln w="76200">
                <a:solidFill>
                  <a:schemeClr val="bg1">
                    <a:lumMod val="85000"/>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cxnSp>
            <p:nvCxnSpPr>
              <p:cNvPr id="25" name="直接连接符 24">
                <a:extLst>
                  <a:ext uri="{FF2B5EF4-FFF2-40B4-BE49-F238E27FC236}">
                    <a16:creationId xmlns:a16="http://schemas.microsoft.com/office/drawing/2014/main" id="{8B62080E-9ACA-48DA-8A98-3AD214530845}"/>
                  </a:ext>
                </a:extLst>
              </p:cNvPr>
              <p:cNvCxnSpPr>
                <a:cxnSpLocks/>
                <a:stCxn id="33" idx="1"/>
                <a:endCxn id="29" idx="5"/>
              </p:cNvCxnSpPr>
              <p:nvPr/>
            </p:nvCxnSpPr>
            <p:spPr>
              <a:xfrm flipH="1" flipV="1">
                <a:off x="5209219" y="2710537"/>
                <a:ext cx="536395" cy="551468"/>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9C2BB8E9-8ABB-4F7B-9740-04E8769DF0DD}"/>
                  </a:ext>
                </a:extLst>
              </p:cNvPr>
              <p:cNvCxnSpPr>
                <a:cxnSpLocks/>
                <a:stCxn id="30" idx="3"/>
                <a:endCxn id="33" idx="7"/>
              </p:cNvCxnSpPr>
              <p:nvPr/>
            </p:nvCxnSpPr>
            <p:spPr>
              <a:xfrm flipH="1">
                <a:off x="6512174" y="2710537"/>
                <a:ext cx="599210" cy="551468"/>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90D3C4C2-35D2-4FB8-8AAA-10559B3481BD}"/>
                  </a:ext>
                </a:extLst>
              </p:cNvPr>
              <p:cNvCxnSpPr>
                <a:cxnSpLocks/>
                <a:stCxn id="31" idx="1"/>
                <a:endCxn id="33" idx="5"/>
              </p:cNvCxnSpPr>
              <p:nvPr/>
            </p:nvCxnSpPr>
            <p:spPr>
              <a:xfrm flipH="1" flipV="1">
                <a:off x="6512174" y="4028561"/>
                <a:ext cx="599210" cy="507740"/>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8D93FF1E-C2BB-4EAA-B3FD-590CC75123A6}"/>
                  </a:ext>
                </a:extLst>
              </p:cNvPr>
              <p:cNvCxnSpPr>
                <a:cxnSpLocks/>
                <a:stCxn id="33" idx="3"/>
                <a:endCxn id="32" idx="7"/>
              </p:cNvCxnSpPr>
              <p:nvPr/>
            </p:nvCxnSpPr>
            <p:spPr>
              <a:xfrm flipH="1">
                <a:off x="5209219" y="4028561"/>
                <a:ext cx="536395" cy="538002"/>
              </a:xfrm>
              <a:prstGeom prst="line">
                <a:avLst/>
              </a:prstGeom>
              <a:ln w="9525">
                <a:solidFill>
                  <a:schemeClr val="tx1">
                    <a:lumMod val="20000"/>
                    <a:lumOff val="80000"/>
                  </a:schemeClr>
                </a:solidFill>
              </a:ln>
            </p:spPr>
            <p:style>
              <a:lnRef idx="1">
                <a:schemeClr val="accent1"/>
              </a:lnRef>
              <a:fillRef idx="0">
                <a:schemeClr val="accent1"/>
              </a:fillRef>
              <a:effectRef idx="0">
                <a:schemeClr val="accent1"/>
              </a:effectRef>
              <a:fontRef idx="minor">
                <a:schemeClr val="tx1"/>
              </a:fontRef>
            </p:style>
          </p:cxnSp>
          <p:sp>
            <p:nvSpPr>
              <p:cNvPr id="29" name="îŝlîḓe">
                <a:extLst>
                  <a:ext uri="{FF2B5EF4-FFF2-40B4-BE49-F238E27FC236}">
                    <a16:creationId xmlns:a16="http://schemas.microsoft.com/office/drawing/2014/main" id="{2BEDF189-97D8-4BB2-85E6-55FCB5194C0F}"/>
                  </a:ext>
                </a:extLst>
              </p:cNvPr>
              <p:cNvSpPr/>
              <p:nvPr/>
            </p:nvSpPr>
            <p:spPr>
              <a:xfrm>
                <a:off x="4406475" y="1907794"/>
                <a:ext cx="940473" cy="940472"/>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dirty="0">
                    <a:solidFill>
                      <a:schemeClr val="accent1"/>
                    </a:solidFill>
                  </a:rPr>
                  <a:t>Q1</a:t>
                </a:r>
                <a:endParaRPr dirty="0">
                  <a:solidFill>
                    <a:schemeClr val="accent1"/>
                  </a:solidFill>
                </a:endParaRPr>
              </a:p>
            </p:txBody>
          </p:sp>
          <p:sp>
            <p:nvSpPr>
              <p:cNvPr id="30" name="íṩlîḍê">
                <a:extLst>
                  <a:ext uri="{FF2B5EF4-FFF2-40B4-BE49-F238E27FC236}">
                    <a16:creationId xmlns:a16="http://schemas.microsoft.com/office/drawing/2014/main" id="{6B82E6C1-CC0B-4182-9D1F-003EB2D38986}"/>
                  </a:ext>
                </a:extLst>
              </p:cNvPr>
              <p:cNvSpPr/>
              <p:nvPr/>
            </p:nvSpPr>
            <p:spPr>
              <a:xfrm>
                <a:off x="6973655" y="1907794"/>
                <a:ext cx="940473" cy="940472"/>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dirty="0">
                    <a:solidFill>
                      <a:schemeClr val="accent1"/>
                    </a:solidFill>
                  </a:rPr>
                  <a:t>Q2</a:t>
                </a:r>
                <a:endParaRPr dirty="0">
                  <a:solidFill>
                    <a:schemeClr val="accent1"/>
                  </a:solidFill>
                </a:endParaRPr>
              </a:p>
            </p:txBody>
          </p:sp>
          <p:sp>
            <p:nvSpPr>
              <p:cNvPr id="31" name="îṥļiďê">
                <a:extLst>
                  <a:ext uri="{FF2B5EF4-FFF2-40B4-BE49-F238E27FC236}">
                    <a16:creationId xmlns:a16="http://schemas.microsoft.com/office/drawing/2014/main" id="{FEDAE2B3-BD48-42F9-BD16-159C3E66C644}"/>
                  </a:ext>
                </a:extLst>
              </p:cNvPr>
              <p:cNvSpPr/>
              <p:nvPr/>
            </p:nvSpPr>
            <p:spPr>
              <a:xfrm>
                <a:off x="6973655" y="4398572"/>
                <a:ext cx="940473" cy="940472"/>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dirty="0">
                    <a:solidFill>
                      <a:schemeClr val="accent1"/>
                    </a:solidFill>
                  </a:rPr>
                  <a:t>Q4</a:t>
                </a:r>
                <a:endParaRPr dirty="0">
                  <a:solidFill>
                    <a:schemeClr val="accent1"/>
                  </a:solidFill>
                </a:endParaRPr>
              </a:p>
            </p:txBody>
          </p:sp>
          <p:sp>
            <p:nvSpPr>
              <p:cNvPr id="32" name="îṧľïdê">
                <a:extLst>
                  <a:ext uri="{FF2B5EF4-FFF2-40B4-BE49-F238E27FC236}">
                    <a16:creationId xmlns:a16="http://schemas.microsoft.com/office/drawing/2014/main" id="{F5A860A7-B588-461C-A1C0-7489CFD832C6}"/>
                  </a:ext>
                </a:extLst>
              </p:cNvPr>
              <p:cNvSpPr/>
              <p:nvPr/>
            </p:nvSpPr>
            <p:spPr>
              <a:xfrm>
                <a:off x="4406475" y="4428834"/>
                <a:ext cx="940473" cy="940472"/>
              </a:xfrm>
              <a:prstGeom prst="ellipse">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dirty="0">
                    <a:solidFill>
                      <a:schemeClr val="accent1"/>
                    </a:solidFill>
                  </a:rPr>
                  <a:t>Q3</a:t>
                </a:r>
                <a:endParaRPr dirty="0">
                  <a:solidFill>
                    <a:schemeClr val="accent1"/>
                  </a:solidFill>
                </a:endParaRPr>
              </a:p>
            </p:txBody>
          </p:sp>
          <p:sp>
            <p:nvSpPr>
              <p:cNvPr id="33" name="ïṡ1ïḍé">
                <a:extLst>
                  <a:ext uri="{FF2B5EF4-FFF2-40B4-BE49-F238E27FC236}">
                    <a16:creationId xmlns:a16="http://schemas.microsoft.com/office/drawing/2014/main" id="{AA834B36-1EF9-4E63-A658-CC774C6DF4EE}"/>
                  </a:ext>
                </a:extLst>
              </p:cNvPr>
              <p:cNvSpPr/>
              <p:nvPr/>
            </p:nvSpPr>
            <p:spPr>
              <a:xfrm>
                <a:off x="5586854" y="3103246"/>
                <a:ext cx="1084080" cy="1084074"/>
              </a:xfrm>
              <a:prstGeom prst="ellipse">
                <a:avLst/>
              </a:prstGeom>
              <a:solidFill>
                <a:schemeClr val="accent1"/>
              </a:solidFill>
              <a:ln w="57150">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sz="1600" b="1" dirty="0"/>
                  <a:t>2022</a:t>
                </a:r>
                <a:endParaRPr sz="1600" b="1" dirty="0"/>
              </a:p>
            </p:txBody>
          </p:sp>
          <p:sp>
            <p:nvSpPr>
              <p:cNvPr id="34" name="ïṥḷîḋê">
                <a:extLst>
                  <a:ext uri="{FF2B5EF4-FFF2-40B4-BE49-F238E27FC236}">
                    <a16:creationId xmlns:a16="http://schemas.microsoft.com/office/drawing/2014/main" id="{102B6F3C-A800-4E4C-A66A-2504AA66ED79}"/>
                  </a:ext>
                </a:extLst>
              </p:cNvPr>
              <p:cNvSpPr/>
              <p:nvPr/>
            </p:nvSpPr>
            <p:spPr>
              <a:xfrm>
                <a:off x="5156145" y="2661016"/>
                <a:ext cx="127324" cy="127324"/>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sz="1600" b="1" dirty="0"/>
              </a:p>
            </p:txBody>
          </p:sp>
          <p:sp>
            <p:nvSpPr>
              <p:cNvPr id="35" name="i$1îḑé">
                <a:extLst>
                  <a:ext uri="{FF2B5EF4-FFF2-40B4-BE49-F238E27FC236}">
                    <a16:creationId xmlns:a16="http://schemas.microsoft.com/office/drawing/2014/main" id="{EDC9FD68-5F93-424A-9754-741B38C986B1}"/>
                  </a:ext>
                </a:extLst>
              </p:cNvPr>
              <p:cNvSpPr/>
              <p:nvPr/>
            </p:nvSpPr>
            <p:spPr>
              <a:xfrm>
                <a:off x="5156145" y="4480628"/>
                <a:ext cx="127324" cy="127324"/>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sz="1600" b="1" dirty="0"/>
              </a:p>
            </p:txBody>
          </p:sp>
          <p:sp>
            <p:nvSpPr>
              <p:cNvPr id="36" name="îśḻîdè">
                <a:extLst>
                  <a:ext uri="{FF2B5EF4-FFF2-40B4-BE49-F238E27FC236}">
                    <a16:creationId xmlns:a16="http://schemas.microsoft.com/office/drawing/2014/main" id="{075F63B8-A05E-468E-AC0C-EBB68AA07259}"/>
                  </a:ext>
                </a:extLst>
              </p:cNvPr>
              <p:cNvSpPr/>
              <p:nvPr/>
            </p:nvSpPr>
            <p:spPr>
              <a:xfrm>
                <a:off x="7030461" y="4480628"/>
                <a:ext cx="127324" cy="127324"/>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sz="1600" b="1" dirty="0"/>
              </a:p>
            </p:txBody>
          </p:sp>
          <p:sp>
            <p:nvSpPr>
              <p:cNvPr id="37" name="íṣlïďe">
                <a:extLst>
                  <a:ext uri="{FF2B5EF4-FFF2-40B4-BE49-F238E27FC236}">
                    <a16:creationId xmlns:a16="http://schemas.microsoft.com/office/drawing/2014/main" id="{E2EC0CEC-750F-48BA-AD51-5CE05DEF8CF8}"/>
                  </a:ext>
                </a:extLst>
              </p:cNvPr>
              <p:cNvSpPr/>
              <p:nvPr/>
            </p:nvSpPr>
            <p:spPr>
              <a:xfrm>
                <a:off x="7030461" y="2661016"/>
                <a:ext cx="127324" cy="127324"/>
              </a:xfrm>
              <a:prstGeom prst="ellipse">
                <a:avLst/>
              </a:prstGeom>
              <a:solidFill>
                <a:schemeClr val="accent1"/>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25000" lnSpcReduction="20000"/>
              </a:bodyPr>
              <a:lstStyle/>
              <a:p>
                <a:pPr algn="ctr"/>
                <a:endParaRPr sz="1600" b="1" dirty="0"/>
              </a:p>
            </p:txBody>
          </p:sp>
        </p:grpSp>
        <p:cxnSp>
          <p:nvCxnSpPr>
            <p:cNvPr id="7" name="直接连接符 6">
              <a:extLst>
                <a:ext uri="{FF2B5EF4-FFF2-40B4-BE49-F238E27FC236}">
                  <a16:creationId xmlns:a16="http://schemas.microsoft.com/office/drawing/2014/main" id="{E5445299-B925-4C67-ACA2-ED4FA88208B0}"/>
                </a:ext>
              </a:extLst>
            </p:cNvPr>
            <p:cNvCxnSpPr/>
            <p:nvPr/>
          </p:nvCxnSpPr>
          <p:spPr>
            <a:xfrm flipH="1">
              <a:off x="669925" y="2356701"/>
              <a:ext cx="362585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CBC9A985-7F56-474A-8537-457492E9831C}"/>
                </a:ext>
              </a:extLst>
            </p:cNvPr>
            <p:cNvCxnSpPr/>
            <p:nvPr/>
          </p:nvCxnSpPr>
          <p:spPr>
            <a:xfrm flipH="1">
              <a:off x="669925" y="4996207"/>
              <a:ext cx="3625850"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BEBEB0F0-3519-4D39-BA10-CA7F9CBF54D7}"/>
                </a:ext>
              </a:extLst>
            </p:cNvPr>
            <p:cNvCxnSpPr/>
            <p:nvPr/>
          </p:nvCxnSpPr>
          <p:spPr>
            <a:xfrm flipH="1">
              <a:off x="7959039" y="2356701"/>
              <a:ext cx="3563036"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F07DEE4C-7594-48AB-B81E-F64474CD90D9}"/>
                </a:ext>
              </a:extLst>
            </p:cNvPr>
            <p:cNvCxnSpPr/>
            <p:nvPr/>
          </p:nvCxnSpPr>
          <p:spPr>
            <a:xfrm flipH="1">
              <a:off x="7959039" y="4996207"/>
              <a:ext cx="3563036"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11" name="iṣļíďè">
              <a:extLst>
                <a:ext uri="{FF2B5EF4-FFF2-40B4-BE49-F238E27FC236}">
                  <a16:creationId xmlns:a16="http://schemas.microsoft.com/office/drawing/2014/main" id="{598CD202-E83B-4E74-8DFC-3FD4370FE308}"/>
                </a:ext>
              </a:extLst>
            </p:cNvPr>
            <p:cNvSpPr txBox="1"/>
            <p:nvPr/>
          </p:nvSpPr>
          <p:spPr>
            <a:xfrm>
              <a:off x="1100035" y="1900398"/>
              <a:ext cx="2412370" cy="454199"/>
            </a:xfrm>
            <a:prstGeom prst="rect">
              <a:avLst/>
            </a:prstGeom>
            <a:noFill/>
          </p:spPr>
          <p:txBody>
            <a:bodyPr wrap="none" rtlCol="0" anchor="b">
              <a:normAutofit/>
            </a:bodyPr>
            <a:lstStyle/>
            <a:p>
              <a:pPr lvl="0" defTabSz="914378">
                <a:spcBef>
                  <a:spcPct val="0"/>
                </a:spcBef>
                <a:defRPr/>
              </a:pPr>
              <a:r>
                <a:rPr lang="en-US" altLang="zh-CN" b="1"/>
                <a:t>… text</a:t>
              </a:r>
              <a:endParaRPr lang="zh-CN" altLang="en-US" b="1" dirty="0"/>
            </a:p>
          </p:txBody>
        </p:sp>
        <p:sp>
          <p:nvSpPr>
            <p:cNvPr id="12" name="iṡ1îḓê">
              <a:extLst>
                <a:ext uri="{FF2B5EF4-FFF2-40B4-BE49-F238E27FC236}">
                  <a16:creationId xmlns:a16="http://schemas.microsoft.com/office/drawing/2014/main" id="{09A5B446-D728-4F9A-9B09-F6E0EF28C683}"/>
                </a:ext>
              </a:extLst>
            </p:cNvPr>
            <p:cNvSpPr/>
            <p:nvPr/>
          </p:nvSpPr>
          <p:spPr bwMode="auto">
            <a:xfrm>
              <a:off x="1100035" y="2421476"/>
              <a:ext cx="2412370" cy="689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30000"/>
                </a:lnSpc>
                <a:buFont typeface="Arial" panose="020B0604020202020204" pitchFamily="34" charset="0"/>
                <a:buChar char="•"/>
              </a:pPr>
              <a:r>
                <a:rPr lang="en-US" altLang="zh-CN" sz="1100"/>
                <a:t>Supporting text here.</a:t>
              </a:r>
            </a:p>
            <a:p>
              <a:pPr marL="171450" indent="-171450">
                <a:lnSpc>
                  <a:spcPct val="130000"/>
                </a:lnSpc>
                <a:buFont typeface="Arial" panose="020B0604020202020204" pitchFamily="34" charset="0"/>
                <a:buChar char="•"/>
              </a:pPr>
              <a:r>
                <a:rPr lang="en-US" altLang="zh-CN" sz="1100"/>
                <a:t>…… </a:t>
              </a:r>
              <a:endParaRPr lang="en-US" altLang="zh-CN" sz="1100" dirty="0"/>
            </a:p>
          </p:txBody>
        </p:sp>
        <p:sp>
          <p:nvSpPr>
            <p:cNvPr id="13" name="išlîďé">
              <a:extLst>
                <a:ext uri="{FF2B5EF4-FFF2-40B4-BE49-F238E27FC236}">
                  <a16:creationId xmlns:a16="http://schemas.microsoft.com/office/drawing/2014/main" id="{52474BF5-3580-467B-BA19-29DCFEB61991}"/>
                </a:ext>
              </a:extLst>
            </p:cNvPr>
            <p:cNvSpPr txBox="1"/>
            <p:nvPr/>
          </p:nvSpPr>
          <p:spPr>
            <a:xfrm>
              <a:off x="1100035" y="4528905"/>
              <a:ext cx="2412370" cy="454199"/>
            </a:xfrm>
            <a:prstGeom prst="rect">
              <a:avLst/>
            </a:prstGeom>
            <a:noFill/>
          </p:spPr>
          <p:txBody>
            <a:bodyPr wrap="none" rtlCol="0" anchor="b">
              <a:normAutofit/>
            </a:bodyPr>
            <a:lstStyle/>
            <a:p>
              <a:pPr lvl="0" defTabSz="914378">
                <a:spcBef>
                  <a:spcPct val="0"/>
                </a:spcBef>
                <a:defRPr/>
              </a:pPr>
              <a:r>
                <a:rPr lang="en-US" altLang="zh-CN" b="1"/>
                <a:t>… text</a:t>
              </a:r>
              <a:endParaRPr lang="zh-CN" altLang="en-US" b="1" dirty="0"/>
            </a:p>
          </p:txBody>
        </p:sp>
        <p:sp>
          <p:nvSpPr>
            <p:cNvPr id="14" name="îšlïdê">
              <a:extLst>
                <a:ext uri="{FF2B5EF4-FFF2-40B4-BE49-F238E27FC236}">
                  <a16:creationId xmlns:a16="http://schemas.microsoft.com/office/drawing/2014/main" id="{EEDAD9BE-59B2-4338-9AEA-72EBA9001D14}"/>
                </a:ext>
              </a:extLst>
            </p:cNvPr>
            <p:cNvSpPr/>
            <p:nvPr/>
          </p:nvSpPr>
          <p:spPr bwMode="auto">
            <a:xfrm>
              <a:off x="1100035" y="5049983"/>
              <a:ext cx="2412370" cy="689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30000"/>
                </a:lnSpc>
                <a:buFont typeface="Arial" panose="020B0604020202020204" pitchFamily="34" charset="0"/>
                <a:buChar char="•"/>
              </a:pPr>
              <a:r>
                <a:rPr lang="en-US" altLang="zh-CN" sz="1100"/>
                <a:t>Supporting text here.</a:t>
              </a:r>
            </a:p>
            <a:p>
              <a:pPr marL="171450" indent="-171450">
                <a:lnSpc>
                  <a:spcPct val="130000"/>
                </a:lnSpc>
                <a:buFont typeface="Arial" panose="020B0604020202020204" pitchFamily="34" charset="0"/>
                <a:buChar char="•"/>
              </a:pPr>
              <a:r>
                <a:rPr lang="en-US" altLang="zh-CN" sz="1100"/>
                <a:t>…… </a:t>
              </a:r>
              <a:endParaRPr lang="en-US" altLang="zh-CN" sz="1100" dirty="0"/>
            </a:p>
          </p:txBody>
        </p:sp>
        <p:sp>
          <p:nvSpPr>
            <p:cNvPr id="15" name="ïslïḑê">
              <a:extLst>
                <a:ext uri="{FF2B5EF4-FFF2-40B4-BE49-F238E27FC236}">
                  <a16:creationId xmlns:a16="http://schemas.microsoft.com/office/drawing/2014/main" id="{1A4C5F06-7FAC-494B-A3E4-25BED77BD8E9}"/>
                </a:ext>
              </a:extLst>
            </p:cNvPr>
            <p:cNvSpPr txBox="1"/>
            <p:nvPr/>
          </p:nvSpPr>
          <p:spPr>
            <a:xfrm>
              <a:off x="8698969" y="1900398"/>
              <a:ext cx="2412370" cy="454199"/>
            </a:xfrm>
            <a:prstGeom prst="rect">
              <a:avLst/>
            </a:prstGeom>
            <a:noFill/>
          </p:spPr>
          <p:txBody>
            <a:bodyPr wrap="none" rtlCol="0" anchor="b">
              <a:normAutofit/>
            </a:bodyPr>
            <a:lstStyle/>
            <a:p>
              <a:pPr lvl="0" algn="r" defTabSz="914378">
                <a:spcBef>
                  <a:spcPct val="0"/>
                </a:spcBef>
                <a:defRPr/>
              </a:pPr>
              <a:r>
                <a:rPr lang="en-US" altLang="zh-CN" b="1"/>
                <a:t>… text</a:t>
              </a:r>
              <a:endParaRPr lang="zh-CN" altLang="en-US" b="1" dirty="0"/>
            </a:p>
          </p:txBody>
        </p:sp>
        <p:sp>
          <p:nvSpPr>
            <p:cNvPr id="16" name="ísļîḓé">
              <a:extLst>
                <a:ext uri="{FF2B5EF4-FFF2-40B4-BE49-F238E27FC236}">
                  <a16:creationId xmlns:a16="http://schemas.microsoft.com/office/drawing/2014/main" id="{EA15E47A-7ACD-436F-8E85-94D8FA2519FA}"/>
                </a:ext>
              </a:extLst>
            </p:cNvPr>
            <p:cNvSpPr/>
            <p:nvPr/>
          </p:nvSpPr>
          <p:spPr bwMode="auto">
            <a:xfrm>
              <a:off x="8698969" y="2421476"/>
              <a:ext cx="2412370" cy="689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30000"/>
                </a:lnSpc>
                <a:buFont typeface="Arial" panose="020B0604020202020204" pitchFamily="34" charset="0"/>
                <a:buChar char="•"/>
              </a:pPr>
              <a:r>
                <a:rPr lang="en-US" altLang="zh-CN" sz="1100"/>
                <a:t>Supporting text here.</a:t>
              </a:r>
            </a:p>
            <a:p>
              <a:pPr marL="171450" indent="-171450" algn="r">
                <a:lnSpc>
                  <a:spcPct val="130000"/>
                </a:lnSpc>
                <a:buFont typeface="Arial" panose="020B0604020202020204" pitchFamily="34" charset="0"/>
                <a:buChar char="•"/>
              </a:pPr>
              <a:r>
                <a:rPr lang="en-US" altLang="zh-CN" sz="1100"/>
                <a:t>…… </a:t>
              </a:r>
              <a:endParaRPr lang="en-US" altLang="zh-CN" sz="1100" dirty="0"/>
            </a:p>
          </p:txBody>
        </p:sp>
        <p:sp>
          <p:nvSpPr>
            <p:cNvPr id="17" name="íŝľïḑe">
              <a:extLst>
                <a:ext uri="{FF2B5EF4-FFF2-40B4-BE49-F238E27FC236}">
                  <a16:creationId xmlns:a16="http://schemas.microsoft.com/office/drawing/2014/main" id="{E4E4D8B3-427B-4783-8CC0-84B54E4A0F53}"/>
                </a:ext>
              </a:extLst>
            </p:cNvPr>
            <p:cNvSpPr txBox="1"/>
            <p:nvPr/>
          </p:nvSpPr>
          <p:spPr>
            <a:xfrm>
              <a:off x="8698969" y="4528905"/>
              <a:ext cx="2412370" cy="454199"/>
            </a:xfrm>
            <a:prstGeom prst="rect">
              <a:avLst/>
            </a:prstGeom>
            <a:noFill/>
          </p:spPr>
          <p:txBody>
            <a:bodyPr wrap="none" rtlCol="0" anchor="b">
              <a:normAutofit/>
            </a:bodyPr>
            <a:lstStyle/>
            <a:p>
              <a:pPr lvl="0" algn="r" defTabSz="914378">
                <a:spcBef>
                  <a:spcPct val="0"/>
                </a:spcBef>
                <a:defRPr/>
              </a:pPr>
              <a:r>
                <a:rPr lang="en-US" altLang="zh-CN" b="1"/>
                <a:t>… text</a:t>
              </a:r>
              <a:endParaRPr lang="zh-CN" altLang="en-US" b="1" dirty="0"/>
            </a:p>
          </p:txBody>
        </p:sp>
        <p:sp>
          <p:nvSpPr>
            <p:cNvPr id="18" name="îsľiḑe">
              <a:extLst>
                <a:ext uri="{FF2B5EF4-FFF2-40B4-BE49-F238E27FC236}">
                  <a16:creationId xmlns:a16="http://schemas.microsoft.com/office/drawing/2014/main" id="{6F1602C6-7DF3-48C8-810A-95CEF796EB31}"/>
                </a:ext>
              </a:extLst>
            </p:cNvPr>
            <p:cNvSpPr/>
            <p:nvPr/>
          </p:nvSpPr>
          <p:spPr bwMode="auto">
            <a:xfrm>
              <a:off x="8698969" y="5049983"/>
              <a:ext cx="2412370" cy="6893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30000"/>
                </a:lnSpc>
                <a:buFont typeface="Arial" panose="020B0604020202020204" pitchFamily="34" charset="0"/>
                <a:buChar char="•"/>
              </a:pPr>
              <a:r>
                <a:rPr lang="en-US" altLang="zh-CN" sz="1100"/>
                <a:t>Supporting text here.</a:t>
              </a:r>
            </a:p>
            <a:p>
              <a:pPr marL="171450" indent="-171450" algn="r">
                <a:lnSpc>
                  <a:spcPct val="130000"/>
                </a:lnSpc>
                <a:buFont typeface="Arial" panose="020B0604020202020204" pitchFamily="34" charset="0"/>
                <a:buChar char="•"/>
              </a:pPr>
              <a:r>
                <a:rPr lang="en-US" altLang="zh-CN" sz="1100"/>
                <a:t>…… </a:t>
              </a:r>
              <a:endParaRPr lang="en-US" altLang="zh-CN" sz="1100" dirty="0"/>
            </a:p>
          </p:txBody>
        </p:sp>
        <p:sp>
          <p:nvSpPr>
            <p:cNvPr id="19" name="iṧļîde">
              <a:extLst>
                <a:ext uri="{FF2B5EF4-FFF2-40B4-BE49-F238E27FC236}">
                  <a16:creationId xmlns:a16="http://schemas.microsoft.com/office/drawing/2014/main" id="{7921F5DB-6851-49A0-AF82-01FC14B45D83}"/>
                </a:ext>
              </a:extLst>
            </p:cNvPr>
            <p:cNvSpPr/>
            <p:nvPr/>
          </p:nvSpPr>
          <p:spPr bwMode="auto">
            <a:xfrm>
              <a:off x="736409" y="2019320"/>
              <a:ext cx="297142" cy="272607"/>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a:effectLst/>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0" name="ïsļîḑé">
              <a:extLst>
                <a:ext uri="{FF2B5EF4-FFF2-40B4-BE49-F238E27FC236}">
                  <a16:creationId xmlns:a16="http://schemas.microsoft.com/office/drawing/2014/main" id="{DB233F43-219E-4860-A0D4-29474B15681B}"/>
                </a:ext>
              </a:extLst>
            </p:cNvPr>
            <p:cNvSpPr/>
            <p:nvPr/>
          </p:nvSpPr>
          <p:spPr bwMode="auto">
            <a:xfrm>
              <a:off x="736409" y="4658825"/>
              <a:ext cx="297142" cy="272607"/>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a:effectLst/>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1" name="iśḻiḍé">
              <a:extLst>
                <a:ext uri="{FF2B5EF4-FFF2-40B4-BE49-F238E27FC236}">
                  <a16:creationId xmlns:a16="http://schemas.microsoft.com/office/drawing/2014/main" id="{48CCAEDA-C472-4618-AD8B-7B34EAC95EA7}"/>
                </a:ext>
              </a:extLst>
            </p:cNvPr>
            <p:cNvSpPr/>
            <p:nvPr/>
          </p:nvSpPr>
          <p:spPr bwMode="auto">
            <a:xfrm>
              <a:off x="11154679" y="2019320"/>
              <a:ext cx="297142" cy="272607"/>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a:effectLst/>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2" name="iṩ1îḋe">
              <a:extLst>
                <a:ext uri="{FF2B5EF4-FFF2-40B4-BE49-F238E27FC236}">
                  <a16:creationId xmlns:a16="http://schemas.microsoft.com/office/drawing/2014/main" id="{CA9244BE-B5C6-4ACA-9DCE-CC2437AA0F2C}"/>
                </a:ext>
              </a:extLst>
            </p:cNvPr>
            <p:cNvSpPr/>
            <p:nvPr/>
          </p:nvSpPr>
          <p:spPr bwMode="auto">
            <a:xfrm>
              <a:off x="11154679" y="4658825"/>
              <a:ext cx="297142" cy="272607"/>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a:effectLst/>
          </p:spPr>
          <p:txBody>
            <a:bodyPr anchor="ct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spTree>
    <p:extLst>
      <p:ext uri="{BB962C8B-B14F-4D97-AF65-F5344CB8AC3E}">
        <p14:creationId xmlns:p14="http://schemas.microsoft.com/office/powerpoint/2010/main" val="31722551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C4C2099E-967C-4AB2-A06A-FCE01989527D}"/>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D8A48E62-1F8E-4022-BA1B-2B61F2C1D73D}"/>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71B2892E-5F24-4336-9779-E1E7A8AF9835}"/>
              </a:ext>
            </a:extLst>
          </p:cNvPr>
          <p:cNvSpPr>
            <a:spLocks noGrp="1"/>
          </p:cNvSpPr>
          <p:nvPr>
            <p:ph type="sldNum" sz="quarter" idx="12"/>
          </p:nvPr>
        </p:nvSpPr>
        <p:spPr/>
        <p:txBody>
          <a:bodyPr/>
          <a:lstStyle/>
          <a:p>
            <a:fld id="{5DD3DB80-B894-403A-B48E-6FDC1A72010E}" type="slidenum">
              <a:rPr lang="zh-CN" altLang="en-US" smtClean="0"/>
              <a:pPr/>
              <a:t>12</a:t>
            </a:fld>
            <a:endParaRPr lang="zh-CN" altLang="en-US"/>
          </a:p>
        </p:txBody>
      </p:sp>
      <p:grpSp>
        <p:nvGrpSpPr>
          <p:cNvPr id="5" name="27765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9A45DFA-7458-4E7F-8F6F-0F83CE2781CE}"/>
              </a:ext>
            </a:extLst>
          </p:cNvPr>
          <p:cNvGrpSpPr>
            <a:grpSpLocks noChangeAspect="1"/>
          </p:cNvGrpSpPr>
          <p:nvPr/>
        </p:nvGrpSpPr>
        <p:grpSpPr>
          <a:xfrm>
            <a:off x="1744049" y="1567854"/>
            <a:ext cx="8703902" cy="3916361"/>
            <a:chOff x="1744049" y="1567854"/>
            <a:chExt cx="8703902" cy="3916361"/>
          </a:xfrm>
        </p:grpSpPr>
        <p:sp>
          <p:nvSpPr>
            <p:cNvPr id="6" name="íṣļiḓé">
              <a:extLst>
                <a:ext uri="{FF2B5EF4-FFF2-40B4-BE49-F238E27FC236}">
                  <a16:creationId xmlns:a16="http://schemas.microsoft.com/office/drawing/2014/main" id="{17A7B2B7-AE72-456D-8531-28612320BC62}"/>
                </a:ext>
              </a:extLst>
            </p:cNvPr>
            <p:cNvSpPr/>
            <p:nvPr/>
          </p:nvSpPr>
          <p:spPr bwMode="auto">
            <a:xfrm>
              <a:off x="4494092" y="1666394"/>
              <a:ext cx="2515036" cy="1219791"/>
            </a:xfrm>
            <a:custGeom>
              <a:avLst/>
              <a:gdLst>
                <a:gd name="T0" fmla="*/ 13 w 241"/>
                <a:gd name="T1" fmla="*/ 117 h 117"/>
                <a:gd name="T2" fmla="*/ 103 w 241"/>
                <a:gd name="T3" fmla="*/ 104 h 117"/>
                <a:gd name="T4" fmla="*/ 76 w 241"/>
                <a:gd name="T5" fmla="*/ 84 h 117"/>
                <a:gd name="T6" fmla="*/ 152 w 241"/>
                <a:gd name="T7" fmla="*/ 58 h 117"/>
                <a:gd name="T8" fmla="*/ 204 w 241"/>
                <a:gd name="T9" fmla="*/ 70 h 117"/>
                <a:gd name="T10" fmla="*/ 205 w 241"/>
                <a:gd name="T11" fmla="*/ 71 h 117"/>
                <a:gd name="T12" fmla="*/ 200 w 241"/>
                <a:gd name="T13" fmla="*/ 32 h 117"/>
                <a:gd name="T14" fmla="*/ 241 w 241"/>
                <a:gd name="T15" fmla="*/ 26 h 117"/>
                <a:gd name="T16" fmla="*/ 228 w 241"/>
                <a:gd name="T17" fmla="*/ 19 h 117"/>
                <a:gd name="T18" fmla="*/ 137 w 241"/>
                <a:gd name="T19" fmla="*/ 2 h 117"/>
                <a:gd name="T20" fmla="*/ 29 w 241"/>
                <a:gd name="T21" fmla="*/ 49 h 117"/>
                <a:gd name="T22" fmla="*/ 0 w 241"/>
                <a:gd name="T23" fmla="*/ 27 h 117"/>
                <a:gd name="T24" fmla="*/ 13 w 241"/>
                <a:gd name="T25" fmla="*/ 117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17">
                  <a:moveTo>
                    <a:pt x="13" y="117"/>
                  </a:moveTo>
                  <a:cubicBezTo>
                    <a:pt x="103" y="104"/>
                    <a:pt x="103" y="104"/>
                    <a:pt x="103" y="104"/>
                  </a:cubicBezTo>
                  <a:cubicBezTo>
                    <a:pt x="76" y="84"/>
                    <a:pt x="76" y="84"/>
                    <a:pt x="76" y="84"/>
                  </a:cubicBezTo>
                  <a:cubicBezTo>
                    <a:pt x="97" y="67"/>
                    <a:pt x="124" y="58"/>
                    <a:pt x="152" y="58"/>
                  </a:cubicBezTo>
                  <a:cubicBezTo>
                    <a:pt x="169" y="58"/>
                    <a:pt x="187" y="62"/>
                    <a:pt x="204" y="70"/>
                  </a:cubicBezTo>
                  <a:cubicBezTo>
                    <a:pt x="205" y="70"/>
                    <a:pt x="205" y="70"/>
                    <a:pt x="205" y="71"/>
                  </a:cubicBezTo>
                  <a:cubicBezTo>
                    <a:pt x="200" y="32"/>
                    <a:pt x="200" y="32"/>
                    <a:pt x="200" y="32"/>
                  </a:cubicBezTo>
                  <a:cubicBezTo>
                    <a:pt x="241" y="26"/>
                    <a:pt x="241" y="26"/>
                    <a:pt x="241" y="26"/>
                  </a:cubicBezTo>
                  <a:cubicBezTo>
                    <a:pt x="237" y="24"/>
                    <a:pt x="233" y="21"/>
                    <a:pt x="228" y="19"/>
                  </a:cubicBezTo>
                  <a:cubicBezTo>
                    <a:pt x="199" y="5"/>
                    <a:pt x="168" y="0"/>
                    <a:pt x="137" y="2"/>
                  </a:cubicBezTo>
                  <a:cubicBezTo>
                    <a:pt x="97" y="6"/>
                    <a:pt x="59" y="22"/>
                    <a:pt x="29" y="49"/>
                  </a:cubicBezTo>
                  <a:cubicBezTo>
                    <a:pt x="0" y="27"/>
                    <a:pt x="0" y="27"/>
                    <a:pt x="0" y="27"/>
                  </a:cubicBezTo>
                  <a:lnTo>
                    <a:pt x="13" y="117"/>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7" name="iṣ1îďé">
              <a:extLst>
                <a:ext uri="{FF2B5EF4-FFF2-40B4-BE49-F238E27FC236}">
                  <a16:creationId xmlns:a16="http://schemas.microsoft.com/office/drawing/2014/main" id="{FB1248C5-72D2-4E8D-9131-E8C6521FC733}"/>
                </a:ext>
              </a:extLst>
            </p:cNvPr>
            <p:cNvSpPr/>
            <p:nvPr/>
          </p:nvSpPr>
          <p:spPr bwMode="auto">
            <a:xfrm>
              <a:off x="4172168" y="2624621"/>
              <a:ext cx="1219792" cy="2515034"/>
            </a:xfrm>
            <a:custGeom>
              <a:avLst/>
              <a:gdLst>
                <a:gd name="T0" fmla="*/ 117 w 117"/>
                <a:gd name="T1" fmla="*/ 228 h 241"/>
                <a:gd name="T2" fmla="*/ 104 w 117"/>
                <a:gd name="T3" fmla="*/ 139 h 241"/>
                <a:gd name="T4" fmla="*/ 83 w 117"/>
                <a:gd name="T5" fmla="*/ 166 h 241"/>
                <a:gd name="T6" fmla="*/ 58 w 117"/>
                <a:gd name="T7" fmla="*/ 99 h 241"/>
                <a:gd name="T8" fmla="*/ 70 w 117"/>
                <a:gd name="T9" fmla="*/ 37 h 241"/>
                <a:gd name="T10" fmla="*/ 70 w 117"/>
                <a:gd name="T11" fmla="*/ 36 h 241"/>
                <a:gd name="T12" fmla="*/ 31 w 117"/>
                <a:gd name="T13" fmla="*/ 42 h 241"/>
                <a:gd name="T14" fmla="*/ 26 w 117"/>
                <a:gd name="T15" fmla="*/ 0 h 241"/>
                <a:gd name="T16" fmla="*/ 19 w 117"/>
                <a:gd name="T17" fmla="*/ 13 h 241"/>
                <a:gd name="T18" fmla="*/ 2 w 117"/>
                <a:gd name="T19" fmla="*/ 102 h 241"/>
                <a:gd name="T20" fmla="*/ 49 w 117"/>
                <a:gd name="T21" fmla="*/ 212 h 241"/>
                <a:gd name="T22" fmla="*/ 27 w 117"/>
                <a:gd name="T23" fmla="*/ 241 h 241"/>
                <a:gd name="T24" fmla="*/ 117 w 117"/>
                <a:gd name="T25" fmla="*/ 228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241">
                  <a:moveTo>
                    <a:pt x="117" y="228"/>
                  </a:moveTo>
                  <a:cubicBezTo>
                    <a:pt x="104" y="139"/>
                    <a:pt x="104" y="139"/>
                    <a:pt x="104" y="139"/>
                  </a:cubicBezTo>
                  <a:cubicBezTo>
                    <a:pt x="83" y="166"/>
                    <a:pt x="83" y="166"/>
                    <a:pt x="83" y="166"/>
                  </a:cubicBezTo>
                  <a:cubicBezTo>
                    <a:pt x="69" y="146"/>
                    <a:pt x="60" y="123"/>
                    <a:pt x="58" y="99"/>
                  </a:cubicBezTo>
                  <a:cubicBezTo>
                    <a:pt x="57" y="78"/>
                    <a:pt x="60" y="57"/>
                    <a:pt x="70" y="37"/>
                  </a:cubicBezTo>
                  <a:cubicBezTo>
                    <a:pt x="70" y="37"/>
                    <a:pt x="70" y="37"/>
                    <a:pt x="70" y="36"/>
                  </a:cubicBezTo>
                  <a:cubicBezTo>
                    <a:pt x="31" y="42"/>
                    <a:pt x="31" y="42"/>
                    <a:pt x="31" y="42"/>
                  </a:cubicBezTo>
                  <a:cubicBezTo>
                    <a:pt x="26" y="0"/>
                    <a:pt x="26" y="0"/>
                    <a:pt x="26" y="0"/>
                  </a:cubicBezTo>
                  <a:cubicBezTo>
                    <a:pt x="23" y="5"/>
                    <a:pt x="21" y="9"/>
                    <a:pt x="19" y="13"/>
                  </a:cubicBezTo>
                  <a:cubicBezTo>
                    <a:pt x="5" y="42"/>
                    <a:pt x="0" y="73"/>
                    <a:pt x="2" y="102"/>
                  </a:cubicBezTo>
                  <a:cubicBezTo>
                    <a:pt x="5" y="143"/>
                    <a:pt x="21" y="182"/>
                    <a:pt x="49" y="212"/>
                  </a:cubicBezTo>
                  <a:cubicBezTo>
                    <a:pt x="27" y="241"/>
                    <a:pt x="27" y="241"/>
                    <a:pt x="27" y="241"/>
                  </a:cubicBezTo>
                  <a:lnTo>
                    <a:pt x="117" y="228"/>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8" name="iṣ1îḓè">
              <a:extLst>
                <a:ext uri="{FF2B5EF4-FFF2-40B4-BE49-F238E27FC236}">
                  <a16:creationId xmlns:a16="http://schemas.microsoft.com/office/drawing/2014/main" id="{615BC3F1-24CF-4FF5-9AA2-5787D0A80112}"/>
                </a:ext>
              </a:extLst>
            </p:cNvPr>
            <p:cNvSpPr/>
            <p:nvPr/>
          </p:nvSpPr>
          <p:spPr bwMode="auto">
            <a:xfrm>
              <a:off x="5130398" y="4251849"/>
              <a:ext cx="2515036" cy="1232366"/>
            </a:xfrm>
            <a:custGeom>
              <a:avLst/>
              <a:gdLst>
                <a:gd name="T0" fmla="*/ 241 w 241"/>
                <a:gd name="T1" fmla="*/ 90 h 118"/>
                <a:gd name="T2" fmla="*/ 228 w 241"/>
                <a:gd name="T3" fmla="*/ 0 h 118"/>
                <a:gd name="T4" fmla="*/ 138 w 241"/>
                <a:gd name="T5" fmla="*/ 13 h 118"/>
                <a:gd name="T6" fmla="*/ 165 w 241"/>
                <a:gd name="T7" fmla="*/ 33 h 118"/>
                <a:gd name="T8" fmla="*/ 96 w 241"/>
                <a:gd name="T9" fmla="*/ 59 h 118"/>
                <a:gd name="T10" fmla="*/ 37 w 241"/>
                <a:gd name="T11" fmla="*/ 47 h 118"/>
                <a:gd name="T12" fmla="*/ 36 w 241"/>
                <a:gd name="T13" fmla="*/ 46 h 118"/>
                <a:gd name="T14" fmla="*/ 42 w 241"/>
                <a:gd name="T15" fmla="*/ 85 h 118"/>
                <a:gd name="T16" fmla="*/ 0 w 241"/>
                <a:gd name="T17" fmla="*/ 91 h 118"/>
                <a:gd name="T18" fmla="*/ 13 w 241"/>
                <a:gd name="T19" fmla="*/ 98 h 118"/>
                <a:gd name="T20" fmla="*/ 112 w 241"/>
                <a:gd name="T21" fmla="*/ 114 h 118"/>
                <a:gd name="T22" fmla="*/ 212 w 241"/>
                <a:gd name="T23" fmla="*/ 68 h 118"/>
                <a:gd name="T24" fmla="*/ 241 w 241"/>
                <a:gd name="T25" fmla="*/ 9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1" h="118">
                  <a:moveTo>
                    <a:pt x="241" y="90"/>
                  </a:moveTo>
                  <a:cubicBezTo>
                    <a:pt x="228" y="0"/>
                    <a:pt x="228" y="0"/>
                    <a:pt x="228" y="0"/>
                  </a:cubicBezTo>
                  <a:cubicBezTo>
                    <a:pt x="138" y="13"/>
                    <a:pt x="138" y="13"/>
                    <a:pt x="138" y="13"/>
                  </a:cubicBezTo>
                  <a:cubicBezTo>
                    <a:pt x="165" y="33"/>
                    <a:pt x="165" y="33"/>
                    <a:pt x="165" y="33"/>
                  </a:cubicBezTo>
                  <a:cubicBezTo>
                    <a:pt x="145" y="48"/>
                    <a:pt x="121" y="57"/>
                    <a:pt x="96" y="59"/>
                  </a:cubicBezTo>
                  <a:cubicBezTo>
                    <a:pt x="76" y="60"/>
                    <a:pt x="56" y="56"/>
                    <a:pt x="37" y="47"/>
                  </a:cubicBezTo>
                  <a:cubicBezTo>
                    <a:pt x="36" y="47"/>
                    <a:pt x="36" y="47"/>
                    <a:pt x="36" y="46"/>
                  </a:cubicBezTo>
                  <a:cubicBezTo>
                    <a:pt x="42" y="85"/>
                    <a:pt x="42" y="85"/>
                    <a:pt x="42" y="85"/>
                  </a:cubicBezTo>
                  <a:cubicBezTo>
                    <a:pt x="0" y="91"/>
                    <a:pt x="0" y="91"/>
                    <a:pt x="0" y="91"/>
                  </a:cubicBezTo>
                  <a:cubicBezTo>
                    <a:pt x="4" y="93"/>
                    <a:pt x="8" y="96"/>
                    <a:pt x="13" y="98"/>
                  </a:cubicBezTo>
                  <a:cubicBezTo>
                    <a:pt x="45" y="113"/>
                    <a:pt x="79" y="118"/>
                    <a:pt x="112" y="114"/>
                  </a:cubicBezTo>
                  <a:cubicBezTo>
                    <a:pt x="149" y="109"/>
                    <a:pt x="184" y="93"/>
                    <a:pt x="212" y="68"/>
                  </a:cubicBezTo>
                  <a:lnTo>
                    <a:pt x="241" y="90"/>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9" name="íśḷïďe">
              <a:extLst>
                <a:ext uri="{FF2B5EF4-FFF2-40B4-BE49-F238E27FC236}">
                  <a16:creationId xmlns:a16="http://schemas.microsoft.com/office/drawing/2014/main" id="{580A8A01-FBA3-4C24-8712-35E2353FA024}"/>
                </a:ext>
              </a:extLst>
            </p:cNvPr>
            <p:cNvSpPr/>
            <p:nvPr/>
          </p:nvSpPr>
          <p:spPr bwMode="auto">
            <a:xfrm>
              <a:off x="6747565" y="1998378"/>
              <a:ext cx="1219792" cy="2504973"/>
            </a:xfrm>
            <a:custGeom>
              <a:avLst/>
              <a:gdLst>
                <a:gd name="T0" fmla="*/ 0 w 117"/>
                <a:gd name="T1" fmla="*/ 13 h 240"/>
                <a:gd name="T2" fmla="*/ 13 w 117"/>
                <a:gd name="T3" fmla="*/ 102 h 240"/>
                <a:gd name="T4" fmla="*/ 34 w 117"/>
                <a:gd name="T5" fmla="*/ 75 h 240"/>
                <a:gd name="T6" fmla="*/ 59 w 117"/>
                <a:gd name="T7" fmla="*/ 143 h 240"/>
                <a:gd name="T8" fmla="*/ 47 w 117"/>
                <a:gd name="T9" fmla="*/ 204 h 240"/>
                <a:gd name="T10" fmla="*/ 47 w 117"/>
                <a:gd name="T11" fmla="*/ 205 h 240"/>
                <a:gd name="T12" fmla="*/ 86 w 117"/>
                <a:gd name="T13" fmla="*/ 199 h 240"/>
                <a:gd name="T14" fmla="*/ 92 w 117"/>
                <a:gd name="T15" fmla="*/ 240 h 240"/>
                <a:gd name="T16" fmla="*/ 98 w 117"/>
                <a:gd name="T17" fmla="*/ 228 h 240"/>
                <a:gd name="T18" fmla="*/ 115 w 117"/>
                <a:gd name="T19" fmla="*/ 139 h 240"/>
                <a:gd name="T20" fmla="*/ 68 w 117"/>
                <a:gd name="T21" fmla="*/ 29 h 240"/>
                <a:gd name="T22" fmla="*/ 90 w 117"/>
                <a:gd name="T23" fmla="*/ 0 h 240"/>
                <a:gd name="T24" fmla="*/ 0 w 117"/>
                <a:gd name="T25" fmla="*/ 1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7" h="240">
                  <a:moveTo>
                    <a:pt x="0" y="13"/>
                  </a:moveTo>
                  <a:cubicBezTo>
                    <a:pt x="13" y="102"/>
                    <a:pt x="13" y="102"/>
                    <a:pt x="13" y="102"/>
                  </a:cubicBezTo>
                  <a:cubicBezTo>
                    <a:pt x="34" y="75"/>
                    <a:pt x="34" y="75"/>
                    <a:pt x="34" y="75"/>
                  </a:cubicBezTo>
                  <a:cubicBezTo>
                    <a:pt x="49" y="95"/>
                    <a:pt x="58" y="118"/>
                    <a:pt x="59" y="143"/>
                  </a:cubicBezTo>
                  <a:cubicBezTo>
                    <a:pt x="60" y="163"/>
                    <a:pt x="57" y="184"/>
                    <a:pt x="47" y="204"/>
                  </a:cubicBezTo>
                  <a:cubicBezTo>
                    <a:pt x="47" y="204"/>
                    <a:pt x="47" y="204"/>
                    <a:pt x="47" y="205"/>
                  </a:cubicBezTo>
                  <a:cubicBezTo>
                    <a:pt x="86" y="199"/>
                    <a:pt x="86" y="199"/>
                    <a:pt x="86" y="199"/>
                  </a:cubicBezTo>
                  <a:cubicBezTo>
                    <a:pt x="92" y="240"/>
                    <a:pt x="92" y="240"/>
                    <a:pt x="92" y="240"/>
                  </a:cubicBezTo>
                  <a:cubicBezTo>
                    <a:pt x="94" y="236"/>
                    <a:pt x="96" y="232"/>
                    <a:pt x="98" y="228"/>
                  </a:cubicBezTo>
                  <a:cubicBezTo>
                    <a:pt x="112" y="199"/>
                    <a:pt x="117" y="168"/>
                    <a:pt x="115" y="139"/>
                  </a:cubicBezTo>
                  <a:cubicBezTo>
                    <a:pt x="112" y="98"/>
                    <a:pt x="96" y="59"/>
                    <a:pt x="68" y="29"/>
                  </a:cubicBezTo>
                  <a:cubicBezTo>
                    <a:pt x="90" y="0"/>
                    <a:pt x="90" y="0"/>
                    <a:pt x="90" y="0"/>
                  </a:cubicBezTo>
                  <a:lnTo>
                    <a:pt x="0" y="13"/>
                  </a:lnTo>
                  <a:close/>
                </a:path>
              </a:pathLst>
            </a:custGeom>
            <a:solidFill>
              <a:schemeClr val="bg1">
                <a:lumMod val="9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0" name="iṥļíḍè">
              <a:extLst>
                <a:ext uri="{FF2B5EF4-FFF2-40B4-BE49-F238E27FC236}">
                  <a16:creationId xmlns:a16="http://schemas.microsoft.com/office/drawing/2014/main" id="{BC2C7299-2410-4DCD-9C74-5A777B0EADC9}"/>
                </a:ext>
              </a:extLst>
            </p:cNvPr>
            <p:cNvSpPr/>
            <p:nvPr/>
          </p:nvSpPr>
          <p:spPr bwMode="auto">
            <a:xfrm>
              <a:off x="4731402" y="2377440"/>
              <a:ext cx="338576" cy="31062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1" name="ïṣḷîḍe">
              <a:extLst>
                <a:ext uri="{FF2B5EF4-FFF2-40B4-BE49-F238E27FC236}">
                  <a16:creationId xmlns:a16="http://schemas.microsoft.com/office/drawing/2014/main" id="{99C7F603-8EA1-4679-9804-933F0461CAEA}"/>
                </a:ext>
              </a:extLst>
            </p:cNvPr>
            <p:cNvSpPr/>
            <p:nvPr/>
          </p:nvSpPr>
          <p:spPr bwMode="auto">
            <a:xfrm>
              <a:off x="4895994" y="4590288"/>
              <a:ext cx="338576" cy="31062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2" name="işļidé">
              <a:extLst>
                <a:ext uri="{FF2B5EF4-FFF2-40B4-BE49-F238E27FC236}">
                  <a16:creationId xmlns:a16="http://schemas.microsoft.com/office/drawing/2014/main" id="{975A4690-5BF6-4B7D-9155-8F0509BBD47D}"/>
                </a:ext>
              </a:extLst>
            </p:cNvPr>
            <p:cNvSpPr/>
            <p:nvPr/>
          </p:nvSpPr>
          <p:spPr bwMode="auto">
            <a:xfrm>
              <a:off x="7044834" y="4425696"/>
              <a:ext cx="338576" cy="31062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3" name="îṣļîḑé">
              <a:extLst>
                <a:ext uri="{FF2B5EF4-FFF2-40B4-BE49-F238E27FC236}">
                  <a16:creationId xmlns:a16="http://schemas.microsoft.com/office/drawing/2014/main" id="{BE4A553C-2AF4-4AA2-B189-F41562BA0BDF}"/>
                </a:ext>
              </a:extLst>
            </p:cNvPr>
            <p:cNvSpPr/>
            <p:nvPr/>
          </p:nvSpPr>
          <p:spPr bwMode="auto">
            <a:xfrm>
              <a:off x="6925962" y="2249424"/>
              <a:ext cx="338576" cy="310620"/>
            </a:xfrm>
            <a:custGeom>
              <a:avLst/>
              <a:gdLst>
                <a:gd name="connsiteX0" fmla="*/ 303857 w 607639"/>
                <a:gd name="connsiteY0" fmla="*/ 303714 h 557467"/>
                <a:gd name="connsiteX1" fmla="*/ 352986 w 607639"/>
                <a:gd name="connsiteY1" fmla="*/ 309132 h 557467"/>
                <a:gd name="connsiteX2" fmla="*/ 514597 w 607639"/>
                <a:gd name="connsiteY2" fmla="*/ 449845 h 557467"/>
                <a:gd name="connsiteX3" fmla="*/ 528676 w 607639"/>
                <a:gd name="connsiteY3" fmla="*/ 528182 h 557467"/>
                <a:gd name="connsiteX4" fmla="*/ 499345 w 607639"/>
                <a:gd name="connsiteY4" fmla="*/ 557467 h 557467"/>
                <a:gd name="connsiteX5" fmla="*/ 108223 w 607639"/>
                <a:gd name="connsiteY5" fmla="*/ 557467 h 557467"/>
                <a:gd name="connsiteX6" fmla="*/ 78892 w 607639"/>
                <a:gd name="connsiteY6" fmla="*/ 528182 h 557467"/>
                <a:gd name="connsiteX7" fmla="*/ 303857 w 607639"/>
                <a:gd name="connsiteY7" fmla="*/ 303714 h 557467"/>
                <a:gd name="connsiteX8" fmla="*/ 455825 w 607639"/>
                <a:gd name="connsiteY8" fmla="*/ 268995 h 557467"/>
                <a:gd name="connsiteX9" fmla="*/ 607639 w 607639"/>
                <a:gd name="connsiteY9" fmla="*/ 420565 h 557467"/>
                <a:gd name="connsiteX10" fmla="*/ 578303 w 607639"/>
                <a:gd name="connsiteY10" fmla="*/ 449854 h 557467"/>
                <a:gd name="connsiteX11" fmla="*/ 576396 w 607639"/>
                <a:gd name="connsiteY11" fmla="*/ 449854 h 557467"/>
                <a:gd name="connsiteX12" fmla="*/ 424875 w 607639"/>
                <a:gd name="connsiteY12" fmla="*/ 272217 h 557467"/>
                <a:gd name="connsiteX13" fmla="*/ 455825 w 607639"/>
                <a:gd name="connsiteY13" fmla="*/ 268995 h 557467"/>
                <a:gd name="connsiteX14" fmla="*/ 151811 w 607639"/>
                <a:gd name="connsiteY14" fmla="*/ 268995 h 557467"/>
                <a:gd name="connsiteX15" fmla="*/ 182906 w 607639"/>
                <a:gd name="connsiteY15" fmla="*/ 272217 h 557467"/>
                <a:gd name="connsiteX16" fmla="*/ 31389 w 607639"/>
                <a:gd name="connsiteY16" fmla="*/ 449854 h 557467"/>
                <a:gd name="connsiteX17" fmla="*/ 29335 w 607639"/>
                <a:gd name="connsiteY17" fmla="*/ 449854 h 557467"/>
                <a:gd name="connsiteX18" fmla="*/ 0 w 607639"/>
                <a:gd name="connsiteY18" fmla="*/ 420565 h 557467"/>
                <a:gd name="connsiteX19" fmla="*/ 151811 w 607639"/>
                <a:gd name="connsiteY19" fmla="*/ 268995 h 557467"/>
                <a:gd name="connsiteX20" fmla="*/ 462556 w 607639"/>
                <a:gd name="connsiteY20" fmla="*/ 35000 h 557467"/>
                <a:gd name="connsiteX21" fmla="*/ 543847 w 607639"/>
                <a:gd name="connsiteY21" fmla="*/ 122571 h 557467"/>
                <a:gd name="connsiteX22" fmla="*/ 462556 w 607639"/>
                <a:gd name="connsiteY22" fmla="*/ 210143 h 557467"/>
                <a:gd name="connsiteX23" fmla="*/ 485153 w 607639"/>
                <a:gd name="connsiteY23" fmla="*/ 122571 h 557467"/>
                <a:gd name="connsiteX24" fmla="*/ 462556 w 607639"/>
                <a:gd name="connsiteY24" fmla="*/ 35000 h 557467"/>
                <a:gd name="connsiteX25" fmla="*/ 145224 w 607639"/>
                <a:gd name="connsiteY25" fmla="*/ 35000 h 557467"/>
                <a:gd name="connsiteX26" fmla="*/ 122481 w 607639"/>
                <a:gd name="connsiteY26" fmla="*/ 122571 h 557467"/>
                <a:gd name="connsiteX27" fmla="*/ 145224 w 607639"/>
                <a:gd name="connsiteY27" fmla="*/ 210143 h 557467"/>
                <a:gd name="connsiteX28" fmla="*/ 63791 w 607639"/>
                <a:gd name="connsiteY28" fmla="*/ 122571 h 557467"/>
                <a:gd name="connsiteX29" fmla="*/ 145224 w 607639"/>
                <a:gd name="connsiteY29" fmla="*/ 35000 h 557467"/>
                <a:gd name="connsiteX30" fmla="*/ 303892 w 607639"/>
                <a:gd name="connsiteY30" fmla="*/ 0 h 557467"/>
                <a:gd name="connsiteX31" fmla="*/ 403912 w 607639"/>
                <a:gd name="connsiteY31" fmla="*/ 51694 h 557467"/>
                <a:gd name="connsiteX32" fmla="*/ 426497 w 607639"/>
                <a:gd name="connsiteY32" fmla="*/ 122572 h 557467"/>
                <a:gd name="connsiteX33" fmla="*/ 403912 w 607639"/>
                <a:gd name="connsiteY33" fmla="*/ 193450 h 557467"/>
                <a:gd name="connsiteX34" fmla="*/ 303892 w 607639"/>
                <a:gd name="connsiteY34" fmla="*/ 245144 h 557467"/>
                <a:gd name="connsiteX35" fmla="*/ 181141 w 607639"/>
                <a:gd name="connsiteY35" fmla="*/ 122572 h 557467"/>
                <a:gd name="connsiteX36" fmla="*/ 303892 w 607639"/>
                <a:gd name="connsiteY36" fmla="*/ 0 h 5574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7639" h="557467">
                  <a:moveTo>
                    <a:pt x="303857" y="303714"/>
                  </a:moveTo>
                  <a:cubicBezTo>
                    <a:pt x="320722" y="303714"/>
                    <a:pt x="337148" y="305618"/>
                    <a:pt x="352986" y="309132"/>
                  </a:cubicBezTo>
                  <a:cubicBezTo>
                    <a:pt x="427486" y="325824"/>
                    <a:pt x="488200" y="379562"/>
                    <a:pt x="514597" y="449845"/>
                  </a:cubicBezTo>
                  <a:cubicBezTo>
                    <a:pt x="523690" y="474298"/>
                    <a:pt x="528676" y="500655"/>
                    <a:pt x="528676" y="528182"/>
                  </a:cubicBezTo>
                  <a:cubicBezTo>
                    <a:pt x="528676" y="544289"/>
                    <a:pt x="515477" y="557467"/>
                    <a:pt x="499345" y="557467"/>
                  </a:cubicBezTo>
                  <a:lnTo>
                    <a:pt x="108223" y="557467"/>
                  </a:lnTo>
                  <a:cubicBezTo>
                    <a:pt x="92091" y="557467"/>
                    <a:pt x="78892" y="544289"/>
                    <a:pt x="78892" y="528182"/>
                  </a:cubicBezTo>
                  <a:cubicBezTo>
                    <a:pt x="78892" y="404307"/>
                    <a:pt x="179789" y="303714"/>
                    <a:pt x="303857" y="303714"/>
                  </a:cubicBezTo>
                  <a:close/>
                  <a:moveTo>
                    <a:pt x="455825" y="268995"/>
                  </a:moveTo>
                  <a:cubicBezTo>
                    <a:pt x="539579" y="268995"/>
                    <a:pt x="607639" y="336945"/>
                    <a:pt x="607639" y="420565"/>
                  </a:cubicBezTo>
                  <a:cubicBezTo>
                    <a:pt x="607639" y="436674"/>
                    <a:pt x="594584" y="449854"/>
                    <a:pt x="578303" y="449854"/>
                  </a:cubicBezTo>
                  <a:lnTo>
                    <a:pt x="576396" y="449854"/>
                  </a:lnTo>
                  <a:cubicBezTo>
                    <a:pt x="553661" y="371360"/>
                    <a:pt x="497775" y="306631"/>
                    <a:pt x="424875" y="272217"/>
                  </a:cubicBezTo>
                  <a:cubicBezTo>
                    <a:pt x="434996" y="270020"/>
                    <a:pt x="445410" y="268995"/>
                    <a:pt x="455825" y="268995"/>
                  </a:cubicBezTo>
                  <a:close/>
                  <a:moveTo>
                    <a:pt x="151811" y="268995"/>
                  </a:moveTo>
                  <a:cubicBezTo>
                    <a:pt x="162371" y="268995"/>
                    <a:pt x="172785" y="270020"/>
                    <a:pt x="182906" y="272217"/>
                  </a:cubicBezTo>
                  <a:cubicBezTo>
                    <a:pt x="110008" y="306631"/>
                    <a:pt x="53977" y="371360"/>
                    <a:pt x="31389" y="449854"/>
                  </a:cubicBezTo>
                  <a:lnTo>
                    <a:pt x="29335" y="449854"/>
                  </a:lnTo>
                  <a:cubicBezTo>
                    <a:pt x="13201" y="449854"/>
                    <a:pt x="0" y="436674"/>
                    <a:pt x="0" y="420565"/>
                  </a:cubicBezTo>
                  <a:cubicBezTo>
                    <a:pt x="0" y="336945"/>
                    <a:pt x="68058" y="268995"/>
                    <a:pt x="151811" y="268995"/>
                  </a:cubicBezTo>
                  <a:close/>
                  <a:moveTo>
                    <a:pt x="462556" y="35000"/>
                  </a:moveTo>
                  <a:cubicBezTo>
                    <a:pt x="507897" y="38368"/>
                    <a:pt x="543847" y="76296"/>
                    <a:pt x="543847" y="122571"/>
                  </a:cubicBezTo>
                  <a:cubicBezTo>
                    <a:pt x="543847" y="168847"/>
                    <a:pt x="507897" y="206775"/>
                    <a:pt x="462556" y="210143"/>
                  </a:cubicBezTo>
                  <a:cubicBezTo>
                    <a:pt x="476936" y="184223"/>
                    <a:pt x="485153" y="154349"/>
                    <a:pt x="485153" y="122571"/>
                  </a:cubicBezTo>
                  <a:cubicBezTo>
                    <a:pt x="485153" y="90794"/>
                    <a:pt x="476936" y="60920"/>
                    <a:pt x="462556" y="35000"/>
                  </a:cubicBezTo>
                  <a:close/>
                  <a:moveTo>
                    <a:pt x="145224" y="35000"/>
                  </a:moveTo>
                  <a:cubicBezTo>
                    <a:pt x="130698" y="60920"/>
                    <a:pt x="122481" y="90794"/>
                    <a:pt x="122481" y="122571"/>
                  </a:cubicBezTo>
                  <a:cubicBezTo>
                    <a:pt x="122481" y="154349"/>
                    <a:pt x="130698" y="184223"/>
                    <a:pt x="145224" y="210143"/>
                  </a:cubicBezTo>
                  <a:cubicBezTo>
                    <a:pt x="99739" y="206775"/>
                    <a:pt x="63791" y="168847"/>
                    <a:pt x="63791" y="122571"/>
                  </a:cubicBezTo>
                  <a:cubicBezTo>
                    <a:pt x="63791" y="76296"/>
                    <a:pt x="99739" y="38368"/>
                    <a:pt x="145224" y="35000"/>
                  </a:cubicBezTo>
                  <a:close/>
                  <a:moveTo>
                    <a:pt x="303892" y="0"/>
                  </a:moveTo>
                  <a:cubicBezTo>
                    <a:pt x="345103" y="0"/>
                    <a:pt x="381620" y="20502"/>
                    <a:pt x="403912" y="51694"/>
                  </a:cubicBezTo>
                  <a:cubicBezTo>
                    <a:pt x="418138" y="71756"/>
                    <a:pt x="426497" y="96212"/>
                    <a:pt x="426497" y="122572"/>
                  </a:cubicBezTo>
                  <a:cubicBezTo>
                    <a:pt x="426497" y="148931"/>
                    <a:pt x="418138" y="173387"/>
                    <a:pt x="403912" y="193450"/>
                  </a:cubicBezTo>
                  <a:cubicBezTo>
                    <a:pt x="381620" y="224642"/>
                    <a:pt x="345103" y="245144"/>
                    <a:pt x="303892" y="245144"/>
                  </a:cubicBezTo>
                  <a:cubicBezTo>
                    <a:pt x="236137" y="245144"/>
                    <a:pt x="181141" y="190082"/>
                    <a:pt x="181141" y="122572"/>
                  </a:cubicBezTo>
                  <a:cubicBezTo>
                    <a:pt x="181141" y="55062"/>
                    <a:pt x="236137" y="0"/>
                    <a:pt x="303892" y="0"/>
                  </a:cubicBezTo>
                  <a:close/>
                </a:path>
              </a:pathLst>
            </a:custGeom>
            <a:solidFill>
              <a:schemeClr val="accent1"/>
            </a:solidFill>
            <a:ln>
              <a:noFill/>
            </a:ln>
          </p:spPr>
          <p:txBody>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zh-CN" altLang="en-US"/>
            </a:p>
          </p:txBody>
        </p:sp>
        <p:sp>
          <p:nvSpPr>
            <p:cNvPr id="14" name="iṣlïďe">
              <a:extLst>
                <a:ext uri="{FF2B5EF4-FFF2-40B4-BE49-F238E27FC236}">
                  <a16:creationId xmlns:a16="http://schemas.microsoft.com/office/drawing/2014/main" id="{CB2A3299-6032-4C43-B278-39E2F3BCA145}"/>
                </a:ext>
              </a:extLst>
            </p:cNvPr>
            <p:cNvSpPr/>
            <p:nvPr/>
          </p:nvSpPr>
          <p:spPr bwMode="auto">
            <a:xfrm>
              <a:off x="5755818" y="2927212"/>
              <a:ext cx="627888" cy="647304"/>
            </a:xfrm>
            <a:custGeom>
              <a:avLst/>
              <a:gdLst>
                <a:gd name="T0" fmla="*/ 5363 w 5499"/>
                <a:gd name="T1" fmla="*/ 3729 h 5677"/>
                <a:gd name="T2" fmla="*/ 4520 w 5499"/>
                <a:gd name="T3" fmla="*/ 2649 h 5677"/>
                <a:gd name="T4" fmla="*/ 3673 w 5499"/>
                <a:gd name="T5" fmla="*/ 3040 h 5677"/>
                <a:gd name="T6" fmla="*/ 3023 w 5499"/>
                <a:gd name="T7" fmla="*/ 2741 h 5677"/>
                <a:gd name="T8" fmla="*/ 3454 w 5499"/>
                <a:gd name="T9" fmla="*/ 1972 h 5677"/>
                <a:gd name="T10" fmla="*/ 3507 w 5499"/>
                <a:gd name="T11" fmla="*/ 1328 h 5677"/>
                <a:gd name="T12" fmla="*/ 2170 w 5499"/>
                <a:gd name="T13" fmla="*/ 0 h 5677"/>
                <a:gd name="T14" fmla="*/ 1102 w 5499"/>
                <a:gd name="T15" fmla="*/ 1508 h 5677"/>
                <a:gd name="T16" fmla="*/ 1279 w 5499"/>
                <a:gd name="T17" fmla="*/ 2144 h 5677"/>
                <a:gd name="T18" fmla="*/ 1534 w 5499"/>
                <a:gd name="T19" fmla="*/ 2877 h 5677"/>
                <a:gd name="T20" fmla="*/ 3 w 5499"/>
                <a:gd name="T21" fmla="*/ 5432 h 5677"/>
                <a:gd name="T22" fmla="*/ 4372 w 5499"/>
                <a:gd name="T23" fmla="*/ 5653 h 5677"/>
                <a:gd name="T24" fmla="*/ 4996 w 5499"/>
                <a:gd name="T25" fmla="*/ 5161 h 5677"/>
                <a:gd name="T26" fmla="*/ 5363 w 5499"/>
                <a:gd name="T27" fmla="*/ 3960 h 5677"/>
                <a:gd name="T28" fmla="*/ 2075 w 5499"/>
                <a:gd name="T29" fmla="*/ 3721 h 5677"/>
                <a:gd name="T30" fmla="*/ 1829 w 5499"/>
                <a:gd name="T31" fmla="*/ 3415 h 5677"/>
                <a:gd name="T32" fmla="*/ 1924 w 5499"/>
                <a:gd name="T33" fmla="*/ 2970 h 5677"/>
                <a:gd name="T34" fmla="*/ 2135 w 5499"/>
                <a:gd name="T35" fmla="*/ 3252 h 5677"/>
                <a:gd name="T36" fmla="*/ 2140 w 5499"/>
                <a:gd name="T37" fmla="*/ 3663 h 5677"/>
                <a:gd name="T38" fmla="*/ 2592 w 5499"/>
                <a:gd name="T39" fmla="*/ 3721 h 5677"/>
                <a:gd name="T40" fmla="*/ 2492 w 5499"/>
                <a:gd name="T41" fmla="*/ 3318 h 5677"/>
                <a:gd name="T42" fmla="*/ 2533 w 5499"/>
                <a:gd name="T43" fmla="*/ 3090 h 5677"/>
                <a:gd name="T44" fmla="*/ 2807 w 5499"/>
                <a:gd name="T45" fmla="*/ 2972 h 5677"/>
                <a:gd name="T46" fmla="*/ 2825 w 5499"/>
                <a:gd name="T47" fmla="*/ 3454 h 5677"/>
                <a:gd name="T48" fmla="*/ 1776 w 5499"/>
                <a:gd name="T49" fmla="*/ 2351 h 5677"/>
                <a:gd name="T50" fmla="*/ 1477 w 5499"/>
                <a:gd name="T51" fmla="*/ 1747 h 5677"/>
                <a:gd name="T52" fmla="*/ 1513 w 5499"/>
                <a:gd name="T53" fmla="*/ 1522 h 5677"/>
                <a:gd name="T54" fmla="*/ 1575 w 5499"/>
                <a:gd name="T55" fmla="*/ 1348 h 5677"/>
                <a:gd name="T56" fmla="*/ 2781 w 5499"/>
                <a:gd name="T57" fmla="*/ 1554 h 5677"/>
                <a:gd name="T58" fmla="*/ 3119 w 5499"/>
                <a:gd name="T59" fmla="*/ 1522 h 5677"/>
                <a:gd name="T60" fmla="*/ 3219 w 5499"/>
                <a:gd name="T61" fmla="*/ 1693 h 5677"/>
                <a:gd name="T62" fmla="*/ 3123 w 5499"/>
                <a:gd name="T63" fmla="*/ 1815 h 5677"/>
                <a:gd name="T64" fmla="*/ 5035 w 5499"/>
                <a:gd name="T65" fmla="*/ 4769 h 5677"/>
                <a:gd name="T66" fmla="*/ 4520 w 5499"/>
                <a:gd name="T67" fmla="*/ 5367 h 5677"/>
                <a:gd name="T68" fmla="*/ 3887 w 5499"/>
                <a:gd name="T69" fmla="*/ 4672 h 5677"/>
                <a:gd name="T70" fmla="*/ 4121 w 5499"/>
                <a:gd name="T71" fmla="*/ 4395 h 5677"/>
                <a:gd name="T72" fmla="*/ 4693 w 5499"/>
                <a:gd name="T73" fmla="*/ 4475 h 5677"/>
                <a:gd name="T74" fmla="*/ 3985 w 5499"/>
                <a:gd name="T75" fmla="*/ 4136 h 5677"/>
                <a:gd name="T76" fmla="*/ 4355 w 5499"/>
                <a:gd name="T77" fmla="*/ 3316 h 5677"/>
                <a:gd name="T78" fmla="*/ 4686 w 5499"/>
                <a:gd name="T79" fmla="*/ 3124 h 5677"/>
                <a:gd name="T80" fmla="*/ 5064 w 5499"/>
                <a:gd name="T81" fmla="*/ 3650 h 5677"/>
                <a:gd name="T82" fmla="*/ 4693 w 5499"/>
                <a:gd name="T83" fmla="*/ 3744 h 5677"/>
                <a:gd name="T84" fmla="*/ 4379 w 5499"/>
                <a:gd name="T85" fmla="*/ 3819 h 5677"/>
                <a:gd name="T86" fmla="*/ 5110 w 5499"/>
                <a:gd name="T87" fmla="*/ 4137 h 5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499" h="5677">
                  <a:moveTo>
                    <a:pt x="5363" y="3960"/>
                  </a:moveTo>
                  <a:cubicBezTo>
                    <a:pt x="5342" y="3930"/>
                    <a:pt x="5320" y="3902"/>
                    <a:pt x="5296" y="3876"/>
                  </a:cubicBezTo>
                  <a:cubicBezTo>
                    <a:pt x="5326" y="3832"/>
                    <a:pt x="5349" y="3782"/>
                    <a:pt x="5363" y="3729"/>
                  </a:cubicBezTo>
                  <a:cubicBezTo>
                    <a:pt x="5405" y="3570"/>
                    <a:pt x="5363" y="3403"/>
                    <a:pt x="5251" y="3283"/>
                  </a:cubicBezTo>
                  <a:cubicBezTo>
                    <a:pt x="5178" y="3205"/>
                    <a:pt x="5093" y="3143"/>
                    <a:pt x="4995" y="3096"/>
                  </a:cubicBezTo>
                  <a:cubicBezTo>
                    <a:pt x="4980" y="2847"/>
                    <a:pt x="4773" y="2649"/>
                    <a:pt x="4520" y="2649"/>
                  </a:cubicBezTo>
                  <a:cubicBezTo>
                    <a:pt x="4272" y="2649"/>
                    <a:pt x="4067" y="2841"/>
                    <a:pt x="4047" y="3085"/>
                  </a:cubicBezTo>
                  <a:cubicBezTo>
                    <a:pt x="4017" y="3098"/>
                    <a:pt x="3989" y="3112"/>
                    <a:pt x="3962" y="3128"/>
                  </a:cubicBezTo>
                  <a:lnTo>
                    <a:pt x="3673" y="3040"/>
                  </a:lnTo>
                  <a:cubicBezTo>
                    <a:pt x="3673" y="3040"/>
                    <a:pt x="3673" y="3041"/>
                    <a:pt x="3673" y="3041"/>
                  </a:cubicBezTo>
                  <a:lnTo>
                    <a:pt x="3133" y="2877"/>
                  </a:lnTo>
                  <a:cubicBezTo>
                    <a:pt x="3116" y="2825"/>
                    <a:pt x="3077" y="2779"/>
                    <a:pt x="3023" y="2741"/>
                  </a:cubicBezTo>
                  <a:cubicBezTo>
                    <a:pt x="3083" y="2675"/>
                    <a:pt x="3133" y="2608"/>
                    <a:pt x="3171" y="2553"/>
                  </a:cubicBezTo>
                  <a:cubicBezTo>
                    <a:pt x="3261" y="2421"/>
                    <a:pt x="3337" y="2280"/>
                    <a:pt x="3389" y="2144"/>
                  </a:cubicBezTo>
                  <a:cubicBezTo>
                    <a:pt x="3414" y="2087"/>
                    <a:pt x="3436" y="2029"/>
                    <a:pt x="3454" y="1972"/>
                  </a:cubicBezTo>
                  <a:cubicBezTo>
                    <a:pt x="3524" y="1914"/>
                    <a:pt x="3565" y="1826"/>
                    <a:pt x="3565" y="1734"/>
                  </a:cubicBezTo>
                  <a:lnTo>
                    <a:pt x="3565" y="1508"/>
                  </a:lnTo>
                  <a:cubicBezTo>
                    <a:pt x="3565" y="1443"/>
                    <a:pt x="3545" y="1380"/>
                    <a:pt x="3507" y="1328"/>
                  </a:cubicBezTo>
                  <a:lnTo>
                    <a:pt x="3507" y="1010"/>
                  </a:lnTo>
                  <a:cubicBezTo>
                    <a:pt x="3507" y="453"/>
                    <a:pt x="3054" y="0"/>
                    <a:pt x="2497" y="0"/>
                  </a:cubicBezTo>
                  <a:lnTo>
                    <a:pt x="2170" y="0"/>
                  </a:lnTo>
                  <a:cubicBezTo>
                    <a:pt x="1613" y="0"/>
                    <a:pt x="1160" y="453"/>
                    <a:pt x="1160" y="1010"/>
                  </a:cubicBezTo>
                  <a:lnTo>
                    <a:pt x="1160" y="1328"/>
                  </a:lnTo>
                  <a:cubicBezTo>
                    <a:pt x="1122" y="1380"/>
                    <a:pt x="1102" y="1444"/>
                    <a:pt x="1102" y="1508"/>
                  </a:cubicBezTo>
                  <a:lnTo>
                    <a:pt x="1102" y="1734"/>
                  </a:lnTo>
                  <a:cubicBezTo>
                    <a:pt x="1102" y="1826"/>
                    <a:pt x="1143" y="1914"/>
                    <a:pt x="1213" y="1972"/>
                  </a:cubicBezTo>
                  <a:cubicBezTo>
                    <a:pt x="1231" y="2029"/>
                    <a:pt x="1253" y="2087"/>
                    <a:pt x="1279" y="2144"/>
                  </a:cubicBezTo>
                  <a:cubicBezTo>
                    <a:pt x="1331" y="2280"/>
                    <a:pt x="1406" y="2421"/>
                    <a:pt x="1496" y="2552"/>
                  </a:cubicBezTo>
                  <a:cubicBezTo>
                    <a:pt x="1534" y="2608"/>
                    <a:pt x="1584" y="2674"/>
                    <a:pt x="1644" y="2740"/>
                  </a:cubicBezTo>
                  <a:cubicBezTo>
                    <a:pt x="1590" y="2779"/>
                    <a:pt x="1551" y="2825"/>
                    <a:pt x="1534" y="2877"/>
                  </a:cubicBezTo>
                  <a:lnTo>
                    <a:pt x="814" y="3095"/>
                  </a:lnTo>
                  <a:cubicBezTo>
                    <a:pt x="307" y="3241"/>
                    <a:pt x="3" y="5432"/>
                    <a:pt x="3" y="5432"/>
                  </a:cubicBezTo>
                  <a:lnTo>
                    <a:pt x="3" y="5432"/>
                  </a:lnTo>
                  <a:cubicBezTo>
                    <a:pt x="1" y="5442"/>
                    <a:pt x="0" y="5452"/>
                    <a:pt x="0" y="5462"/>
                  </a:cubicBezTo>
                  <a:cubicBezTo>
                    <a:pt x="0" y="5567"/>
                    <a:pt x="86" y="5653"/>
                    <a:pt x="191" y="5653"/>
                  </a:cubicBezTo>
                  <a:lnTo>
                    <a:pt x="4372" y="5653"/>
                  </a:lnTo>
                  <a:cubicBezTo>
                    <a:pt x="4418" y="5668"/>
                    <a:pt x="4468" y="5677"/>
                    <a:pt x="4520" y="5677"/>
                  </a:cubicBezTo>
                  <a:cubicBezTo>
                    <a:pt x="4783" y="5677"/>
                    <a:pt x="4996" y="5464"/>
                    <a:pt x="4996" y="5202"/>
                  </a:cubicBezTo>
                  <a:lnTo>
                    <a:pt x="4996" y="5161"/>
                  </a:lnTo>
                  <a:cubicBezTo>
                    <a:pt x="5091" y="5119"/>
                    <a:pt x="5175" y="5063"/>
                    <a:pt x="5248" y="4994"/>
                  </a:cubicBezTo>
                  <a:cubicBezTo>
                    <a:pt x="5412" y="4838"/>
                    <a:pt x="5499" y="4635"/>
                    <a:pt x="5499" y="4406"/>
                  </a:cubicBezTo>
                  <a:cubicBezTo>
                    <a:pt x="5499" y="4239"/>
                    <a:pt x="5453" y="4089"/>
                    <a:pt x="5363" y="3960"/>
                  </a:cubicBezTo>
                  <a:close/>
                  <a:moveTo>
                    <a:pt x="2140" y="3663"/>
                  </a:moveTo>
                  <a:cubicBezTo>
                    <a:pt x="2137" y="3689"/>
                    <a:pt x="2118" y="3711"/>
                    <a:pt x="2093" y="3718"/>
                  </a:cubicBezTo>
                  <a:cubicBezTo>
                    <a:pt x="2087" y="3720"/>
                    <a:pt x="2081" y="3721"/>
                    <a:pt x="2075" y="3721"/>
                  </a:cubicBezTo>
                  <a:cubicBezTo>
                    <a:pt x="2055" y="3721"/>
                    <a:pt x="2036" y="3711"/>
                    <a:pt x="2024" y="3695"/>
                  </a:cubicBezTo>
                  <a:lnTo>
                    <a:pt x="1842" y="3454"/>
                  </a:lnTo>
                  <a:cubicBezTo>
                    <a:pt x="1833" y="3442"/>
                    <a:pt x="1829" y="3429"/>
                    <a:pt x="1829" y="3415"/>
                  </a:cubicBezTo>
                  <a:lnTo>
                    <a:pt x="1829" y="3028"/>
                  </a:lnTo>
                  <a:cubicBezTo>
                    <a:pt x="1829" y="3005"/>
                    <a:pt x="1841" y="2984"/>
                    <a:pt x="1860" y="2972"/>
                  </a:cubicBezTo>
                  <a:cubicBezTo>
                    <a:pt x="1880" y="2961"/>
                    <a:pt x="1904" y="2960"/>
                    <a:pt x="1924" y="2970"/>
                  </a:cubicBezTo>
                  <a:cubicBezTo>
                    <a:pt x="1977" y="2998"/>
                    <a:pt x="2030" y="3017"/>
                    <a:pt x="2081" y="3026"/>
                  </a:cubicBezTo>
                  <a:cubicBezTo>
                    <a:pt x="2112" y="3032"/>
                    <a:pt x="2135" y="3059"/>
                    <a:pt x="2135" y="3090"/>
                  </a:cubicBezTo>
                  <a:lnTo>
                    <a:pt x="2135" y="3252"/>
                  </a:lnTo>
                  <a:cubicBezTo>
                    <a:pt x="2144" y="3255"/>
                    <a:pt x="2152" y="3261"/>
                    <a:pt x="2159" y="3268"/>
                  </a:cubicBezTo>
                  <a:cubicBezTo>
                    <a:pt x="2171" y="3282"/>
                    <a:pt x="2177" y="3300"/>
                    <a:pt x="2175" y="3318"/>
                  </a:cubicBezTo>
                  <a:lnTo>
                    <a:pt x="2140" y="3663"/>
                  </a:lnTo>
                  <a:close/>
                  <a:moveTo>
                    <a:pt x="2825" y="3454"/>
                  </a:moveTo>
                  <a:lnTo>
                    <a:pt x="2644" y="3695"/>
                  </a:lnTo>
                  <a:cubicBezTo>
                    <a:pt x="2631" y="3711"/>
                    <a:pt x="2612" y="3721"/>
                    <a:pt x="2592" y="3721"/>
                  </a:cubicBezTo>
                  <a:cubicBezTo>
                    <a:pt x="2586" y="3721"/>
                    <a:pt x="2580" y="3720"/>
                    <a:pt x="2574" y="3718"/>
                  </a:cubicBezTo>
                  <a:cubicBezTo>
                    <a:pt x="2549" y="3711"/>
                    <a:pt x="2530" y="3689"/>
                    <a:pt x="2527" y="3662"/>
                  </a:cubicBezTo>
                  <a:lnTo>
                    <a:pt x="2492" y="3318"/>
                  </a:lnTo>
                  <a:cubicBezTo>
                    <a:pt x="2490" y="3300"/>
                    <a:pt x="2496" y="3282"/>
                    <a:pt x="2508" y="3268"/>
                  </a:cubicBezTo>
                  <a:cubicBezTo>
                    <a:pt x="2515" y="3261"/>
                    <a:pt x="2523" y="3255"/>
                    <a:pt x="2533" y="3252"/>
                  </a:cubicBezTo>
                  <a:lnTo>
                    <a:pt x="2533" y="3090"/>
                  </a:lnTo>
                  <a:cubicBezTo>
                    <a:pt x="2533" y="3059"/>
                    <a:pt x="2555" y="3032"/>
                    <a:pt x="2586" y="3026"/>
                  </a:cubicBezTo>
                  <a:cubicBezTo>
                    <a:pt x="2637" y="3017"/>
                    <a:pt x="2690" y="2998"/>
                    <a:pt x="2743" y="2971"/>
                  </a:cubicBezTo>
                  <a:cubicBezTo>
                    <a:pt x="2763" y="2960"/>
                    <a:pt x="2787" y="2961"/>
                    <a:pt x="2807" y="2972"/>
                  </a:cubicBezTo>
                  <a:cubicBezTo>
                    <a:pt x="2826" y="2984"/>
                    <a:pt x="2838" y="3005"/>
                    <a:pt x="2838" y="3028"/>
                  </a:cubicBezTo>
                  <a:lnTo>
                    <a:pt x="2838" y="3415"/>
                  </a:lnTo>
                  <a:cubicBezTo>
                    <a:pt x="2838" y="3429"/>
                    <a:pt x="2834" y="3442"/>
                    <a:pt x="2825" y="3454"/>
                  </a:cubicBezTo>
                  <a:close/>
                  <a:moveTo>
                    <a:pt x="2508" y="2684"/>
                  </a:moveTo>
                  <a:lnTo>
                    <a:pt x="2160" y="2684"/>
                  </a:lnTo>
                  <a:cubicBezTo>
                    <a:pt x="2083" y="2684"/>
                    <a:pt x="1934" y="2581"/>
                    <a:pt x="1776" y="2351"/>
                  </a:cubicBezTo>
                  <a:cubicBezTo>
                    <a:pt x="1651" y="2170"/>
                    <a:pt x="1564" y="1970"/>
                    <a:pt x="1544" y="1815"/>
                  </a:cubicBezTo>
                  <a:lnTo>
                    <a:pt x="1540" y="1788"/>
                  </a:lnTo>
                  <a:lnTo>
                    <a:pt x="1477" y="1747"/>
                  </a:lnTo>
                  <a:cubicBezTo>
                    <a:pt x="1459" y="1735"/>
                    <a:pt x="1448" y="1715"/>
                    <a:pt x="1448" y="1693"/>
                  </a:cubicBezTo>
                  <a:lnTo>
                    <a:pt x="1448" y="1586"/>
                  </a:lnTo>
                  <a:cubicBezTo>
                    <a:pt x="1448" y="1551"/>
                    <a:pt x="1477" y="1522"/>
                    <a:pt x="1513" y="1522"/>
                  </a:cubicBezTo>
                  <a:lnTo>
                    <a:pt x="1539" y="1522"/>
                  </a:lnTo>
                  <a:lnTo>
                    <a:pt x="1539" y="1406"/>
                  </a:lnTo>
                  <a:cubicBezTo>
                    <a:pt x="1539" y="1382"/>
                    <a:pt x="1553" y="1359"/>
                    <a:pt x="1575" y="1348"/>
                  </a:cubicBezTo>
                  <a:cubicBezTo>
                    <a:pt x="1664" y="1304"/>
                    <a:pt x="1841" y="1229"/>
                    <a:pt x="2024" y="1229"/>
                  </a:cubicBezTo>
                  <a:cubicBezTo>
                    <a:pt x="2170" y="1229"/>
                    <a:pt x="2292" y="1278"/>
                    <a:pt x="2384" y="1374"/>
                  </a:cubicBezTo>
                  <a:cubicBezTo>
                    <a:pt x="2500" y="1493"/>
                    <a:pt x="2633" y="1554"/>
                    <a:pt x="2781" y="1554"/>
                  </a:cubicBezTo>
                  <a:cubicBezTo>
                    <a:pt x="2864" y="1554"/>
                    <a:pt x="2950" y="1534"/>
                    <a:pt x="3037" y="1495"/>
                  </a:cubicBezTo>
                  <a:cubicBezTo>
                    <a:pt x="3057" y="1486"/>
                    <a:pt x="3080" y="1488"/>
                    <a:pt x="3098" y="1500"/>
                  </a:cubicBezTo>
                  <a:cubicBezTo>
                    <a:pt x="3107" y="1506"/>
                    <a:pt x="3114" y="1513"/>
                    <a:pt x="3119" y="1522"/>
                  </a:cubicBezTo>
                  <a:lnTo>
                    <a:pt x="3154" y="1522"/>
                  </a:lnTo>
                  <a:cubicBezTo>
                    <a:pt x="3190" y="1522"/>
                    <a:pt x="3219" y="1551"/>
                    <a:pt x="3219" y="1586"/>
                  </a:cubicBezTo>
                  <a:lnTo>
                    <a:pt x="3219" y="1693"/>
                  </a:lnTo>
                  <a:cubicBezTo>
                    <a:pt x="3219" y="1715"/>
                    <a:pt x="3208" y="1735"/>
                    <a:pt x="3190" y="1747"/>
                  </a:cubicBezTo>
                  <a:lnTo>
                    <a:pt x="3127" y="1788"/>
                  </a:lnTo>
                  <a:lnTo>
                    <a:pt x="3123" y="1815"/>
                  </a:lnTo>
                  <a:cubicBezTo>
                    <a:pt x="3103" y="1970"/>
                    <a:pt x="3016" y="2170"/>
                    <a:pt x="2891" y="2351"/>
                  </a:cubicBezTo>
                  <a:cubicBezTo>
                    <a:pt x="2733" y="2581"/>
                    <a:pt x="2584" y="2684"/>
                    <a:pt x="2508" y="2684"/>
                  </a:cubicBezTo>
                  <a:close/>
                  <a:moveTo>
                    <a:pt x="5035" y="4769"/>
                  </a:moveTo>
                  <a:cubicBezTo>
                    <a:pt x="4947" y="4852"/>
                    <a:pt x="4830" y="4908"/>
                    <a:pt x="4686" y="4935"/>
                  </a:cubicBezTo>
                  <a:lnTo>
                    <a:pt x="4686" y="5202"/>
                  </a:lnTo>
                  <a:cubicBezTo>
                    <a:pt x="4686" y="5293"/>
                    <a:pt x="4612" y="5367"/>
                    <a:pt x="4520" y="5367"/>
                  </a:cubicBezTo>
                  <a:cubicBezTo>
                    <a:pt x="4429" y="5367"/>
                    <a:pt x="4355" y="5293"/>
                    <a:pt x="4355" y="5202"/>
                  </a:cubicBezTo>
                  <a:lnTo>
                    <a:pt x="4355" y="4944"/>
                  </a:lnTo>
                  <a:cubicBezTo>
                    <a:pt x="4144" y="4915"/>
                    <a:pt x="3987" y="4824"/>
                    <a:pt x="3887" y="4672"/>
                  </a:cubicBezTo>
                  <a:cubicBezTo>
                    <a:pt x="3857" y="4626"/>
                    <a:pt x="3851" y="4567"/>
                    <a:pt x="3873" y="4516"/>
                  </a:cubicBezTo>
                  <a:cubicBezTo>
                    <a:pt x="3895" y="4465"/>
                    <a:pt x="3941" y="4428"/>
                    <a:pt x="3995" y="4418"/>
                  </a:cubicBezTo>
                  <a:lnTo>
                    <a:pt x="4121" y="4395"/>
                  </a:lnTo>
                  <a:cubicBezTo>
                    <a:pt x="4185" y="4383"/>
                    <a:pt x="4250" y="4410"/>
                    <a:pt x="4287" y="4463"/>
                  </a:cubicBezTo>
                  <a:cubicBezTo>
                    <a:pt x="4334" y="4531"/>
                    <a:pt x="4414" y="4565"/>
                    <a:pt x="4524" y="4565"/>
                  </a:cubicBezTo>
                  <a:cubicBezTo>
                    <a:pt x="4693" y="4565"/>
                    <a:pt x="4693" y="4498"/>
                    <a:pt x="4693" y="4475"/>
                  </a:cubicBezTo>
                  <a:cubicBezTo>
                    <a:pt x="4693" y="4443"/>
                    <a:pt x="4681" y="4420"/>
                    <a:pt x="4656" y="4402"/>
                  </a:cubicBezTo>
                  <a:cubicBezTo>
                    <a:pt x="4629" y="4384"/>
                    <a:pt x="4581" y="4367"/>
                    <a:pt x="4512" y="4353"/>
                  </a:cubicBezTo>
                  <a:cubicBezTo>
                    <a:pt x="4237" y="4297"/>
                    <a:pt x="4059" y="4224"/>
                    <a:pt x="3985" y="4136"/>
                  </a:cubicBezTo>
                  <a:cubicBezTo>
                    <a:pt x="3909" y="4048"/>
                    <a:pt x="3872" y="3948"/>
                    <a:pt x="3872" y="3833"/>
                  </a:cubicBezTo>
                  <a:cubicBezTo>
                    <a:pt x="3872" y="3707"/>
                    <a:pt x="3914" y="3595"/>
                    <a:pt x="3995" y="3497"/>
                  </a:cubicBezTo>
                  <a:cubicBezTo>
                    <a:pt x="4074" y="3403"/>
                    <a:pt x="4195" y="3342"/>
                    <a:pt x="4355" y="3316"/>
                  </a:cubicBezTo>
                  <a:lnTo>
                    <a:pt x="4355" y="3124"/>
                  </a:lnTo>
                  <a:cubicBezTo>
                    <a:pt x="4355" y="3033"/>
                    <a:pt x="4429" y="2959"/>
                    <a:pt x="4520" y="2959"/>
                  </a:cubicBezTo>
                  <a:cubicBezTo>
                    <a:pt x="4612" y="2959"/>
                    <a:pt x="4686" y="3033"/>
                    <a:pt x="4686" y="3124"/>
                  </a:cubicBezTo>
                  <a:lnTo>
                    <a:pt x="4686" y="3319"/>
                  </a:lnTo>
                  <a:cubicBezTo>
                    <a:pt x="4829" y="3346"/>
                    <a:pt x="4940" y="3404"/>
                    <a:pt x="5024" y="3494"/>
                  </a:cubicBezTo>
                  <a:cubicBezTo>
                    <a:pt x="5063" y="3536"/>
                    <a:pt x="5078" y="3595"/>
                    <a:pt x="5064" y="3650"/>
                  </a:cubicBezTo>
                  <a:cubicBezTo>
                    <a:pt x="5049" y="3705"/>
                    <a:pt x="5007" y="3749"/>
                    <a:pt x="4953" y="3766"/>
                  </a:cubicBezTo>
                  <a:lnTo>
                    <a:pt x="4867" y="3793"/>
                  </a:lnTo>
                  <a:cubicBezTo>
                    <a:pt x="4805" y="3812"/>
                    <a:pt x="4737" y="3793"/>
                    <a:pt x="4693" y="3744"/>
                  </a:cubicBezTo>
                  <a:cubicBezTo>
                    <a:pt x="4650" y="3696"/>
                    <a:pt x="4586" y="3671"/>
                    <a:pt x="4503" y="3671"/>
                  </a:cubicBezTo>
                  <a:cubicBezTo>
                    <a:pt x="4436" y="3671"/>
                    <a:pt x="4356" y="3687"/>
                    <a:pt x="4356" y="3763"/>
                  </a:cubicBezTo>
                  <a:cubicBezTo>
                    <a:pt x="4356" y="3785"/>
                    <a:pt x="4364" y="3804"/>
                    <a:pt x="4379" y="3819"/>
                  </a:cubicBezTo>
                  <a:cubicBezTo>
                    <a:pt x="4396" y="3835"/>
                    <a:pt x="4444" y="3852"/>
                    <a:pt x="4521" y="3870"/>
                  </a:cubicBezTo>
                  <a:cubicBezTo>
                    <a:pt x="4701" y="3909"/>
                    <a:pt x="4832" y="3945"/>
                    <a:pt x="4910" y="3976"/>
                  </a:cubicBezTo>
                  <a:cubicBezTo>
                    <a:pt x="4990" y="4008"/>
                    <a:pt x="5057" y="4062"/>
                    <a:pt x="5110" y="4137"/>
                  </a:cubicBezTo>
                  <a:cubicBezTo>
                    <a:pt x="5162" y="4213"/>
                    <a:pt x="5189" y="4303"/>
                    <a:pt x="5189" y="4406"/>
                  </a:cubicBezTo>
                  <a:cubicBezTo>
                    <a:pt x="5189" y="4550"/>
                    <a:pt x="5137" y="4672"/>
                    <a:pt x="5035" y="4769"/>
                  </a:cubicBezTo>
                  <a:close/>
                </a:path>
              </a:pathLst>
            </a:custGeom>
            <a:solidFill>
              <a:schemeClr val="accent1"/>
            </a:solidFill>
            <a:ln>
              <a:noFill/>
            </a:ln>
          </p:spPr>
          <p:txBody>
            <a:bodyPr/>
            <a:lstStyle/>
            <a:p>
              <a:endParaRPr lang="zh-CN" altLang="en-US"/>
            </a:p>
          </p:txBody>
        </p:sp>
        <p:sp>
          <p:nvSpPr>
            <p:cNvPr id="15" name="iṩļíde">
              <a:extLst>
                <a:ext uri="{FF2B5EF4-FFF2-40B4-BE49-F238E27FC236}">
                  <a16:creationId xmlns:a16="http://schemas.microsoft.com/office/drawing/2014/main" id="{FFCF7C75-31A4-479C-8C6A-AA615A141C4C}"/>
                </a:ext>
              </a:extLst>
            </p:cNvPr>
            <p:cNvSpPr txBox="1"/>
            <p:nvPr/>
          </p:nvSpPr>
          <p:spPr>
            <a:xfrm>
              <a:off x="5376038" y="3583991"/>
              <a:ext cx="1387448" cy="483522"/>
            </a:xfrm>
            <a:prstGeom prst="rect">
              <a:avLst/>
            </a:prstGeom>
            <a:noFill/>
          </p:spPr>
          <p:txBody>
            <a:bodyPr wrap="none" rtlCol="0" anchor="ctr">
              <a:normAutofit/>
            </a:bodyPr>
            <a:lstStyle/>
            <a:p>
              <a:pPr algn="ctr" defTabSz="914378">
                <a:spcBef>
                  <a:spcPct val="0"/>
                </a:spcBef>
                <a:defRPr/>
              </a:pPr>
              <a:r>
                <a:rPr lang="en-US" altLang="zh-CN" b="1"/>
                <a:t>… text</a:t>
              </a:r>
              <a:endParaRPr lang="zh-CN" altLang="en-US" b="1" dirty="0"/>
            </a:p>
          </p:txBody>
        </p:sp>
        <p:sp>
          <p:nvSpPr>
            <p:cNvPr id="16" name="iṧlîḓe">
              <a:extLst>
                <a:ext uri="{FF2B5EF4-FFF2-40B4-BE49-F238E27FC236}">
                  <a16:creationId xmlns:a16="http://schemas.microsoft.com/office/drawing/2014/main" id="{D06C84DD-DC14-4BDE-812A-E8DC8442E2C4}"/>
                </a:ext>
              </a:extLst>
            </p:cNvPr>
            <p:cNvSpPr txBox="1"/>
            <p:nvPr/>
          </p:nvSpPr>
          <p:spPr>
            <a:xfrm>
              <a:off x="1744049" y="1567854"/>
              <a:ext cx="2568113" cy="483522"/>
            </a:xfrm>
            <a:prstGeom prst="rect">
              <a:avLst/>
            </a:prstGeom>
            <a:noFill/>
          </p:spPr>
          <p:txBody>
            <a:bodyPr wrap="none" rtlCol="0" anchor="b">
              <a:normAutofit/>
            </a:bodyPr>
            <a:lstStyle/>
            <a:p>
              <a:pPr lvl="0" algn="r" defTabSz="914378">
                <a:spcBef>
                  <a:spcPct val="0"/>
                </a:spcBef>
                <a:defRPr/>
              </a:pPr>
              <a:r>
                <a:rPr lang="en-US" altLang="zh-CN" b="1"/>
                <a:t>… text</a:t>
              </a:r>
              <a:endParaRPr lang="zh-CN" altLang="en-US" b="1" dirty="0"/>
            </a:p>
          </p:txBody>
        </p:sp>
        <p:sp>
          <p:nvSpPr>
            <p:cNvPr id="17" name="ïṥlïḍé">
              <a:extLst>
                <a:ext uri="{FF2B5EF4-FFF2-40B4-BE49-F238E27FC236}">
                  <a16:creationId xmlns:a16="http://schemas.microsoft.com/office/drawing/2014/main" id="{5ED8D89D-B0AE-43E2-8790-290306878351}"/>
                </a:ext>
              </a:extLst>
            </p:cNvPr>
            <p:cNvSpPr/>
            <p:nvPr/>
          </p:nvSpPr>
          <p:spPr bwMode="auto">
            <a:xfrm>
              <a:off x="1744049" y="2051376"/>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a:t>Supporting text here.</a:t>
              </a:r>
            </a:p>
            <a:p>
              <a:pPr algn="r">
                <a:lnSpc>
                  <a:spcPct val="130000"/>
                </a:lnSpc>
              </a:pPr>
              <a:r>
                <a:rPr lang="en-US" altLang="zh-CN" sz="1100"/>
                <a:t>…… </a:t>
              </a:r>
              <a:endParaRPr lang="en-US" altLang="zh-CN" sz="1100" dirty="0"/>
            </a:p>
          </p:txBody>
        </p:sp>
        <p:sp>
          <p:nvSpPr>
            <p:cNvPr id="18" name="ïsliḋè">
              <a:extLst>
                <a:ext uri="{FF2B5EF4-FFF2-40B4-BE49-F238E27FC236}">
                  <a16:creationId xmlns:a16="http://schemas.microsoft.com/office/drawing/2014/main" id="{20C581CA-9E23-4E09-BA9F-E4AE922C330C}"/>
                </a:ext>
              </a:extLst>
            </p:cNvPr>
            <p:cNvSpPr txBox="1"/>
            <p:nvPr/>
          </p:nvSpPr>
          <p:spPr>
            <a:xfrm>
              <a:off x="1744049" y="4169439"/>
              <a:ext cx="2568113" cy="483522"/>
            </a:xfrm>
            <a:prstGeom prst="rect">
              <a:avLst/>
            </a:prstGeom>
            <a:noFill/>
          </p:spPr>
          <p:txBody>
            <a:bodyPr wrap="none" rtlCol="0" anchor="b">
              <a:normAutofit/>
            </a:bodyPr>
            <a:lstStyle/>
            <a:p>
              <a:pPr lvl="0" algn="r" defTabSz="914378">
                <a:spcBef>
                  <a:spcPct val="0"/>
                </a:spcBef>
                <a:defRPr/>
              </a:pPr>
              <a:r>
                <a:rPr lang="en-US" altLang="zh-CN" b="1"/>
                <a:t>… text</a:t>
              </a:r>
              <a:endParaRPr lang="zh-CN" altLang="en-US" b="1" dirty="0"/>
            </a:p>
          </p:txBody>
        </p:sp>
        <p:sp>
          <p:nvSpPr>
            <p:cNvPr id="19" name="îṩ1iḋé">
              <a:extLst>
                <a:ext uri="{FF2B5EF4-FFF2-40B4-BE49-F238E27FC236}">
                  <a16:creationId xmlns:a16="http://schemas.microsoft.com/office/drawing/2014/main" id="{DB6B276E-8933-4853-878D-94923F637D32}"/>
                </a:ext>
              </a:extLst>
            </p:cNvPr>
            <p:cNvSpPr/>
            <p:nvPr/>
          </p:nvSpPr>
          <p:spPr bwMode="auto">
            <a:xfrm>
              <a:off x="1744049" y="4652961"/>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30000"/>
                </a:lnSpc>
              </a:pPr>
              <a:r>
                <a:rPr lang="en-US" altLang="zh-CN" sz="1100"/>
                <a:t>Supporting text here.</a:t>
              </a:r>
            </a:p>
            <a:p>
              <a:pPr algn="r">
                <a:lnSpc>
                  <a:spcPct val="130000"/>
                </a:lnSpc>
              </a:pPr>
              <a:r>
                <a:rPr lang="en-US" altLang="zh-CN" sz="1100"/>
                <a:t>…… </a:t>
              </a:r>
              <a:endParaRPr lang="en-US" altLang="zh-CN" sz="1100" dirty="0"/>
            </a:p>
          </p:txBody>
        </p:sp>
        <p:sp>
          <p:nvSpPr>
            <p:cNvPr id="20" name="işḷîḋê">
              <a:extLst>
                <a:ext uri="{FF2B5EF4-FFF2-40B4-BE49-F238E27FC236}">
                  <a16:creationId xmlns:a16="http://schemas.microsoft.com/office/drawing/2014/main" id="{072B92C6-A347-4D48-9089-C7AD6D01ACA4}"/>
                </a:ext>
              </a:extLst>
            </p:cNvPr>
            <p:cNvSpPr txBox="1"/>
            <p:nvPr/>
          </p:nvSpPr>
          <p:spPr>
            <a:xfrm>
              <a:off x="7879838" y="1567854"/>
              <a:ext cx="2568113" cy="483522"/>
            </a:xfrm>
            <a:prstGeom prst="rect">
              <a:avLst/>
            </a:prstGeom>
            <a:noFill/>
          </p:spPr>
          <p:txBody>
            <a:bodyPr wrap="none" rtlCol="0" anchor="b">
              <a:normAutofit/>
            </a:bodyPr>
            <a:lstStyle/>
            <a:p>
              <a:pPr lvl="0" defTabSz="914378">
                <a:spcBef>
                  <a:spcPct val="0"/>
                </a:spcBef>
                <a:defRPr/>
              </a:pPr>
              <a:r>
                <a:rPr lang="en-US" altLang="zh-CN" b="1"/>
                <a:t>… text</a:t>
              </a:r>
              <a:endParaRPr lang="zh-CN" altLang="en-US" b="1" dirty="0"/>
            </a:p>
          </p:txBody>
        </p:sp>
        <p:sp>
          <p:nvSpPr>
            <p:cNvPr id="21" name="íṧḻídè">
              <a:extLst>
                <a:ext uri="{FF2B5EF4-FFF2-40B4-BE49-F238E27FC236}">
                  <a16:creationId xmlns:a16="http://schemas.microsoft.com/office/drawing/2014/main" id="{86657D36-9CAF-4771-A3B4-C8E60FE79EAC}"/>
                </a:ext>
              </a:extLst>
            </p:cNvPr>
            <p:cNvSpPr/>
            <p:nvPr/>
          </p:nvSpPr>
          <p:spPr bwMode="auto">
            <a:xfrm>
              <a:off x="7879838" y="2051376"/>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en-US" altLang="zh-CN" sz="1100"/>
                <a:t>Supporting text here.</a:t>
              </a:r>
            </a:p>
            <a:p>
              <a:pPr>
                <a:lnSpc>
                  <a:spcPct val="130000"/>
                </a:lnSpc>
              </a:pPr>
              <a:r>
                <a:rPr lang="en-US" altLang="zh-CN" sz="1100"/>
                <a:t>…… </a:t>
              </a:r>
              <a:endParaRPr lang="en-US" altLang="zh-CN" sz="1100" dirty="0"/>
            </a:p>
          </p:txBody>
        </p:sp>
        <p:sp>
          <p:nvSpPr>
            <p:cNvPr id="22" name="íšḻíḓê">
              <a:extLst>
                <a:ext uri="{FF2B5EF4-FFF2-40B4-BE49-F238E27FC236}">
                  <a16:creationId xmlns:a16="http://schemas.microsoft.com/office/drawing/2014/main" id="{3D790F9C-BE35-4CD2-8345-D6AC9CA6F59B}"/>
                </a:ext>
              </a:extLst>
            </p:cNvPr>
            <p:cNvSpPr txBox="1"/>
            <p:nvPr/>
          </p:nvSpPr>
          <p:spPr>
            <a:xfrm>
              <a:off x="7879838" y="4169439"/>
              <a:ext cx="2568113" cy="483522"/>
            </a:xfrm>
            <a:prstGeom prst="rect">
              <a:avLst/>
            </a:prstGeom>
            <a:noFill/>
          </p:spPr>
          <p:txBody>
            <a:bodyPr wrap="none" rtlCol="0" anchor="b">
              <a:normAutofit/>
            </a:bodyPr>
            <a:lstStyle/>
            <a:p>
              <a:pPr lvl="0" defTabSz="914378">
                <a:spcBef>
                  <a:spcPct val="0"/>
                </a:spcBef>
                <a:defRPr/>
              </a:pPr>
              <a:r>
                <a:rPr lang="en-US" altLang="zh-CN" b="1"/>
                <a:t>… text</a:t>
              </a:r>
              <a:endParaRPr lang="zh-CN" altLang="en-US" b="1" dirty="0"/>
            </a:p>
          </p:txBody>
        </p:sp>
        <p:sp>
          <p:nvSpPr>
            <p:cNvPr id="23" name="í$lídê">
              <a:extLst>
                <a:ext uri="{FF2B5EF4-FFF2-40B4-BE49-F238E27FC236}">
                  <a16:creationId xmlns:a16="http://schemas.microsoft.com/office/drawing/2014/main" id="{D1F7EE91-8EB5-46E2-95D7-9EAF08A3CF91}"/>
                </a:ext>
              </a:extLst>
            </p:cNvPr>
            <p:cNvSpPr/>
            <p:nvPr/>
          </p:nvSpPr>
          <p:spPr bwMode="auto">
            <a:xfrm>
              <a:off x="7879838" y="4652961"/>
              <a:ext cx="2568113" cy="73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000" tIns="46800" rIns="90000" bIns="4680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30000"/>
                </a:lnSpc>
              </a:pPr>
              <a:r>
                <a:rPr lang="en-US" altLang="zh-CN" sz="1100"/>
                <a:t>Supporting text here.</a:t>
              </a:r>
            </a:p>
            <a:p>
              <a:pPr>
                <a:lnSpc>
                  <a:spcPct val="130000"/>
                </a:lnSpc>
              </a:pPr>
              <a:r>
                <a:rPr lang="en-US" altLang="zh-CN" sz="1100"/>
                <a:t>…… </a:t>
              </a:r>
              <a:endParaRPr lang="en-US" altLang="zh-CN" sz="1100" dirty="0"/>
            </a:p>
          </p:txBody>
        </p:sp>
      </p:grpSp>
    </p:spTree>
    <p:extLst>
      <p:ext uri="{BB962C8B-B14F-4D97-AF65-F5344CB8AC3E}">
        <p14:creationId xmlns:p14="http://schemas.microsoft.com/office/powerpoint/2010/main" val="6183331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362DCD4-725F-4B31-9D71-FC7D9EE96E6A}"/>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F7E2FE47-3B11-4AF6-91DD-F469F1D1139A}"/>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92978CF2-13CB-4015-8336-D3C9B1E613D6}"/>
              </a:ext>
            </a:extLst>
          </p:cNvPr>
          <p:cNvSpPr>
            <a:spLocks noGrp="1"/>
          </p:cNvSpPr>
          <p:nvPr>
            <p:ph type="sldNum" sz="quarter" idx="12"/>
          </p:nvPr>
        </p:nvSpPr>
        <p:spPr/>
        <p:txBody>
          <a:bodyPr/>
          <a:lstStyle/>
          <a:p>
            <a:fld id="{5DD3DB80-B894-403A-B48E-6FDC1A72010E}" type="slidenum">
              <a:rPr lang="zh-CN" altLang="en-US" smtClean="0"/>
              <a:pPr/>
              <a:t>13</a:t>
            </a:fld>
            <a:endParaRPr lang="zh-CN" altLang="en-US"/>
          </a:p>
        </p:txBody>
      </p:sp>
      <p:grpSp>
        <p:nvGrpSpPr>
          <p:cNvPr id="5" name="27778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C4C789C-1AF0-473B-A7D5-757732B90F7C}"/>
              </a:ext>
            </a:extLst>
          </p:cNvPr>
          <p:cNvGrpSpPr>
            <a:grpSpLocks noChangeAspect="1"/>
          </p:cNvGrpSpPr>
          <p:nvPr/>
        </p:nvGrpSpPr>
        <p:grpSpPr>
          <a:xfrm>
            <a:off x="0" y="1276228"/>
            <a:ext cx="11518900" cy="4724646"/>
            <a:chOff x="0" y="1276228"/>
            <a:chExt cx="11518900" cy="4724646"/>
          </a:xfrm>
        </p:grpSpPr>
        <p:grpSp>
          <p:nvGrpSpPr>
            <p:cNvPr id="6" name="íSľíḋè">
              <a:extLst>
                <a:ext uri="{FF2B5EF4-FFF2-40B4-BE49-F238E27FC236}">
                  <a16:creationId xmlns:a16="http://schemas.microsoft.com/office/drawing/2014/main" id="{B6211FB6-1954-4B7D-8ADF-F2333BA3ABD7}"/>
                </a:ext>
              </a:extLst>
            </p:cNvPr>
            <p:cNvGrpSpPr/>
            <p:nvPr/>
          </p:nvGrpSpPr>
          <p:grpSpPr>
            <a:xfrm>
              <a:off x="0" y="2070295"/>
              <a:ext cx="6767635" cy="3136510"/>
              <a:chOff x="673100" y="2076769"/>
              <a:chExt cx="6767635" cy="3136510"/>
            </a:xfrm>
          </p:grpSpPr>
          <p:sp>
            <p:nvSpPr>
              <p:cNvPr id="25" name="ï$liḓé">
                <a:extLst>
                  <a:ext uri="{FF2B5EF4-FFF2-40B4-BE49-F238E27FC236}">
                    <a16:creationId xmlns:a16="http://schemas.microsoft.com/office/drawing/2014/main" id="{B95EB6E6-B1AF-4A5D-947F-AB36F05148E4}"/>
                  </a:ext>
                </a:extLst>
              </p:cNvPr>
              <p:cNvSpPr/>
              <p:nvPr/>
            </p:nvSpPr>
            <p:spPr>
              <a:xfrm>
                <a:off x="673100" y="2133600"/>
                <a:ext cx="5283200" cy="3022848"/>
              </a:xfrm>
              <a:prstGeom prst="rect">
                <a:avLst/>
              </a:prstGeom>
              <a:pattFill prst="pct5">
                <a:fgClr>
                  <a:srgbClr val="E4E6EA"/>
                </a:fgClr>
                <a:bgClr>
                  <a:srgbClr val="ADB5BF"/>
                </a:bgClr>
              </a:patt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grpSp>
            <p:nvGrpSpPr>
              <p:cNvPr id="26" name="î$ḻiḋé">
                <a:extLst>
                  <a:ext uri="{FF2B5EF4-FFF2-40B4-BE49-F238E27FC236}">
                    <a16:creationId xmlns:a16="http://schemas.microsoft.com/office/drawing/2014/main" id="{F275A2F3-845C-4B7C-AA4A-56D52E2D72B9}"/>
                  </a:ext>
                </a:extLst>
              </p:cNvPr>
              <p:cNvGrpSpPr/>
              <p:nvPr/>
            </p:nvGrpSpPr>
            <p:grpSpPr>
              <a:xfrm>
                <a:off x="4304225" y="2076769"/>
                <a:ext cx="3136510" cy="3136510"/>
                <a:chOff x="3631125" y="2076769"/>
                <a:chExt cx="3136510" cy="3136510"/>
              </a:xfrm>
            </p:grpSpPr>
            <p:sp>
              <p:nvSpPr>
                <p:cNvPr id="27" name="iSļîḑê">
                  <a:extLst>
                    <a:ext uri="{FF2B5EF4-FFF2-40B4-BE49-F238E27FC236}">
                      <a16:creationId xmlns:a16="http://schemas.microsoft.com/office/drawing/2014/main" id="{A8A2FA75-2721-4C9D-BA84-C91E8212319F}"/>
                    </a:ext>
                  </a:extLst>
                </p:cNvPr>
                <p:cNvSpPr/>
                <p:nvPr/>
              </p:nvSpPr>
              <p:spPr>
                <a:xfrm>
                  <a:off x="3631125" y="2076769"/>
                  <a:ext cx="3136510" cy="3136510"/>
                </a:xfrm>
                <a:prstGeom prst="ellipse">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en-US" altLang="zh-CN" sz="2400" kern="0" dirty="0"/>
                </a:p>
                <a:p>
                  <a:pPr algn="ctr"/>
                  <a:endParaRPr lang="en-US" altLang="zh-CN" sz="2400" kern="0" dirty="0"/>
                </a:p>
                <a:p>
                  <a:pPr algn="ctr"/>
                  <a:r>
                    <a:rPr lang="en-US" altLang="zh-CN" sz="2400" kern="0" dirty="0"/>
                    <a:t>…text</a:t>
                  </a:r>
                  <a:endParaRPr lang="en-US" sz="2400" dirty="0"/>
                </a:p>
              </p:txBody>
            </p:sp>
            <p:sp>
              <p:nvSpPr>
                <p:cNvPr id="28" name="íslíḑé">
                  <a:extLst>
                    <a:ext uri="{FF2B5EF4-FFF2-40B4-BE49-F238E27FC236}">
                      <a16:creationId xmlns:a16="http://schemas.microsoft.com/office/drawing/2014/main" id="{F0477C73-9869-4811-B5E6-BD97C33CEAAC}"/>
                    </a:ext>
                  </a:extLst>
                </p:cNvPr>
                <p:cNvSpPr/>
                <p:nvPr/>
              </p:nvSpPr>
              <p:spPr bwMode="auto">
                <a:xfrm>
                  <a:off x="4921325" y="2877951"/>
                  <a:ext cx="556110" cy="657216"/>
                </a:xfrm>
                <a:custGeom>
                  <a:avLst/>
                  <a:gdLst/>
                  <a:ahLst/>
                  <a:cxnLst>
                    <a:cxn ang="0">
                      <a:pos x="250" y="250"/>
                    </a:cxn>
                    <a:cxn ang="0">
                      <a:pos x="125" y="296"/>
                    </a:cxn>
                    <a:cxn ang="0">
                      <a:pos x="0" y="250"/>
                    </a:cxn>
                    <a:cxn ang="0">
                      <a:pos x="66" y="210"/>
                    </a:cxn>
                    <a:cxn ang="0">
                      <a:pos x="79" y="219"/>
                    </a:cxn>
                    <a:cxn ang="0">
                      <a:pos x="70" y="232"/>
                    </a:cxn>
                    <a:cxn ang="0">
                      <a:pos x="23" y="251"/>
                    </a:cxn>
                    <a:cxn ang="0">
                      <a:pos x="125" y="273"/>
                    </a:cxn>
                    <a:cxn ang="0">
                      <a:pos x="228" y="250"/>
                    </a:cxn>
                    <a:cxn ang="0">
                      <a:pos x="180" y="232"/>
                    </a:cxn>
                    <a:cxn ang="0">
                      <a:pos x="171" y="219"/>
                    </a:cxn>
                    <a:cxn ang="0">
                      <a:pos x="184" y="210"/>
                    </a:cxn>
                    <a:cxn ang="0">
                      <a:pos x="250" y="250"/>
                    </a:cxn>
                    <a:cxn ang="0">
                      <a:pos x="80" y="182"/>
                    </a:cxn>
                    <a:cxn ang="0">
                      <a:pos x="91" y="182"/>
                    </a:cxn>
                    <a:cxn ang="0">
                      <a:pos x="91" y="250"/>
                    </a:cxn>
                    <a:cxn ang="0">
                      <a:pos x="102" y="262"/>
                    </a:cxn>
                    <a:cxn ang="0">
                      <a:pos x="148" y="262"/>
                    </a:cxn>
                    <a:cxn ang="0">
                      <a:pos x="159" y="250"/>
                    </a:cxn>
                    <a:cxn ang="0">
                      <a:pos x="159" y="182"/>
                    </a:cxn>
                    <a:cxn ang="0">
                      <a:pos x="171" y="182"/>
                    </a:cxn>
                    <a:cxn ang="0">
                      <a:pos x="182" y="171"/>
                    </a:cxn>
                    <a:cxn ang="0">
                      <a:pos x="182" y="102"/>
                    </a:cxn>
                    <a:cxn ang="0">
                      <a:pos x="157" y="82"/>
                    </a:cxn>
                    <a:cxn ang="0">
                      <a:pos x="125" y="80"/>
                    </a:cxn>
                    <a:cxn ang="0">
                      <a:pos x="93" y="82"/>
                    </a:cxn>
                    <a:cxn ang="0">
                      <a:pos x="68" y="102"/>
                    </a:cxn>
                    <a:cxn ang="0">
                      <a:pos x="68" y="171"/>
                    </a:cxn>
                    <a:cxn ang="0">
                      <a:pos x="80" y="182"/>
                    </a:cxn>
                    <a:cxn ang="0">
                      <a:pos x="125" y="68"/>
                    </a:cxn>
                    <a:cxn ang="0">
                      <a:pos x="159" y="34"/>
                    </a:cxn>
                    <a:cxn ang="0">
                      <a:pos x="125" y="0"/>
                    </a:cxn>
                    <a:cxn ang="0">
                      <a:pos x="91" y="34"/>
                    </a:cxn>
                    <a:cxn ang="0">
                      <a:pos x="125" y="68"/>
                    </a:cxn>
                    <a:cxn ang="0">
                      <a:pos x="125" y="68"/>
                    </a:cxn>
                    <a:cxn ang="0">
                      <a:pos x="125" y="68"/>
                    </a:cxn>
                  </a:cxnLst>
                  <a:rect l="0" t="0" r="r" b="b"/>
                  <a:pathLst>
                    <a:path w="250" h="296">
                      <a:moveTo>
                        <a:pt x="250" y="250"/>
                      </a:moveTo>
                      <a:cubicBezTo>
                        <a:pt x="250" y="282"/>
                        <a:pt x="185" y="296"/>
                        <a:pt x="125" y="296"/>
                      </a:cubicBezTo>
                      <a:cubicBezTo>
                        <a:pt x="65" y="296"/>
                        <a:pt x="0" y="282"/>
                        <a:pt x="0" y="250"/>
                      </a:cubicBezTo>
                      <a:cubicBezTo>
                        <a:pt x="0" y="226"/>
                        <a:pt x="36" y="215"/>
                        <a:pt x="66" y="210"/>
                      </a:cubicBezTo>
                      <a:cubicBezTo>
                        <a:pt x="72" y="209"/>
                        <a:pt x="78" y="213"/>
                        <a:pt x="79" y="219"/>
                      </a:cubicBezTo>
                      <a:cubicBezTo>
                        <a:pt x="80" y="225"/>
                        <a:pt x="76" y="231"/>
                        <a:pt x="70" y="232"/>
                      </a:cubicBezTo>
                      <a:cubicBezTo>
                        <a:pt x="33" y="239"/>
                        <a:pt x="23" y="249"/>
                        <a:pt x="23" y="251"/>
                      </a:cubicBezTo>
                      <a:cubicBezTo>
                        <a:pt x="24" y="257"/>
                        <a:pt x="58" y="273"/>
                        <a:pt x="125" y="273"/>
                      </a:cubicBezTo>
                      <a:cubicBezTo>
                        <a:pt x="192" y="273"/>
                        <a:pt x="226" y="257"/>
                        <a:pt x="228" y="250"/>
                      </a:cubicBezTo>
                      <a:cubicBezTo>
                        <a:pt x="227" y="249"/>
                        <a:pt x="217" y="238"/>
                        <a:pt x="180" y="232"/>
                      </a:cubicBezTo>
                      <a:cubicBezTo>
                        <a:pt x="174" y="231"/>
                        <a:pt x="170" y="225"/>
                        <a:pt x="171" y="219"/>
                      </a:cubicBezTo>
                      <a:cubicBezTo>
                        <a:pt x="172" y="213"/>
                        <a:pt x="178" y="209"/>
                        <a:pt x="184" y="210"/>
                      </a:cubicBezTo>
                      <a:cubicBezTo>
                        <a:pt x="214" y="215"/>
                        <a:pt x="250" y="226"/>
                        <a:pt x="250" y="250"/>
                      </a:cubicBezTo>
                      <a:close/>
                      <a:moveTo>
                        <a:pt x="80" y="182"/>
                      </a:moveTo>
                      <a:cubicBezTo>
                        <a:pt x="91" y="182"/>
                        <a:pt x="91" y="182"/>
                        <a:pt x="91" y="182"/>
                      </a:cubicBezTo>
                      <a:cubicBezTo>
                        <a:pt x="91" y="250"/>
                        <a:pt x="91" y="250"/>
                        <a:pt x="91" y="250"/>
                      </a:cubicBezTo>
                      <a:cubicBezTo>
                        <a:pt x="91" y="257"/>
                        <a:pt x="96" y="262"/>
                        <a:pt x="102" y="262"/>
                      </a:cubicBezTo>
                      <a:cubicBezTo>
                        <a:pt x="148" y="262"/>
                        <a:pt x="148" y="262"/>
                        <a:pt x="148" y="262"/>
                      </a:cubicBezTo>
                      <a:cubicBezTo>
                        <a:pt x="154" y="262"/>
                        <a:pt x="159" y="257"/>
                        <a:pt x="159" y="250"/>
                      </a:cubicBezTo>
                      <a:cubicBezTo>
                        <a:pt x="159" y="182"/>
                        <a:pt x="159" y="182"/>
                        <a:pt x="159" y="182"/>
                      </a:cubicBezTo>
                      <a:cubicBezTo>
                        <a:pt x="171" y="182"/>
                        <a:pt x="171" y="182"/>
                        <a:pt x="171" y="182"/>
                      </a:cubicBezTo>
                      <a:cubicBezTo>
                        <a:pt x="177" y="182"/>
                        <a:pt x="182" y="177"/>
                        <a:pt x="182" y="171"/>
                      </a:cubicBezTo>
                      <a:cubicBezTo>
                        <a:pt x="182" y="102"/>
                        <a:pt x="182" y="102"/>
                        <a:pt x="182" y="102"/>
                      </a:cubicBezTo>
                      <a:cubicBezTo>
                        <a:pt x="182" y="97"/>
                        <a:pt x="173" y="84"/>
                        <a:pt x="157" y="82"/>
                      </a:cubicBezTo>
                      <a:cubicBezTo>
                        <a:pt x="150" y="81"/>
                        <a:pt x="138" y="80"/>
                        <a:pt x="125" y="80"/>
                      </a:cubicBezTo>
                      <a:cubicBezTo>
                        <a:pt x="112" y="80"/>
                        <a:pt x="100" y="81"/>
                        <a:pt x="93" y="82"/>
                      </a:cubicBezTo>
                      <a:cubicBezTo>
                        <a:pt x="77" y="84"/>
                        <a:pt x="68" y="97"/>
                        <a:pt x="68" y="102"/>
                      </a:cubicBezTo>
                      <a:cubicBezTo>
                        <a:pt x="68" y="171"/>
                        <a:pt x="68" y="171"/>
                        <a:pt x="68" y="171"/>
                      </a:cubicBezTo>
                      <a:cubicBezTo>
                        <a:pt x="68" y="177"/>
                        <a:pt x="73" y="182"/>
                        <a:pt x="80" y="182"/>
                      </a:cubicBezTo>
                      <a:close/>
                      <a:moveTo>
                        <a:pt x="125" y="68"/>
                      </a:moveTo>
                      <a:cubicBezTo>
                        <a:pt x="144" y="68"/>
                        <a:pt x="159" y="53"/>
                        <a:pt x="159" y="34"/>
                      </a:cubicBezTo>
                      <a:cubicBezTo>
                        <a:pt x="159" y="15"/>
                        <a:pt x="144" y="0"/>
                        <a:pt x="125" y="0"/>
                      </a:cubicBezTo>
                      <a:cubicBezTo>
                        <a:pt x="106" y="0"/>
                        <a:pt x="91" y="15"/>
                        <a:pt x="91" y="34"/>
                      </a:cubicBezTo>
                      <a:cubicBezTo>
                        <a:pt x="91" y="53"/>
                        <a:pt x="106" y="68"/>
                        <a:pt x="125" y="68"/>
                      </a:cubicBezTo>
                      <a:close/>
                      <a:moveTo>
                        <a:pt x="125" y="68"/>
                      </a:moveTo>
                      <a:cubicBezTo>
                        <a:pt x="125" y="68"/>
                        <a:pt x="125" y="68"/>
                        <a:pt x="125" y="68"/>
                      </a:cubicBezTo>
                    </a:path>
                  </a:pathLst>
                </a:custGeom>
                <a:solidFill>
                  <a:schemeClr val="bg1"/>
                </a:solidFill>
                <a:ln w="9525">
                  <a:noFill/>
                  <a:round/>
                  <a:headEnd/>
                  <a:tailEnd/>
                </a:ln>
              </p:spPr>
              <p:txBody>
                <a:bodyPr wrap="square" lIns="91440" tIns="45720" rIns="91440" bIns="45720" anchor="ctr">
                  <a:normAutofit/>
                </a:bodyPr>
                <a:lstStyle/>
                <a:p>
                  <a:pPr algn="ctr"/>
                  <a:endParaRPr/>
                </a:p>
              </p:txBody>
            </p:sp>
          </p:grpSp>
        </p:grpSp>
        <p:sp>
          <p:nvSpPr>
            <p:cNvPr id="7" name="ïṡ1ïḑè">
              <a:extLst>
                <a:ext uri="{FF2B5EF4-FFF2-40B4-BE49-F238E27FC236}">
                  <a16:creationId xmlns:a16="http://schemas.microsoft.com/office/drawing/2014/main" id="{3656C430-2DBD-4006-A6F1-34F9E0F8F619}"/>
                </a:ext>
              </a:extLst>
            </p:cNvPr>
            <p:cNvSpPr/>
            <p:nvPr/>
          </p:nvSpPr>
          <p:spPr>
            <a:xfrm rot="5400000">
              <a:off x="3446853" y="1460501"/>
              <a:ext cx="4724646" cy="4356099"/>
            </a:xfrm>
            <a:prstGeom prst="blockArc">
              <a:avLst>
                <a:gd name="adj1" fmla="val 11276733"/>
                <a:gd name="adj2" fmla="val 20938618"/>
                <a:gd name="adj3" fmla="val 9771"/>
              </a:avLst>
            </a:prstGeom>
            <a:gradFill>
              <a:gsLst>
                <a:gs pos="0">
                  <a:schemeClr val="bg1">
                    <a:lumMod val="85000"/>
                    <a:alpha val="51000"/>
                  </a:schemeClr>
                </a:gs>
                <a:gs pos="10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solidFill>
                  <a:schemeClr val="tx1"/>
                </a:solidFill>
              </a:endParaRPr>
            </a:p>
          </p:txBody>
        </p:sp>
        <p:grpSp>
          <p:nvGrpSpPr>
            <p:cNvPr id="8" name="iṥļíďê">
              <a:extLst>
                <a:ext uri="{FF2B5EF4-FFF2-40B4-BE49-F238E27FC236}">
                  <a16:creationId xmlns:a16="http://schemas.microsoft.com/office/drawing/2014/main" id="{CBCAA375-459D-47E5-83B2-5A1E6BC581A8}"/>
                </a:ext>
              </a:extLst>
            </p:cNvPr>
            <p:cNvGrpSpPr/>
            <p:nvPr/>
          </p:nvGrpSpPr>
          <p:grpSpPr>
            <a:xfrm>
              <a:off x="6462834" y="1384250"/>
              <a:ext cx="5056066" cy="927738"/>
              <a:chOff x="6462834" y="1384250"/>
              <a:chExt cx="5056066" cy="927738"/>
            </a:xfrm>
          </p:grpSpPr>
          <p:cxnSp>
            <p:nvCxnSpPr>
              <p:cNvPr id="20" name="直接箭头连接符 19">
                <a:extLst>
                  <a:ext uri="{FF2B5EF4-FFF2-40B4-BE49-F238E27FC236}">
                    <a16:creationId xmlns:a16="http://schemas.microsoft.com/office/drawing/2014/main" id="{23F19FD5-BAC1-4838-A7D5-0516DEE643F0}"/>
                  </a:ext>
                </a:extLst>
              </p:cNvPr>
              <p:cNvCxnSpPr>
                <a:stCxn id="21" idx="6"/>
                <a:endCxn id="22" idx="1"/>
              </p:cNvCxnSpPr>
              <p:nvPr/>
            </p:nvCxnSpPr>
            <p:spPr>
              <a:xfrm>
                <a:off x="7390576" y="1848119"/>
                <a:ext cx="522864" cy="1"/>
              </a:xfrm>
              <a:prstGeom prst="straightConnector1">
                <a:avLst/>
              </a:prstGeom>
              <a:ln w="12700"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sp>
            <p:nvSpPr>
              <p:cNvPr id="21" name="í$ḷiḓe">
                <a:extLst>
                  <a:ext uri="{FF2B5EF4-FFF2-40B4-BE49-F238E27FC236}">
                    <a16:creationId xmlns:a16="http://schemas.microsoft.com/office/drawing/2014/main" id="{8843DC64-4D0D-4F28-BD98-B8C78F04C2F3}"/>
                  </a:ext>
                </a:extLst>
              </p:cNvPr>
              <p:cNvSpPr/>
              <p:nvPr/>
            </p:nvSpPr>
            <p:spPr>
              <a:xfrm>
                <a:off x="6462834" y="1384250"/>
                <a:ext cx="927742" cy="927738"/>
              </a:xfrm>
              <a:prstGeom prst="ellipse">
                <a:avLst/>
              </a:prstGeom>
              <a:solidFill>
                <a:schemeClr val="bg1"/>
              </a:solidFill>
              <a:ln w="19050">
                <a:solidFill>
                  <a:schemeClr val="accent1"/>
                </a:solidFill>
                <a:prstDash val="solid"/>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sz="2000" b="1" dirty="0">
                    <a:solidFill>
                      <a:schemeClr val="tx1"/>
                    </a:solidFill>
                  </a:rPr>
                  <a:t>1</a:t>
                </a:r>
                <a:endParaRPr sz="2000" b="1" dirty="0">
                  <a:solidFill>
                    <a:schemeClr val="tx1"/>
                  </a:solidFill>
                </a:endParaRPr>
              </a:p>
            </p:txBody>
          </p:sp>
          <p:sp>
            <p:nvSpPr>
              <p:cNvPr id="22" name="íṣḻiḓe">
                <a:extLst>
                  <a:ext uri="{FF2B5EF4-FFF2-40B4-BE49-F238E27FC236}">
                    <a16:creationId xmlns:a16="http://schemas.microsoft.com/office/drawing/2014/main" id="{1F422AD4-63B1-403F-B343-D6D75C40B0A0}"/>
                  </a:ext>
                </a:extLst>
              </p:cNvPr>
              <p:cNvSpPr/>
              <p:nvPr/>
            </p:nvSpPr>
            <p:spPr>
              <a:xfrm>
                <a:off x="7913440" y="1529064"/>
                <a:ext cx="1541298"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171450" lvl="0" indent="-171450">
                  <a:lnSpc>
                    <a:spcPct val="150000"/>
                  </a:lnSpc>
                  <a:buFont typeface="Arial" panose="020B0604020202020204" pitchFamily="34" charset="0"/>
                  <a:buChar char="•"/>
                </a:pPr>
                <a:r>
                  <a:rPr lang="en-US" altLang="zh-CN" sz="1000" dirty="0">
                    <a:solidFill>
                      <a:schemeClr val="tx1"/>
                    </a:solidFill>
                  </a:rPr>
                  <a:t>Supporting text here.</a:t>
                </a:r>
              </a:p>
              <a:p>
                <a:pPr marL="171450" lvl="0" indent="-171450">
                  <a:lnSpc>
                    <a:spcPct val="150000"/>
                  </a:lnSpc>
                  <a:buFont typeface="Arial" panose="020B0604020202020204" pitchFamily="34" charset="0"/>
                  <a:buChar char="•"/>
                </a:pPr>
                <a:r>
                  <a:rPr lang="en-US" altLang="zh-CN" sz="1000" dirty="0">
                    <a:solidFill>
                      <a:schemeClr val="tx1"/>
                    </a:solidFill>
                  </a:rPr>
                  <a:t>……</a:t>
                </a:r>
              </a:p>
            </p:txBody>
          </p:sp>
          <p:sp>
            <p:nvSpPr>
              <p:cNvPr id="23" name="ï$1iḍe">
                <a:extLst>
                  <a:ext uri="{FF2B5EF4-FFF2-40B4-BE49-F238E27FC236}">
                    <a16:creationId xmlns:a16="http://schemas.microsoft.com/office/drawing/2014/main" id="{1F422AD4-63B1-403F-B343-D6D75C40B0A0}"/>
                  </a:ext>
                </a:extLst>
              </p:cNvPr>
              <p:cNvSpPr/>
              <p:nvPr/>
            </p:nvSpPr>
            <p:spPr>
              <a:xfrm>
                <a:off x="9977602" y="1529064"/>
                <a:ext cx="1541298"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171450" lvl="0" indent="-171450">
                  <a:lnSpc>
                    <a:spcPct val="150000"/>
                  </a:lnSpc>
                  <a:buFont typeface="Arial" panose="020B0604020202020204" pitchFamily="34" charset="0"/>
                  <a:buChar char="•"/>
                </a:pPr>
                <a:r>
                  <a:rPr lang="en-US" altLang="zh-CN" sz="1000" dirty="0">
                    <a:solidFill>
                      <a:schemeClr val="tx1"/>
                    </a:solidFill>
                  </a:rPr>
                  <a:t>Supporting text here.</a:t>
                </a:r>
              </a:p>
              <a:p>
                <a:pPr marL="171450" lvl="0" indent="-171450">
                  <a:lnSpc>
                    <a:spcPct val="150000"/>
                  </a:lnSpc>
                  <a:buFont typeface="Arial" panose="020B0604020202020204" pitchFamily="34" charset="0"/>
                  <a:buChar char="•"/>
                </a:pPr>
                <a:r>
                  <a:rPr lang="en-US" altLang="zh-CN" sz="1000" dirty="0">
                    <a:solidFill>
                      <a:schemeClr val="tx1"/>
                    </a:solidFill>
                  </a:rPr>
                  <a:t>……</a:t>
                </a:r>
              </a:p>
            </p:txBody>
          </p:sp>
          <p:sp>
            <p:nvSpPr>
              <p:cNvPr id="24" name="îşliďé">
                <a:extLst>
                  <a:ext uri="{FF2B5EF4-FFF2-40B4-BE49-F238E27FC236}">
                    <a16:creationId xmlns:a16="http://schemas.microsoft.com/office/drawing/2014/main" id="{17DA9B33-9F79-456D-A049-58964DF30D03}"/>
                  </a:ext>
                </a:extLst>
              </p:cNvPr>
              <p:cNvSpPr/>
              <p:nvPr/>
            </p:nvSpPr>
            <p:spPr>
              <a:xfrm>
                <a:off x="7833360" y="1802399"/>
                <a:ext cx="91440" cy="91440"/>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grpSp>
          <p:nvGrpSpPr>
            <p:cNvPr id="9" name="îṣḷiḑè">
              <a:extLst>
                <a:ext uri="{FF2B5EF4-FFF2-40B4-BE49-F238E27FC236}">
                  <a16:creationId xmlns:a16="http://schemas.microsoft.com/office/drawing/2014/main" id="{3136A9E6-606A-470A-B08C-0CC8C047DCE5}"/>
                </a:ext>
              </a:extLst>
            </p:cNvPr>
            <p:cNvGrpSpPr/>
            <p:nvPr/>
          </p:nvGrpSpPr>
          <p:grpSpPr>
            <a:xfrm>
              <a:off x="7390576" y="3174681"/>
              <a:ext cx="2991904" cy="927738"/>
              <a:chOff x="7390576" y="3174681"/>
              <a:chExt cx="2991904" cy="927738"/>
            </a:xfrm>
          </p:grpSpPr>
          <p:cxnSp>
            <p:nvCxnSpPr>
              <p:cNvPr id="16" name="直接箭头连接符 15">
                <a:extLst>
                  <a:ext uri="{FF2B5EF4-FFF2-40B4-BE49-F238E27FC236}">
                    <a16:creationId xmlns:a16="http://schemas.microsoft.com/office/drawing/2014/main" id="{5654522F-9A4E-4E20-BE7B-9C61570FA71E}"/>
                  </a:ext>
                </a:extLst>
              </p:cNvPr>
              <p:cNvCxnSpPr>
                <a:stCxn id="17" idx="6"/>
                <a:endCxn id="18" idx="1"/>
              </p:cNvCxnSpPr>
              <p:nvPr/>
            </p:nvCxnSpPr>
            <p:spPr>
              <a:xfrm>
                <a:off x="8318318" y="3638550"/>
                <a:ext cx="522864" cy="1"/>
              </a:xfrm>
              <a:prstGeom prst="straightConnector1">
                <a:avLst/>
              </a:prstGeom>
              <a:ln w="12700"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sp>
            <p:nvSpPr>
              <p:cNvPr id="17" name="îsļîḑé">
                <a:extLst>
                  <a:ext uri="{FF2B5EF4-FFF2-40B4-BE49-F238E27FC236}">
                    <a16:creationId xmlns:a16="http://schemas.microsoft.com/office/drawing/2014/main" id="{D3A55FFF-0A29-41E7-98A4-5B87D944A00F}"/>
                  </a:ext>
                </a:extLst>
              </p:cNvPr>
              <p:cNvSpPr/>
              <p:nvPr/>
            </p:nvSpPr>
            <p:spPr>
              <a:xfrm>
                <a:off x="7390576" y="3174681"/>
                <a:ext cx="927742" cy="927738"/>
              </a:xfrm>
              <a:prstGeom prst="ellipse">
                <a:avLst/>
              </a:prstGeom>
              <a:solidFill>
                <a:schemeClr val="bg1"/>
              </a:solidFill>
              <a:ln w="19050">
                <a:solidFill>
                  <a:schemeClr val="accent1"/>
                </a:solidFill>
                <a:prstDash val="solid"/>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sz="2000" b="1">
                    <a:solidFill>
                      <a:schemeClr val="tx1"/>
                    </a:solidFill>
                  </a:rPr>
                  <a:t>2</a:t>
                </a:r>
                <a:endParaRPr sz="2000" b="1" dirty="0">
                  <a:solidFill>
                    <a:schemeClr val="tx1"/>
                  </a:solidFill>
                </a:endParaRPr>
              </a:p>
            </p:txBody>
          </p:sp>
          <p:sp>
            <p:nvSpPr>
              <p:cNvPr id="18" name="îşļïḓé">
                <a:extLst>
                  <a:ext uri="{FF2B5EF4-FFF2-40B4-BE49-F238E27FC236}">
                    <a16:creationId xmlns:a16="http://schemas.microsoft.com/office/drawing/2014/main" id="{1F422AD4-63B1-403F-B343-D6D75C40B0A0}"/>
                  </a:ext>
                </a:extLst>
              </p:cNvPr>
              <p:cNvSpPr/>
              <p:nvPr/>
            </p:nvSpPr>
            <p:spPr>
              <a:xfrm>
                <a:off x="8841182" y="3319495"/>
                <a:ext cx="1541298"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171450" lvl="0" indent="-171450">
                  <a:lnSpc>
                    <a:spcPct val="150000"/>
                  </a:lnSpc>
                  <a:buFont typeface="Arial" panose="020B0604020202020204" pitchFamily="34" charset="0"/>
                  <a:buChar char="•"/>
                </a:pPr>
                <a:r>
                  <a:rPr lang="en-US" altLang="zh-CN" sz="1000" dirty="0">
                    <a:solidFill>
                      <a:schemeClr val="tx1"/>
                    </a:solidFill>
                  </a:rPr>
                  <a:t>Supporting text here.</a:t>
                </a:r>
              </a:p>
              <a:p>
                <a:pPr marL="171450" lvl="0" indent="-171450">
                  <a:lnSpc>
                    <a:spcPct val="150000"/>
                  </a:lnSpc>
                  <a:buFont typeface="Arial" panose="020B0604020202020204" pitchFamily="34" charset="0"/>
                  <a:buChar char="•"/>
                </a:pPr>
                <a:r>
                  <a:rPr lang="en-US" altLang="zh-CN" sz="1000" dirty="0">
                    <a:solidFill>
                      <a:schemeClr val="tx1"/>
                    </a:solidFill>
                  </a:rPr>
                  <a:t>……</a:t>
                </a:r>
              </a:p>
            </p:txBody>
          </p:sp>
          <p:sp>
            <p:nvSpPr>
              <p:cNvPr id="19" name="ïSľîdê">
                <a:extLst>
                  <a:ext uri="{FF2B5EF4-FFF2-40B4-BE49-F238E27FC236}">
                    <a16:creationId xmlns:a16="http://schemas.microsoft.com/office/drawing/2014/main" id="{0557A3B8-2FC6-4C03-A7A9-51D959BA84F3}"/>
                  </a:ext>
                </a:extLst>
              </p:cNvPr>
              <p:cNvSpPr/>
              <p:nvPr/>
            </p:nvSpPr>
            <p:spPr>
              <a:xfrm>
                <a:off x="8761102" y="3592830"/>
                <a:ext cx="91440" cy="91440"/>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grpSp>
          <p:nvGrpSpPr>
            <p:cNvPr id="10" name="íṧḷïde">
              <a:extLst>
                <a:ext uri="{FF2B5EF4-FFF2-40B4-BE49-F238E27FC236}">
                  <a16:creationId xmlns:a16="http://schemas.microsoft.com/office/drawing/2014/main" id="{108AAC6D-1E10-47A8-BBCC-3B25A1A8AE73}"/>
                </a:ext>
              </a:extLst>
            </p:cNvPr>
            <p:cNvGrpSpPr/>
            <p:nvPr/>
          </p:nvGrpSpPr>
          <p:grpSpPr>
            <a:xfrm>
              <a:off x="6462834" y="4965113"/>
              <a:ext cx="5056066" cy="927738"/>
              <a:chOff x="6462834" y="4965113"/>
              <a:chExt cx="5056066" cy="927738"/>
            </a:xfrm>
          </p:grpSpPr>
          <p:cxnSp>
            <p:nvCxnSpPr>
              <p:cNvPr id="11" name="直接箭头连接符 10">
                <a:extLst>
                  <a:ext uri="{FF2B5EF4-FFF2-40B4-BE49-F238E27FC236}">
                    <a16:creationId xmlns:a16="http://schemas.microsoft.com/office/drawing/2014/main" id="{28557D4B-80D3-413D-B163-D2B2B67241D3}"/>
                  </a:ext>
                </a:extLst>
              </p:cNvPr>
              <p:cNvCxnSpPr>
                <a:stCxn id="12" idx="6"/>
                <a:endCxn id="13" idx="1"/>
              </p:cNvCxnSpPr>
              <p:nvPr/>
            </p:nvCxnSpPr>
            <p:spPr>
              <a:xfrm>
                <a:off x="7390576" y="5428982"/>
                <a:ext cx="522864" cy="1"/>
              </a:xfrm>
              <a:prstGeom prst="straightConnector1">
                <a:avLst/>
              </a:prstGeom>
              <a:ln w="12700" cap="rnd">
                <a:solidFill>
                  <a:schemeClr val="bg1">
                    <a:lumMod val="75000"/>
                  </a:schemeClr>
                </a:solidFill>
                <a:round/>
                <a:tailEnd type="none"/>
              </a:ln>
            </p:spPr>
            <p:style>
              <a:lnRef idx="1">
                <a:schemeClr val="accent1"/>
              </a:lnRef>
              <a:fillRef idx="0">
                <a:schemeClr val="accent1"/>
              </a:fillRef>
              <a:effectRef idx="0">
                <a:schemeClr val="accent1"/>
              </a:effectRef>
              <a:fontRef idx="minor">
                <a:schemeClr val="tx1"/>
              </a:fontRef>
            </p:style>
          </p:cxnSp>
          <p:sp>
            <p:nvSpPr>
              <p:cNvPr id="12" name="ïṡľiḍè">
                <a:extLst>
                  <a:ext uri="{FF2B5EF4-FFF2-40B4-BE49-F238E27FC236}">
                    <a16:creationId xmlns:a16="http://schemas.microsoft.com/office/drawing/2014/main" id="{E6B3C237-F820-4451-B42F-E76B6D330BE6}"/>
                  </a:ext>
                </a:extLst>
              </p:cNvPr>
              <p:cNvSpPr/>
              <p:nvPr/>
            </p:nvSpPr>
            <p:spPr>
              <a:xfrm>
                <a:off x="6462834" y="4965113"/>
                <a:ext cx="927742" cy="927738"/>
              </a:xfrm>
              <a:prstGeom prst="ellipse">
                <a:avLst/>
              </a:prstGeom>
              <a:solidFill>
                <a:schemeClr val="bg1"/>
              </a:solidFill>
              <a:ln w="19050">
                <a:solidFill>
                  <a:schemeClr val="accent1"/>
                </a:solidFill>
                <a:prstDash val="solid"/>
                <a:miter lim="800000"/>
                <a:headEnd/>
                <a:tailEnd/>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sz="2000" b="1">
                    <a:solidFill>
                      <a:schemeClr val="tx1"/>
                    </a:solidFill>
                  </a:rPr>
                  <a:t>3</a:t>
                </a:r>
                <a:endParaRPr sz="2000" b="1" dirty="0">
                  <a:solidFill>
                    <a:schemeClr val="tx1"/>
                  </a:solidFill>
                </a:endParaRPr>
              </a:p>
            </p:txBody>
          </p:sp>
          <p:sp>
            <p:nvSpPr>
              <p:cNvPr id="13" name="îṣ1iḋé">
                <a:extLst>
                  <a:ext uri="{FF2B5EF4-FFF2-40B4-BE49-F238E27FC236}">
                    <a16:creationId xmlns:a16="http://schemas.microsoft.com/office/drawing/2014/main" id="{1F422AD4-63B1-403F-B343-D6D75C40B0A0}"/>
                  </a:ext>
                </a:extLst>
              </p:cNvPr>
              <p:cNvSpPr/>
              <p:nvPr/>
            </p:nvSpPr>
            <p:spPr>
              <a:xfrm>
                <a:off x="7913440" y="5109927"/>
                <a:ext cx="1541298"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171450" lvl="0" indent="-171450">
                  <a:lnSpc>
                    <a:spcPct val="150000"/>
                  </a:lnSpc>
                  <a:buFont typeface="Arial" panose="020B0604020202020204" pitchFamily="34" charset="0"/>
                  <a:buChar char="•"/>
                </a:pPr>
                <a:r>
                  <a:rPr lang="en-US" altLang="zh-CN" sz="1000" dirty="0">
                    <a:solidFill>
                      <a:schemeClr val="tx1"/>
                    </a:solidFill>
                  </a:rPr>
                  <a:t>Supporting text here.</a:t>
                </a:r>
              </a:p>
              <a:p>
                <a:pPr marL="171450" lvl="0" indent="-171450">
                  <a:lnSpc>
                    <a:spcPct val="150000"/>
                  </a:lnSpc>
                  <a:buFont typeface="Arial" panose="020B0604020202020204" pitchFamily="34" charset="0"/>
                  <a:buChar char="•"/>
                </a:pPr>
                <a:r>
                  <a:rPr lang="en-US" altLang="zh-CN" sz="1000" dirty="0">
                    <a:solidFill>
                      <a:schemeClr val="tx1"/>
                    </a:solidFill>
                  </a:rPr>
                  <a:t>……</a:t>
                </a:r>
              </a:p>
            </p:txBody>
          </p:sp>
          <p:sp>
            <p:nvSpPr>
              <p:cNvPr id="14" name="iṩliḍé">
                <a:extLst>
                  <a:ext uri="{FF2B5EF4-FFF2-40B4-BE49-F238E27FC236}">
                    <a16:creationId xmlns:a16="http://schemas.microsoft.com/office/drawing/2014/main" id="{1F422AD4-63B1-403F-B343-D6D75C40B0A0}"/>
                  </a:ext>
                </a:extLst>
              </p:cNvPr>
              <p:cNvSpPr/>
              <p:nvPr/>
            </p:nvSpPr>
            <p:spPr>
              <a:xfrm>
                <a:off x="9977602" y="5109927"/>
                <a:ext cx="1541298" cy="63811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marL="171450" lvl="0" indent="-171450">
                  <a:lnSpc>
                    <a:spcPct val="150000"/>
                  </a:lnSpc>
                  <a:buFont typeface="Arial" panose="020B0604020202020204" pitchFamily="34" charset="0"/>
                  <a:buChar char="•"/>
                </a:pPr>
                <a:r>
                  <a:rPr lang="en-US" altLang="zh-CN" sz="1000" dirty="0">
                    <a:solidFill>
                      <a:schemeClr val="tx1"/>
                    </a:solidFill>
                  </a:rPr>
                  <a:t>Supporting text here.</a:t>
                </a:r>
              </a:p>
              <a:p>
                <a:pPr marL="171450" lvl="0" indent="-171450">
                  <a:lnSpc>
                    <a:spcPct val="150000"/>
                  </a:lnSpc>
                  <a:buFont typeface="Arial" panose="020B0604020202020204" pitchFamily="34" charset="0"/>
                  <a:buChar char="•"/>
                </a:pPr>
                <a:r>
                  <a:rPr lang="en-US" altLang="zh-CN" sz="1000" dirty="0">
                    <a:solidFill>
                      <a:schemeClr val="tx1"/>
                    </a:solidFill>
                  </a:rPr>
                  <a:t>……</a:t>
                </a:r>
              </a:p>
            </p:txBody>
          </p:sp>
          <p:sp>
            <p:nvSpPr>
              <p:cNvPr id="15" name="íš1iḋê">
                <a:extLst>
                  <a:ext uri="{FF2B5EF4-FFF2-40B4-BE49-F238E27FC236}">
                    <a16:creationId xmlns:a16="http://schemas.microsoft.com/office/drawing/2014/main" id="{1499CA37-6890-40DB-A7BC-68268AA7DB37}"/>
                  </a:ext>
                </a:extLst>
              </p:cNvPr>
              <p:cNvSpPr/>
              <p:nvPr/>
            </p:nvSpPr>
            <p:spPr>
              <a:xfrm>
                <a:off x="7833360" y="5383262"/>
                <a:ext cx="91440" cy="91440"/>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endParaRPr lang="zh-CN" altLang="en-US"/>
              </a:p>
            </p:txBody>
          </p:sp>
        </p:grpSp>
      </p:grpSp>
    </p:spTree>
    <p:extLst>
      <p:ext uri="{BB962C8B-B14F-4D97-AF65-F5344CB8AC3E}">
        <p14:creationId xmlns:p14="http://schemas.microsoft.com/office/powerpoint/2010/main" val="385852981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6884A4A-4100-45C3-857E-7D5818E8F256}"/>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F2F7F336-CCD0-43A8-86EC-562385555226}"/>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D54A2155-C7AD-410E-BE73-1D5F80DE9EF0}"/>
              </a:ext>
            </a:extLst>
          </p:cNvPr>
          <p:cNvSpPr>
            <a:spLocks noGrp="1"/>
          </p:cNvSpPr>
          <p:nvPr>
            <p:ph type="sldNum" sz="quarter" idx="12"/>
          </p:nvPr>
        </p:nvSpPr>
        <p:spPr/>
        <p:txBody>
          <a:bodyPr/>
          <a:lstStyle/>
          <a:p>
            <a:fld id="{5DD3DB80-B894-403A-B48E-6FDC1A72010E}" type="slidenum">
              <a:rPr lang="zh-CN" altLang="en-US" smtClean="0"/>
              <a:pPr/>
              <a:t>14</a:t>
            </a:fld>
            <a:endParaRPr lang="zh-CN" altLang="en-US"/>
          </a:p>
        </p:txBody>
      </p:sp>
      <p:grpSp>
        <p:nvGrpSpPr>
          <p:cNvPr id="5" name="27775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404B957-500C-49FA-A208-9AFF68D0DFF4}"/>
              </a:ext>
            </a:extLst>
          </p:cNvPr>
          <p:cNvGrpSpPr>
            <a:grpSpLocks noChangeAspect="1"/>
          </p:cNvGrpSpPr>
          <p:nvPr/>
        </p:nvGrpSpPr>
        <p:grpSpPr>
          <a:xfrm>
            <a:off x="669925" y="1412004"/>
            <a:ext cx="10850563" cy="4144477"/>
            <a:chOff x="669925" y="1412004"/>
            <a:chExt cx="10850563" cy="4144477"/>
          </a:xfrm>
        </p:grpSpPr>
        <p:cxnSp>
          <p:nvCxnSpPr>
            <p:cNvPr id="6" name="直接连接符 5">
              <a:extLst>
                <a:ext uri="{FF2B5EF4-FFF2-40B4-BE49-F238E27FC236}">
                  <a16:creationId xmlns:a16="http://schemas.microsoft.com/office/drawing/2014/main" id="{614B3B6D-F7CD-464B-BF9C-79B5DA8CD9C7}"/>
                </a:ext>
              </a:extLst>
            </p:cNvPr>
            <p:cNvCxnSpPr>
              <a:stCxn id="11" idx="2"/>
            </p:cNvCxnSpPr>
            <p:nvPr/>
          </p:nvCxnSpPr>
          <p:spPr>
            <a:xfrm flipH="1" flipV="1">
              <a:off x="669925" y="2330626"/>
              <a:ext cx="5089272"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863DCD18-79AF-4466-8686-A503C4A94602}"/>
                </a:ext>
              </a:extLst>
            </p:cNvPr>
            <p:cNvCxnSpPr>
              <a:stCxn id="21" idx="2"/>
            </p:cNvCxnSpPr>
            <p:nvPr/>
          </p:nvCxnSpPr>
          <p:spPr>
            <a:xfrm flipH="1">
              <a:off x="669925" y="3710826"/>
              <a:ext cx="3683333"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495419CD-1EB8-4B6F-A569-0164FBA48C4E}"/>
                </a:ext>
              </a:extLst>
            </p:cNvPr>
            <p:cNvCxnSpPr>
              <a:stCxn id="18" idx="5"/>
            </p:cNvCxnSpPr>
            <p:nvPr/>
          </p:nvCxnSpPr>
          <p:spPr>
            <a:xfrm flipV="1">
              <a:off x="7634139" y="5172076"/>
              <a:ext cx="3886349"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9" name="ïṣ1îḓè">
              <a:extLst>
                <a:ext uri="{FF2B5EF4-FFF2-40B4-BE49-F238E27FC236}">
                  <a16:creationId xmlns:a16="http://schemas.microsoft.com/office/drawing/2014/main" id="{AAEF09E0-563E-48AF-8D32-D11CAF2EE4F2}"/>
                </a:ext>
              </a:extLst>
            </p:cNvPr>
            <p:cNvSpPr/>
            <p:nvPr/>
          </p:nvSpPr>
          <p:spPr>
            <a:xfrm rot="18900000">
              <a:off x="6366185" y="2504995"/>
              <a:ext cx="858431" cy="88177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960" y="2851"/>
                    <a:pt x="4637" y="6730"/>
                    <a:pt x="4660" y="10784"/>
                  </a:cubicBezTo>
                  <a:cubicBezTo>
                    <a:pt x="4684" y="14829"/>
                    <a:pt x="3060" y="18718"/>
                    <a:pt x="144" y="21600"/>
                  </a:cubicBezTo>
                  <a:lnTo>
                    <a:pt x="21358" y="21288"/>
                  </a:lnTo>
                  <a:cubicBezTo>
                    <a:pt x="18644" y="18590"/>
                    <a:pt x="17078" y="14994"/>
                    <a:pt x="16974" y="11219"/>
                  </a:cubicBezTo>
                  <a:cubicBezTo>
                    <a:pt x="16858" y="7040"/>
                    <a:pt x="18534" y="3002"/>
                    <a:pt x="21600" y="75"/>
                  </a:cubicBezTo>
                  <a:lnTo>
                    <a:pt x="0" y="0"/>
                  </a:lnTo>
                  <a:close/>
                </a:path>
              </a:pathLst>
            </a:custGeom>
            <a:solidFill>
              <a:schemeClr val="bg1">
                <a:lumMod val="95000"/>
              </a:schemeClr>
            </a:solidFill>
            <a:ln w="12700">
              <a:miter lim="400000"/>
            </a:ln>
          </p:spPr>
          <p:txBody>
            <a:bodyPr wrap="square" lIns="91440" tIns="45720" rIns="91440" bIns="45720" anchor="ctr">
              <a:normAutofit fontScale="55000" lnSpcReduction="20000"/>
            </a:bodyPr>
            <a:lstStyle/>
            <a:p>
              <a:pPr defTabSz="609524"/>
              <a:endParaRPr sz="11200">
                <a:solidFill>
                  <a:srgbClr val="070707"/>
                </a:solidFill>
              </a:endParaRPr>
            </a:p>
          </p:txBody>
        </p:sp>
        <p:sp>
          <p:nvSpPr>
            <p:cNvPr id="10" name="ï$lîḍe">
              <a:extLst>
                <a:ext uri="{FF2B5EF4-FFF2-40B4-BE49-F238E27FC236}">
                  <a16:creationId xmlns:a16="http://schemas.microsoft.com/office/drawing/2014/main" id="{DE11B487-943B-4701-912D-E5C758814444}"/>
                </a:ext>
              </a:extLst>
            </p:cNvPr>
            <p:cNvSpPr/>
            <p:nvPr/>
          </p:nvSpPr>
          <p:spPr>
            <a:xfrm rot="18900000">
              <a:off x="5573044" y="1720619"/>
              <a:ext cx="1216243" cy="121624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95000"/>
              </a:schemeClr>
            </a:solidFill>
            <a:ln w="12700">
              <a:miter lim="400000"/>
            </a:ln>
          </p:spPr>
          <p:txBody>
            <a:bodyPr wrap="square" lIns="91440" tIns="45720" rIns="91440" bIns="45720" anchor="ctr">
              <a:normAutofit fontScale="77500" lnSpcReduction="20000"/>
            </a:bodyPr>
            <a:lstStyle/>
            <a:p>
              <a:pPr defTabSz="609524"/>
              <a:endParaRPr sz="11200">
                <a:solidFill>
                  <a:srgbClr val="070707"/>
                </a:solidFill>
              </a:endParaRPr>
            </a:p>
          </p:txBody>
        </p:sp>
        <p:sp>
          <p:nvSpPr>
            <p:cNvPr id="11" name="îşlïďê">
              <a:extLst>
                <a:ext uri="{FF2B5EF4-FFF2-40B4-BE49-F238E27FC236}">
                  <a16:creationId xmlns:a16="http://schemas.microsoft.com/office/drawing/2014/main" id="{3FEC61C1-9FFC-4F63-9E1E-5C3268C534F7}"/>
                </a:ext>
              </a:extLst>
            </p:cNvPr>
            <p:cNvSpPr/>
            <p:nvPr/>
          </p:nvSpPr>
          <p:spPr>
            <a:xfrm>
              <a:off x="5759197" y="1909442"/>
              <a:ext cx="851076" cy="851056"/>
            </a:xfrm>
            <a:prstGeom prst="ellipse">
              <a:avLst/>
            </a:prstGeom>
            <a:solidFill>
              <a:schemeClr val="bg1"/>
            </a:solidFill>
            <a:ln w="12700">
              <a:miter lim="400000"/>
            </a:ln>
          </p:spPr>
          <p:txBody>
            <a:bodyPr wrap="square" lIns="91440" tIns="45720" rIns="91440" bIns="45720" anchor="ctr">
              <a:normAutofit fontScale="62500" lnSpcReduction="20000"/>
            </a:bodyPr>
            <a:lstStyle/>
            <a:p>
              <a:pPr defTabSz="609524">
                <a:defRPr sz="4800">
                  <a:solidFill>
                    <a:srgbClr val="070707"/>
                  </a:solidFill>
                </a:defRPr>
              </a:pPr>
              <a:endParaRPr sz="6400"/>
            </a:p>
          </p:txBody>
        </p:sp>
        <p:sp>
          <p:nvSpPr>
            <p:cNvPr id="12" name="iSḻiḑé">
              <a:extLst>
                <a:ext uri="{FF2B5EF4-FFF2-40B4-BE49-F238E27FC236}">
                  <a16:creationId xmlns:a16="http://schemas.microsoft.com/office/drawing/2014/main" id="{8DA80954-7B8F-4B49-92A8-CB3A90CC969B}"/>
                </a:ext>
              </a:extLst>
            </p:cNvPr>
            <p:cNvSpPr/>
            <p:nvPr/>
          </p:nvSpPr>
          <p:spPr>
            <a:xfrm rot="18900000">
              <a:off x="6806286" y="2951829"/>
              <a:ext cx="1216243" cy="121624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95000"/>
              </a:schemeClr>
            </a:solidFill>
            <a:ln w="12700">
              <a:miter lim="400000"/>
            </a:ln>
          </p:spPr>
          <p:txBody>
            <a:bodyPr wrap="square" lIns="91440" tIns="45720" rIns="91440" bIns="45720" anchor="ctr">
              <a:normAutofit fontScale="77500" lnSpcReduction="20000"/>
            </a:bodyPr>
            <a:lstStyle/>
            <a:p>
              <a:pPr defTabSz="609524"/>
              <a:endParaRPr sz="11200">
                <a:solidFill>
                  <a:srgbClr val="070707"/>
                </a:solidFill>
              </a:endParaRPr>
            </a:p>
          </p:txBody>
        </p:sp>
        <p:sp>
          <p:nvSpPr>
            <p:cNvPr id="13" name="iṩľiḋé">
              <a:extLst>
                <a:ext uri="{FF2B5EF4-FFF2-40B4-BE49-F238E27FC236}">
                  <a16:creationId xmlns:a16="http://schemas.microsoft.com/office/drawing/2014/main" id="{52A3C7B8-5AF2-437B-879C-C483476CB16E}"/>
                </a:ext>
              </a:extLst>
            </p:cNvPr>
            <p:cNvSpPr/>
            <p:nvPr/>
          </p:nvSpPr>
          <p:spPr>
            <a:xfrm>
              <a:off x="6993514" y="3143700"/>
              <a:ext cx="851075" cy="851056"/>
            </a:xfrm>
            <a:prstGeom prst="ellipse">
              <a:avLst/>
            </a:prstGeom>
            <a:solidFill>
              <a:schemeClr val="bg1"/>
            </a:solidFill>
            <a:ln w="12700">
              <a:miter lim="400000"/>
            </a:ln>
          </p:spPr>
          <p:txBody>
            <a:bodyPr wrap="square" lIns="91440" tIns="45720" rIns="91440" bIns="45720" anchor="ctr">
              <a:normAutofit fontScale="62500" lnSpcReduction="20000"/>
            </a:bodyPr>
            <a:lstStyle/>
            <a:p>
              <a:pPr defTabSz="609524">
                <a:defRPr sz="4800">
                  <a:solidFill>
                    <a:srgbClr val="070707"/>
                  </a:solidFill>
                </a:defRPr>
              </a:pPr>
              <a:endParaRPr sz="6400"/>
            </a:p>
          </p:txBody>
        </p:sp>
        <p:sp>
          <p:nvSpPr>
            <p:cNvPr id="14" name="îš1ïḋé">
              <a:extLst>
                <a:ext uri="{FF2B5EF4-FFF2-40B4-BE49-F238E27FC236}">
                  <a16:creationId xmlns:a16="http://schemas.microsoft.com/office/drawing/2014/main" id="{3E27391A-60ED-4407-8822-C7C25C56E541}"/>
                </a:ext>
              </a:extLst>
            </p:cNvPr>
            <p:cNvSpPr/>
            <p:nvPr/>
          </p:nvSpPr>
          <p:spPr>
            <a:xfrm rot="18900000">
              <a:off x="6278686" y="3817466"/>
              <a:ext cx="858430" cy="88177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960" y="2851"/>
                    <a:pt x="4637" y="6730"/>
                    <a:pt x="4660" y="10784"/>
                  </a:cubicBezTo>
                  <a:cubicBezTo>
                    <a:pt x="4684" y="14829"/>
                    <a:pt x="3060" y="18718"/>
                    <a:pt x="144" y="21600"/>
                  </a:cubicBezTo>
                  <a:lnTo>
                    <a:pt x="21358" y="21288"/>
                  </a:lnTo>
                  <a:cubicBezTo>
                    <a:pt x="18644" y="18590"/>
                    <a:pt x="17078" y="14994"/>
                    <a:pt x="16974" y="11219"/>
                  </a:cubicBezTo>
                  <a:cubicBezTo>
                    <a:pt x="16858" y="7040"/>
                    <a:pt x="18534" y="3002"/>
                    <a:pt x="21600" y="75"/>
                  </a:cubicBezTo>
                  <a:lnTo>
                    <a:pt x="0" y="0"/>
                  </a:lnTo>
                  <a:close/>
                </a:path>
              </a:pathLst>
            </a:custGeom>
            <a:solidFill>
              <a:schemeClr val="accent1"/>
            </a:solidFill>
            <a:ln w="12700">
              <a:miter lim="400000"/>
            </a:ln>
          </p:spPr>
          <p:txBody>
            <a:bodyPr wrap="square" lIns="91440" tIns="45720" rIns="91440" bIns="45720" anchor="ctr">
              <a:normAutofit fontScale="55000" lnSpcReduction="20000"/>
            </a:bodyPr>
            <a:lstStyle/>
            <a:p>
              <a:pPr defTabSz="609524">
                <a:defRPr sz="8400">
                  <a:solidFill>
                    <a:srgbClr val="070707"/>
                  </a:solidFill>
                </a:defRPr>
              </a:pPr>
              <a:endParaRPr sz="11200"/>
            </a:p>
          </p:txBody>
        </p:sp>
        <p:sp>
          <p:nvSpPr>
            <p:cNvPr id="15" name="íṣḻiḑê">
              <a:extLst>
                <a:ext uri="{FF2B5EF4-FFF2-40B4-BE49-F238E27FC236}">
                  <a16:creationId xmlns:a16="http://schemas.microsoft.com/office/drawing/2014/main" id="{00D11EC4-5DA4-4238-AEC5-45C5822D4D8F}"/>
                </a:ext>
              </a:extLst>
            </p:cNvPr>
            <p:cNvSpPr/>
            <p:nvPr/>
          </p:nvSpPr>
          <p:spPr>
            <a:xfrm rot="18900000">
              <a:off x="5485545" y="3033089"/>
              <a:ext cx="1216243" cy="121624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a:miter lim="400000"/>
            </a:ln>
          </p:spPr>
          <p:txBody>
            <a:bodyPr wrap="square" lIns="91440" tIns="45720" rIns="91440" bIns="45720" anchor="ctr">
              <a:normAutofit fontScale="55000" lnSpcReduction="20000"/>
            </a:bodyPr>
            <a:lstStyle/>
            <a:p>
              <a:pPr defTabSz="609524">
                <a:defRPr sz="11600">
                  <a:solidFill>
                    <a:srgbClr val="77716C"/>
                  </a:solidFill>
                </a:defRPr>
              </a:pPr>
              <a:endParaRPr sz="15467"/>
            </a:p>
          </p:txBody>
        </p:sp>
        <p:sp>
          <p:nvSpPr>
            <p:cNvPr id="16" name="îşlîḋé">
              <a:extLst>
                <a:ext uri="{FF2B5EF4-FFF2-40B4-BE49-F238E27FC236}">
                  <a16:creationId xmlns:a16="http://schemas.microsoft.com/office/drawing/2014/main" id="{3BEFAD97-F232-47BB-9B2A-5471944A6509}"/>
                </a:ext>
              </a:extLst>
            </p:cNvPr>
            <p:cNvSpPr/>
            <p:nvPr/>
          </p:nvSpPr>
          <p:spPr>
            <a:xfrm>
              <a:off x="5680966" y="3218288"/>
              <a:ext cx="851075" cy="851055"/>
            </a:xfrm>
            <a:prstGeom prst="ellipse">
              <a:avLst/>
            </a:prstGeom>
            <a:solidFill>
              <a:schemeClr val="bg1"/>
            </a:solidFill>
            <a:ln w="12700">
              <a:miter lim="400000"/>
            </a:ln>
          </p:spPr>
          <p:txBody>
            <a:bodyPr wrap="square" lIns="91440" tIns="45720" rIns="91440" bIns="45720" anchor="ctr">
              <a:normAutofit fontScale="62500" lnSpcReduction="20000"/>
            </a:bodyPr>
            <a:lstStyle/>
            <a:p>
              <a:pPr defTabSz="609524">
                <a:defRPr sz="4800">
                  <a:solidFill>
                    <a:srgbClr val="070707"/>
                  </a:solidFill>
                </a:defRPr>
              </a:pPr>
              <a:endParaRPr sz="6400"/>
            </a:p>
          </p:txBody>
        </p:sp>
        <p:sp>
          <p:nvSpPr>
            <p:cNvPr id="17" name="iṥḻïḓe">
              <a:extLst>
                <a:ext uri="{FF2B5EF4-FFF2-40B4-BE49-F238E27FC236}">
                  <a16:creationId xmlns:a16="http://schemas.microsoft.com/office/drawing/2014/main" id="{6319C286-7134-4C94-8BE7-4590D55AEC17}"/>
                </a:ext>
              </a:extLst>
            </p:cNvPr>
            <p:cNvSpPr/>
            <p:nvPr/>
          </p:nvSpPr>
          <p:spPr>
            <a:xfrm rot="18900000">
              <a:off x="6718786" y="4264300"/>
              <a:ext cx="1216243" cy="1216243"/>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accent1"/>
            </a:solidFill>
            <a:ln w="12700">
              <a:miter lim="400000"/>
            </a:ln>
          </p:spPr>
          <p:txBody>
            <a:bodyPr wrap="square" lIns="91440" tIns="45720" rIns="91440" bIns="45720" anchor="ctr">
              <a:normAutofit fontScale="55000" lnSpcReduction="20000"/>
            </a:bodyPr>
            <a:lstStyle/>
            <a:p>
              <a:pPr defTabSz="609524">
                <a:defRPr sz="11600">
                  <a:solidFill>
                    <a:srgbClr val="77716C"/>
                  </a:solidFill>
                </a:defRPr>
              </a:pPr>
              <a:endParaRPr sz="15467"/>
            </a:p>
          </p:txBody>
        </p:sp>
        <p:sp>
          <p:nvSpPr>
            <p:cNvPr id="18" name="iš1íḑe">
              <a:extLst>
                <a:ext uri="{FF2B5EF4-FFF2-40B4-BE49-F238E27FC236}">
                  <a16:creationId xmlns:a16="http://schemas.microsoft.com/office/drawing/2014/main" id="{A5C61313-034E-4805-A346-772ABB9E59A8}"/>
                </a:ext>
              </a:extLst>
            </p:cNvPr>
            <p:cNvSpPr/>
            <p:nvPr/>
          </p:nvSpPr>
          <p:spPr>
            <a:xfrm>
              <a:off x="6907701" y="4452547"/>
              <a:ext cx="851075" cy="851055"/>
            </a:xfrm>
            <a:prstGeom prst="ellipse">
              <a:avLst/>
            </a:prstGeom>
            <a:solidFill>
              <a:schemeClr val="bg1"/>
            </a:solidFill>
            <a:ln w="12700">
              <a:miter lim="400000"/>
            </a:ln>
          </p:spPr>
          <p:txBody>
            <a:bodyPr wrap="square" lIns="91440" tIns="45720" rIns="91440" bIns="45720" anchor="ctr">
              <a:normAutofit fontScale="62500" lnSpcReduction="20000"/>
            </a:bodyPr>
            <a:lstStyle/>
            <a:p>
              <a:pPr defTabSz="609524">
                <a:defRPr sz="4800">
                  <a:solidFill>
                    <a:srgbClr val="070707"/>
                  </a:solidFill>
                </a:defRPr>
              </a:pPr>
              <a:endParaRPr sz="6400"/>
            </a:p>
          </p:txBody>
        </p:sp>
        <p:sp>
          <p:nvSpPr>
            <p:cNvPr id="19" name="iṣ1ïdé">
              <a:extLst>
                <a:ext uri="{FF2B5EF4-FFF2-40B4-BE49-F238E27FC236}">
                  <a16:creationId xmlns:a16="http://schemas.microsoft.com/office/drawing/2014/main" id="{F912C8CF-FE67-4BDD-A5AD-0A3B1C3E4B1B}"/>
                </a:ext>
              </a:extLst>
            </p:cNvPr>
            <p:cNvSpPr/>
            <p:nvPr/>
          </p:nvSpPr>
          <p:spPr>
            <a:xfrm rot="18900000">
              <a:off x="4962611" y="3893404"/>
              <a:ext cx="858430" cy="88177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cubicBezTo>
                    <a:pt x="2960" y="2851"/>
                    <a:pt x="4637" y="6730"/>
                    <a:pt x="4660" y="10784"/>
                  </a:cubicBezTo>
                  <a:cubicBezTo>
                    <a:pt x="4684" y="14829"/>
                    <a:pt x="3060" y="18718"/>
                    <a:pt x="144" y="21600"/>
                  </a:cubicBezTo>
                  <a:lnTo>
                    <a:pt x="21358" y="21288"/>
                  </a:lnTo>
                  <a:cubicBezTo>
                    <a:pt x="18644" y="18590"/>
                    <a:pt x="17078" y="14994"/>
                    <a:pt x="16974" y="11219"/>
                  </a:cubicBezTo>
                  <a:cubicBezTo>
                    <a:pt x="16858" y="7040"/>
                    <a:pt x="18534" y="3002"/>
                    <a:pt x="21600" y="75"/>
                  </a:cubicBezTo>
                  <a:lnTo>
                    <a:pt x="0" y="0"/>
                  </a:lnTo>
                  <a:close/>
                </a:path>
              </a:pathLst>
            </a:custGeom>
            <a:solidFill>
              <a:schemeClr val="bg1">
                <a:lumMod val="95000"/>
              </a:schemeClr>
            </a:solidFill>
            <a:ln w="12700">
              <a:miter lim="400000"/>
            </a:ln>
          </p:spPr>
          <p:txBody>
            <a:bodyPr wrap="square" lIns="91440" tIns="45720" rIns="91440" bIns="45720" anchor="ctr">
              <a:normAutofit fontScale="55000" lnSpcReduction="20000"/>
            </a:bodyPr>
            <a:lstStyle/>
            <a:p>
              <a:pPr defTabSz="609524">
                <a:defRPr sz="8400">
                  <a:solidFill>
                    <a:srgbClr val="070707"/>
                  </a:solidFill>
                </a:defRPr>
              </a:pPr>
              <a:endParaRPr sz="11200"/>
            </a:p>
          </p:txBody>
        </p:sp>
        <p:sp>
          <p:nvSpPr>
            <p:cNvPr id="20" name="ïšḷîḍè">
              <a:extLst>
                <a:ext uri="{FF2B5EF4-FFF2-40B4-BE49-F238E27FC236}">
                  <a16:creationId xmlns:a16="http://schemas.microsoft.com/office/drawing/2014/main" id="{6F25413A-64DE-4EE7-8341-C49619281A66}"/>
                </a:ext>
              </a:extLst>
            </p:cNvPr>
            <p:cNvSpPr/>
            <p:nvPr/>
          </p:nvSpPr>
          <p:spPr>
            <a:xfrm rot="18900000">
              <a:off x="4169471" y="3109028"/>
              <a:ext cx="1216243" cy="121624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95000"/>
              </a:schemeClr>
            </a:solidFill>
            <a:ln w="12700">
              <a:miter lim="400000"/>
            </a:ln>
          </p:spPr>
          <p:txBody>
            <a:bodyPr wrap="square" lIns="91440" tIns="45720" rIns="91440" bIns="45720" anchor="ctr">
              <a:normAutofit fontScale="55000" lnSpcReduction="20000"/>
            </a:bodyPr>
            <a:lstStyle/>
            <a:p>
              <a:pPr defTabSz="609524">
                <a:defRPr sz="11600">
                  <a:solidFill>
                    <a:srgbClr val="77716C"/>
                  </a:solidFill>
                </a:defRPr>
              </a:pPr>
              <a:endParaRPr sz="15467"/>
            </a:p>
          </p:txBody>
        </p:sp>
        <p:sp>
          <p:nvSpPr>
            <p:cNvPr id="21" name="ïšļiḍé">
              <a:extLst>
                <a:ext uri="{FF2B5EF4-FFF2-40B4-BE49-F238E27FC236}">
                  <a16:creationId xmlns:a16="http://schemas.microsoft.com/office/drawing/2014/main" id="{52E6D6B8-9A3E-4045-8146-96957E14EB4B}"/>
                </a:ext>
              </a:extLst>
            </p:cNvPr>
            <p:cNvSpPr/>
            <p:nvPr/>
          </p:nvSpPr>
          <p:spPr>
            <a:xfrm>
              <a:off x="4353258" y="3285298"/>
              <a:ext cx="851076" cy="851056"/>
            </a:xfrm>
            <a:prstGeom prst="ellipse">
              <a:avLst/>
            </a:prstGeom>
            <a:solidFill>
              <a:schemeClr val="bg1"/>
            </a:solidFill>
            <a:ln w="12700">
              <a:miter lim="400000"/>
            </a:ln>
          </p:spPr>
          <p:txBody>
            <a:bodyPr wrap="square" lIns="91440" tIns="45720" rIns="91440" bIns="45720" anchor="ctr">
              <a:normAutofit fontScale="62500" lnSpcReduction="20000"/>
            </a:bodyPr>
            <a:lstStyle/>
            <a:p>
              <a:pPr defTabSz="609524">
                <a:defRPr sz="4800">
                  <a:solidFill>
                    <a:srgbClr val="070707"/>
                  </a:solidFill>
                </a:defRPr>
              </a:pPr>
              <a:endParaRPr sz="6400"/>
            </a:p>
          </p:txBody>
        </p:sp>
        <p:sp>
          <p:nvSpPr>
            <p:cNvPr id="22" name="íś1ïdé">
              <a:extLst>
                <a:ext uri="{FF2B5EF4-FFF2-40B4-BE49-F238E27FC236}">
                  <a16:creationId xmlns:a16="http://schemas.microsoft.com/office/drawing/2014/main" id="{944580C7-3704-4810-8DD4-BBF5F327D64D}"/>
                </a:ext>
              </a:extLst>
            </p:cNvPr>
            <p:cNvSpPr/>
            <p:nvPr/>
          </p:nvSpPr>
          <p:spPr>
            <a:xfrm rot="18900000">
              <a:off x="5402713" y="4340240"/>
              <a:ext cx="1216243" cy="1216241"/>
            </a:xfrm>
            <a:custGeom>
              <a:avLst/>
              <a:gdLst/>
              <a:ahLst/>
              <a:cxnLst>
                <a:cxn ang="0">
                  <a:pos x="wd2" y="hd2"/>
                </a:cxn>
                <a:cxn ang="5400000">
                  <a:pos x="wd2" y="hd2"/>
                </a:cxn>
                <a:cxn ang="10800000">
                  <a:pos x="wd2" y="hd2"/>
                </a:cxn>
                <a:cxn ang="16200000">
                  <a:pos x="wd2" y="hd2"/>
                </a:cxn>
              </a:cxnLst>
              <a:rect l="0" t="0" r="r" b="b"/>
              <a:pathLst>
                <a:path w="19679" h="19679" extrusionOk="0">
                  <a:moveTo>
                    <a:pt x="16796" y="2882"/>
                  </a:moveTo>
                  <a:cubicBezTo>
                    <a:pt x="20639" y="6724"/>
                    <a:pt x="20639" y="12954"/>
                    <a:pt x="16796" y="16796"/>
                  </a:cubicBezTo>
                  <a:cubicBezTo>
                    <a:pt x="12954" y="20639"/>
                    <a:pt x="6724" y="20639"/>
                    <a:pt x="2882" y="16796"/>
                  </a:cubicBezTo>
                  <a:cubicBezTo>
                    <a:pt x="-961" y="12954"/>
                    <a:pt x="-961" y="6724"/>
                    <a:pt x="2882" y="2882"/>
                  </a:cubicBezTo>
                  <a:cubicBezTo>
                    <a:pt x="6724" y="-961"/>
                    <a:pt x="12954" y="-961"/>
                    <a:pt x="16796" y="2882"/>
                  </a:cubicBezTo>
                  <a:close/>
                </a:path>
              </a:pathLst>
            </a:custGeom>
            <a:solidFill>
              <a:schemeClr val="bg1">
                <a:lumMod val="95000"/>
              </a:schemeClr>
            </a:solidFill>
            <a:ln w="12700">
              <a:miter lim="400000"/>
            </a:ln>
          </p:spPr>
          <p:txBody>
            <a:bodyPr wrap="square" lIns="91440" tIns="45720" rIns="91440" bIns="45720" anchor="ctr">
              <a:normAutofit fontScale="55000" lnSpcReduction="20000"/>
            </a:bodyPr>
            <a:lstStyle/>
            <a:p>
              <a:pPr defTabSz="609524">
                <a:defRPr sz="11600">
                  <a:solidFill>
                    <a:srgbClr val="77716C"/>
                  </a:solidFill>
                </a:defRPr>
              </a:pPr>
              <a:endParaRPr sz="15467"/>
            </a:p>
          </p:txBody>
        </p:sp>
        <p:sp>
          <p:nvSpPr>
            <p:cNvPr id="23" name="îŝ1iḑè">
              <a:extLst>
                <a:ext uri="{FF2B5EF4-FFF2-40B4-BE49-F238E27FC236}">
                  <a16:creationId xmlns:a16="http://schemas.microsoft.com/office/drawing/2014/main" id="{8BCD81D1-B72A-45CA-B616-0321D6E8C9E5}"/>
                </a:ext>
              </a:extLst>
            </p:cNvPr>
            <p:cNvSpPr/>
            <p:nvPr/>
          </p:nvSpPr>
          <p:spPr>
            <a:xfrm>
              <a:off x="5579996" y="4519557"/>
              <a:ext cx="851075" cy="851056"/>
            </a:xfrm>
            <a:prstGeom prst="ellipse">
              <a:avLst/>
            </a:prstGeom>
            <a:solidFill>
              <a:schemeClr val="bg1"/>
            </a:solidFill>
            <a:ln w="12700">
              <a:miter lim="400000"/>
            </a:ln>
          </p:spPr>
          <p:txBody>
            <a:bodyPr wrap="square" lIns="91440" tIns="45720" rIns="91440" bIns="45720" anchor="ctr">
              <a:normAutofit fontScale="62500" lnSpcReduction="20000"/>
            </a:bodyPr>
            <a:lstStyle/>
            <a:p>
              <a:pPr defTabSz="609524">
                <a:defRPr sz="4800">
                  <a:solidFill>
                    <a:srgbClr val="070707"/>
                  </a:solidFill>
                </a:defRPr>
              </a:pPr>
              <a:endParaRPr sz="6400"/>
            </a:p>
          </p:txBody>
        </p:sp>
        <p:sp>
          <p:nvSpPr>
            <p:cNvPr id="24" name="íş1îdê">
              <a:extLst>
                <a:ext uri="{FF2B5EF4-FFF2-40B4-BE49-F238E27FC236}">
                  <a16:creationId xmlns:a16="http://schemas.microsoft.com/office/drawing/2014/main" id="{77A4A94B-352C-4F20-97D8-56FC05C91DEB}"/>
                </a:ext>
              </a:extLst>
            </p:cNvPr>
            <p:cNvSpPr/>
            <p:nvPr/>
          </p:nvSpPr>
          <p:spPr bwMode="auto">
            <a:xfrm>
              <a:off x="6016295" y="2189645"/>
              <a:ext cx="336880" cy="290653"/>
            </a:xfrm>
            <a:custGeom>
              <a:avLst/>
              <a:gdLst>
                <a:gd name="connsiteX0" fmla="*/ 470014 w 606298"/>
                <a:gd name="connsiteY0" fmla="*/ 471938 h 523102"/>
                <a:gd name="connsiteX1" fmla="*/ 453448 w 606298"/>
                <a:gd name="connsiteY1" fmla="*/ 488480 h 523102"/>
                <a:gd name="connsiteX2" fmla="*/ 455470 w 606298"/>
                <a:gd name="connsiteY2" fmla="*/ 495885 h 523102"/>
                <a:gd name="connsiteX3" fmla="*/ 470014 w 606298"/>
                <a:gd name="connsiteY3" fmla="*/ 504925 h 523102"/>
                <a:gd name="connsiteX4" fmla="*/ 484557 w 606298"/>
                <a:gd name="connsiteY4" fmla="*/ 495885 h 523102"/>
                <a:gd name="connsiteX5" fmla="*/ 486483 w 606298"/>
                <a:gd name="connsiteY5" fmla="*/ 488480 h 523102"/>
                <a:gd name="connsiteX6" fmla="*/ 470014 w 606298"/>
                <a:gd name="connsiteY6" fmla="*/ 471938 h 523102"/>
                <a:gd name="connsiteX7" fmla="*/ 381212 w 606298"/>
                <a:gd name="connsiteY7" fmla="*/ 203804 h 523102"/>
                <a:gd name="connsiteX8" fmla="*/ 374278 w 606298"/>
                <a:gd name="connsiteY8" fmla="*/ 210728 h 523102"/>
                <a:gd name="connsiteX9" fmla="*/ 374278 w 606298"/>
                <a:gd name="connsiteY9" fmla="*/ 456646 h 523102"/>
                <a:gd name="connsiteX10" fmla="*/ 565653 w 606298"/>
                <a:gd name="connsiteY10" fmla="*/ 456646 h 523102"/>
                <a:gd name="connsiteX11" fmla="*/ 565653 w 606298"/>
                <a:gd name="connsiteY11" fmla="*/ 210728 h 523102"/>
                <a:gd name="connsiteX12" fmla="*/ 558719 w 606298"/>
                <a:gd name="connsiteY12" fmla="*/ 203804 h 523102"/>
                <a:gd name="connsiteX13" fmla="*/ 381212 w 606298"/>
                <a:gd name="connsiteY13" fmla="*/ 163218 h 523102"/>
                <a:gd name="connsiteX14" fmla="*/ 558719 w 606298"/>
                <a:gd name="connsiteY14" fmla="*/ 163218 h 523102"/>
                <a:gd name="connsiteX15" fmla="*/ 606298 w 606298"/>
                <a:gd name="connsiteY15" fmla="*/ 210728 h 523102"/>
                <a:gd name="connsiteX16" fmla="*/ 606298 w 606298"/>
                <a:gd name="connsiteY16" fmla="*/ 475592 h 523102"/>
                <a:gd name="connsiteX17" fmla="*/ 558719 w 606298"/>
                <a:gd name="connsiteY17" fmla="*/ 523102 h 523102"/>
                <a:gd name="connsiteX18" fmla="*/ 381212 w 606298"/>
                <a:gd name="connsiteY18" fmla="*/ 523102 h 523102"/>
                <a:gd name="connsiteX19" fmla="*/ 333633 w 606298"/>
                <a:gd name="connsiteY19" fmla="*/ 475592 h 523102"/>
                <a:gd name="connsiteX20" fmla="*/ 333633 w 606298"/>
                <a:gd name="connsiteY20" fmla="*/ 210728 h 523102"/>
                <a:gd name="connsiteX21" fmla="*/ 381212 w 606298"/>
                <a:gd name="connsiteY21" fmla="*/ 163218 h 523102"/>
                <a:gd name="connsiteX22" fmla="*/ 43821 w 606298"/>
                <a:gd name="connsiteY22" fmla="*/ 0 h 523102"/>
                <a:gd name="connsiteX23" fmla="*/ 452369 w 606298"/>
                <a:gd name="connsiteY23" fmla="*/ 0 h 523102"/>
                <a:gd name="connsiteX24" fmla="*/ 496287 w 606298"/>
                <a:gd name="connsiteY24" fmla="*/ 43855 h 523102"/>
                <a:gd name="connsiteX25" fmla="*/ 496287 w 606298"/>
                <a:gd name="connsiteY25" fmla="*/ 122621 h 523102"/>
                <a:gd name="connsiteX26" fmla="*/ 455644 w 606298"/>
                <a:gd name="connsiteY26" fmla="*/ 122621 h 523102"/>
                <a:gd name="connsiteX27" fmla="*/ 455644 w 606298"/>
                <a:gd name="connsiteY27" fmla="*/ 43855 h 523102"/>
                <a:gd name="connsiteX28" fmla="*/ 452369 w 606298"/>
                <a:gd name="connsiteY28" fmla="*/ 40585 h 523102"/>
                <a:gd name="connsiteX29" fmla="*/ 43821 w 606298"/>
                <a:gd name="connsiteY29" fmla="*/ 40585 h 523102"/>
                <a:gd name="connsiteX30" fmla="*/ 40643 w 606298"/>
                <a:gd name="connsiteY30" fmla="*/ 43855 h 523102"/>
                <a:gd name="connsiteX31" fmla="*/ 40643 w 606298"/>
                <a:gd name="connsiteY31" fmla="*/ 320738 h 523102"/>
                <a:gd name="connsiteX32" fmla="*/ 43821 w 606298"/>
                <a:gd name="connsiteY32" fmla="*/ 323911 h 523102"/>
                <a:gd name="connsiteX33" fmla="*/ 292976 w 606298"/>
                <a:gd name="connsiteY33" fmla="*/ 323911 h 523102"/>
                <a:gd name="connsiteX34" fmla="*/ 292976 w 606298"/>
                <a:gd name="connsiteY34" fmla="*/ 344204 h 523102"/>
                <a:gd name="connsiteX35" fmla="*/ 292976 w 606298"/>
                <a:gd name="connsiteY35" fmla="*/ 418161 h 523102"/>
                <a:gd name="connsiteX36" fmla="*/ 292976 w 606298"/>
                <a:gd name="connsiteY36" fmla="*/ 458746 h 523102"/>
                <a:gd name="connsiteX37" fmla="*/ 159201 w 606298"/>
                <a:gd name="connsiteY37" fmla="*/ 458746 h 523102"/>
                <a:gd name="connsiteX38" fmla="*/ 138879 w 606298"/>
                <a:gd name="connsiteY38" fmla="*/ 438454 h 523102"/>
                <a:gd name="connsiteX39" fmla="*/ 159201 w 606298"/>
                <a:gd name="connsiteY39" fmla="*/ 418161 h 523102"/>
                <a:gd name="connsiteX40" fmla="*/ 180774 w 606298"/>
                <a:gd name="connsiteY40" fmla="*/ 418161 h 523102"/>
                <a:gd name="connsiteX41" fmla="*/ 180774 w 606298"/>
                <a:gd name="connsiteY41" fmla="*/ 364497 h 523102"/>
                <a:gd name="connsiteX42" fmla="*/ 43821 w 606298"/>
                <a:gd name="connsiteY42" fmla="*/ 364497 h 523102"/>
                <a:gd name="connsiteX43" fmla="*/ 0 w 606298"/>
                <a:gd name="connsiteY43" fmla="*/ 320738 h 523102"/>
                <a:gd name="connsiteX44" fmla="*/ 0 w 606298"/>
                <a:gd name="connsiteY44" fmla="*/ 43855 h 523102"/>
                <a:gd name="connsiteX45" fmla="*/ 43821 w 606298"/>
                <a:gd name="connsiteY45" fmla="*/ 0 h 52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06298" h="523102">
                  <a:moveTo>
                    <a:pt x="470014" y="471938"/>
                  </a:moveTo>
                  <a:cubicBezTo>
                    <a:pt x="460864" y="471938"/>
                    <a:pt x="453448" y="479343"/>
                    <a:pt x="453448" y="488480"/>
                  </a:cubicBezTo>
                  <a:cubicBezTo>
                    <a:pt x="453448" y="491172"/>
                    <a:pt x="454314" y="493577"/>
                    <a:pt x="455470" y="495885"/>
                  </a:cubicBezTo>
                  <a:cubicBezTo>
                    <a:pt x="458167" y="501175"/>
                    <a:pt x="463561" y="504925"/>
                    <a:pt x="470014" y="504925"/>
                  </a:cubicBezTo>
                  <a:cubicBezTo>
                    <a:pt x="476370" y="504925"/>
                    <a:pt x="481764" y="501175"/>
                    <a:pt x="484557" y="495885"/>
                  </a:cubicBezTo>
                  <a:cubicBezTo>
                    <a:pt x="485713" y="493577"/>
                    <a:pt x="486483" y="491172"/>
                    <a:pt x="486483" y="488480"/>
                  </a:cubicBezTo>
                  <a:cubicBezTo>
                    <a:pt x="486483" y="479343"/>
                    <a:pt x="479067" y="471938"/>
                    <a:pt x="470014" y="471938"/>
                  </a:cubicBezTo>
                  <a:close/>
                  <a:moveTo>
                    <a:pt x="381212" y="203804"/>
                  </a:moveTo>
                  <a:cubicBezTo>
                    <a:pt x="377456" y="203804"/>
                    <a:pt x="374278" y="206881"/>
                    <a:pt x="374278" y="210728"/>
                  </a:cubicBezTo>
                  <a:lnTo>
                    <a:pt x="374278" y="456646"/>
                  </a:lnTo>
                  <a:lnTo>
                    <a:pt x="565653" y="456646"/>
                  </a:lnTo>
                  <a:lnTo>
                    <a:pt x="565653" y="210728"/>
                  </a:lnTo>
                  <a:cubicBezTo>
                    <a:pt x="565653" y="206881"/>
                    <a:pt x="562571" y="203804"/>
                    <a:pt x="558719" y="203804"/>
                  </a:cubicBezTo>
                  <a:close/>
                  <a:moveTo>
                    <a:pt x="381212" y="163218"/>
                  </a:moveTo>
                  <a:lnTo>
                    <a:pt x="558719" y="163218"/>
                  </a:lnTo>
                  <a:cubicBezTo>
                    <a:pt x="585013" y="163218"/>
                    <a:pt x="606298" y="184473"/>
                    <a:pt x="606298" y="210728"/>
                  </a:cubicBezTo>
                  <a:lnTo>
                    <a:pt x="606298" y="475592"/>
                  </a:lnTo>
                  <a:cubicBezTo>
                    <a:pt x="606298" y="501752"/>
                    <a:pt x="585013" y="523102"/>
                    <a:pt x="558719" y="523102"/>
                  </a:cubicBezTo>
                  <a:lnTo>
                    <a:pt x="381212" y="523102"/>
                  </a:lnTo>
                  <a:cubicBezTo>
                    <a:pt x="355015" y="523102"/>
                    <a:pt x="333633" y="501752"/>
                    <a:pt x="333633" y="475592"/>
                  </a:cubicBezTo>
                  <a:lnTo>
                    <a:pt x="333633" y="210728"/>
                  </a:lnTo>
                  <a:cubicBezTo>
                    <a:pt x="333633" y="184473"/>
                    <a:pt x="355015" y="163218"/>
                    <a:pt x="381212" y="163218"/>
                  </a:cubicBezTo>
                  <a:close/>
                  <a:moveTo>
                    <a:pt x="43821" y="0"/>
                  </a:moveTo>
                  <a:lnTo>
                    <a:pt x="452369" y="0"/>
                  </a:lnTo>
                  <a:cubicBezTo>
                    <a:pt x="476543" y="0"/>
                    <a:pt x="496287" y="19715"/>
                    <a:pt x="496287" y="43855"/>
                  </a:cubicBezTo>
                  <a:lnTo>
                    <a:pt x="496287" y="122621"/>
                  </a:lnTo>
                  <a:lnTo>
                    <a:pt x="455644" y="122621"/>
                  </a:lnTo>
                  <a:lnTo>
                    <a:pt x="455644" y="43855"/>
                  </a:lnTo>
                  <a:cubicBezTo>
                    <a:pt x="455644" y="42027"/>
                    <a:pt x="454199" y="40585"/>
                    <a:pt x="452369" y="40585"/>
                  </a:cubicBezTo>
                  <a:lnTo>
                    <a:pt x="43821" y="40585"/>
                  </a:lnTo>
                  <a:cubicBezTo>
                    <a:pt x="42088" y="40585"/>
                    <a:pt x="40643" y="42027"/>
                    <a:pt x="40643" y="43855"/>
                  </a:cubicBezTo>
                  <a:lnTo>
                    <a:pt x="40643" y="320738"/>
                  </a:lnTo>
                  <a:cubicBezTo>
                    <a:pt x="40643" y="322469"/>
                    <a:pt x="42088" y="323911"/>
                    <a:pt x="43821" y="323911"/>
                  </a:cubicBezTo>
                  <a:lnTo>
                    <a:pt x="292976" y="323911"/>
                  </a:lnTo>
                  <a:lnTo>
                    <a:pt x="292976" y="344204"/>
                  </a:lnTo>
                  <a:lnTo>
                    <a:pt x="292976" y="418161"/>
                  </a:lnTo>
                  <a:lnTo>
                    <a:pt x="292976" y="458746"/>
                  </a:lnTo>
                  <a:lnTo>
                    <a:pt x="159201" y="458746"/>
                  </a:lnTo>
                  <a:cubicBezTo>
                    <a:pt x="148029" y="458746"/>
                    <a:pt x="138879" y="449610"/>
                    <a:pt x="138879" y="438454"/>
                  </a:cubicBezTo>
                  <a:cubicBezTo>
                    <a:pt x="138879" y="427201"/>
                    <a:pt x="148029" y="418161"/>
                    <a:pt x="159201" y="418161"/>
                  </a:cubicBezTo>
                  <a:lnTo>
                    <a:pt x="180774" y="418161"/>
                  </a:lnTo>
                  <a:lnTo>
                    <a:pt x="180774" y="364497"/>
                  </a:lnTo>
                  <a:lnTo>
                    <a:pt x="43821" y="364497"/>
                  </a:lnTo>
                  <a:cubicBezTo>
                    <a:pt x="19647" y="364497"/>
                    <a:pt x="0" y="344877"/>
                    <a:pt x="0" y="320738"/>
                  </a:cubicBezTo>
                  <a:lnTo>
                    <a:pt x="0" y="43855"/>
                  </a:lnTo>
                  <a:cubicBezTo>
                    <a:pt x="0" y="19715"/>
                    <a:pt x="19647" y="0"/>
                    <a:pt x="43821" y="0"/>
                  </a:cubicBezTo>
                  <a:close/>
                </a:path>
              </a:pathLst>
            </a:custGeom>
            <a:solidFill>
              <a:schemeClr val="tx1">
                <a:lumMod val="50000"/>
                <a:lumOff val="50000"/>
              </a:schemeClr>
            </a:solidFill>
            <a:ln>
              <a:noFill/>
            </a:ln>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5" name="ïšḻîḓè">
              <a:extLst>
                <a:ext uri="{FF2B5EF4-FFF2-40B4-BE49-F238E27FC236}">
                  <a16:creationId xmlns:a16="http://schemas.microsoft.com/office/drawing/2014/main" id="{1957D280-F8A8-4DA3-942E-FC110C5B7304}"/>
                </a:ext>
              </a:extLst>
            </p:cNvPr>
            <p:cNvSpPr/>
            <p:nvPr/>
          </p:nvSpPr>
          <p:spPr bwMode="auto">
            <a:xfrm>
              <a:off x="5938063" y="3498489"/>
              <a:ext cx="336880" cy="290653"/>
            </a:xfrm>
            <a:custGeom>
              <a:avLst/>
              <a:gdLst>
                <a:gd name="connsiteX0" fmla="*/ 470014 w 606298"/>
                <a:gd name="connsiteY0" fmla="*/ 471938 h 523102"/>
                <a:gd name="connsiteX1" fmla="*/ 453448 w 606298"/>
                <a:gd name="connsiteY1" fmla="*/ 488480 h 523102"/>
                <a:gd name="connsiteX2" fmla="*/ 455470 w 606298"/>
                <a:gd name="connsiteY2" fmla="*/ 495885 h 523102"/>
                <a:gd name="connsiteX3" fmla="*/ 470014 w 606298"/>
                <a:gd name="connsiteY3" fmla="*/ 504925 h 523102"/>
                <a:gd name="connsiteX4" fmla="*/ 484557 w 606298"/>
                <a:gd name="connsiteY4" fmla="*/ 495885 h 523102"/>
                <a:gd name="connsiteX5" fmla="*/ 486483 w 606298"/>
                <a:gd name="connsiteY5" fmla="*/ 488480 h 523102"/>
                <a:gd name="connsiteX6" fmla="*/ 470014 w 606298"/>
                <a:gd name="connsiteY6" fmla="*/ 471938 h 523102"/>
                <a:gd name="connsiteX7" fmla="*/ 381212 w 606298"/>
                <a:gd name="connsiteY7" fmla="*/ 203804 h 523102"/>
                <a:gd name="connsiteX8" fmla="*/ 374278 w 606298"/>
                <a:gd name="connsiteY8" fmla="*/ 210728 h 523102"/>
                <a:gd name="connsiteX9" fmla="*/ 374278 w 606298"/>
                <a:gd name="connsiteY9" fmla="*/ 456646 h 523102"/>
                <a:gd name="connsiteX10" fmla="*/ 565653 w 606298"/>
                <a:gd name="connsiteY10" fmla="*/ 456646 h 523102"/>
                <a:gd name="connsiteX11" fmla="*/ 565653 w 606298"/>
                <a:gd name="connsiteY11" fmla="*/ 210728 h 523102"/>
                <a:gd name="connsiteX12" fmla="*/ 558719 w 606298"/>
                <a:gd name="connsiteY12" fmla="*/ 203804 h 523102"/>
                <a:gd name="connsiteX13" fmla="*/ 381212 w 606298"/>
                <a:gd name="connsiteY13" fmla="*/ 163218 h 523102"/>
                <a:gd name="connsiteX14" fmla="*/ 558719 w 606298"/>
                <a:gd name="connsiteY14" fmla="*/ 163218 h 523102"/>
                <a:gd name="connsiteX15" fmla="*/ 606298 w 606298"/>
                <a:gd name="connsiteY15" fmla="*/ 210728 h 523102"/>
                <a:gd name="connsiteX16" fmla="*/ 606298 w 606298"/>
                <a:gd name="connsiteY16" fmla="*/ 475592 h 523102"/>
                <a:gd name="connsiteX17" fmla="*/ 558719 w 606298"/>
                <a:gd name="connsiteY17" fmla="*/ 523102 h 523102"/>
                <a:gd name="connsiteX18" fmla="*/ 381212 w 606298"/>
                <a:gd name="connsiteY18" fmla="*/ 523102 h 523102"/>
                <a:gd name="connsiteX19" fmla="*/ 333633 w 606298"/>
                <a:gd name="connsiteY19" fmla="*/ 475592 h 523102"/>
                <a:gd name="connsiteX20" fmla="*/ 333633 w 606298"/>
                <a:gd name="connsiteY20" fmla="*/ 210728 h 523102"/>
                <a:gd name="connsiteX21" fmla="*/ 381212 w 606298"/>
                <a:gd name="connsiteY21" fmla="*/ 163218 h 523102"/>
                <a:gd name="connsiteX22" fmla="*/ 43821 w 606298"/>
                <a:gd name="connsiteY22" fmla="*/ 0 h 523102"/>
                <a:gd name="connsiteX23" fmla="*/ 452369 w 606298"/>
                <a:gd name="connsiteY23" fmla="*/ 0 h 523102"/>
                <a:gd name="connsiteX24" fmla="*/ 496287 w 606298"/>
                <a:gd name="connsiteY24" fmla="*/ 43855 h 523102"/>
                <a:gd name="connsiteX25" fmla="*/ 496287 w 606298"/>
                <a:gd name="connsiteY25" fmla="*/ 122621 h 523102"/>
                <a:gd name="connsiteX26" fmla="*/ 455644 w 606298"/>
                <a:gd name="connsiteY26" fmla="*/ 122621 h 523102"/>
                <a:gd name="connsiteX27" fmla="*/ 455644 w 606298"/>
                <a:gd name="connsiteY27" fmla="*/ 43855 h 523102"/>
                <a:gd name="connsiteX28" fmla="*/ 452369 w 606298"/>
                <a:gd name="connsiteY28" fmla="*/ 40585 h 523102"/>
                <a:gd name="connsiteX29" fmla="*/ 43821 w 606298"/>
                <a:gd name="connsiteY29" fmla="*/ 40585 h 523102"/>
                <a:gd name="connsiteX30" fmla="*/ 40643 w 606298"/>
                <a:gd name="connsiteY30" fmla="*/ 43855 h 523102"/>
                <a:gd name="connsiteX31" fmla="*/ 40643 w 606298"/>
                <a:gd name="connsiteY31" fmla="*/ 320738 h 523102"/>
                <a:gd name="connsiteX32" fmla="*/ 43821 w 606298"/>
                <a:gd name="connsiteY32" fmla="*/ 323911 h 523102"/>
                <a:gd name="connsiteX33" fmla="*/ 292976 w 606298"/>
                <a:gd name="connsiteY33" fmla="*/ 323911 h 523102"/>
                <a:gd name="connsiteX34" fmla="*/ 292976 w 606298"/>
                <a:gd name="connsiteY34" fmla="*/ 344204 h 523102"/>
                <a:gd name="connsiteX35" fmla="*/ 292976 w 606298"/>
                <a:gd name="connsiteY35" fmla="*/ 418161 h 523102"/>
                <a:gd name="connsiteX36" fmla="*/ 292976 w 606298"/>
                <a:gd name="connsiteY36" fmla="*/ 458746 h 523102"/>
                <a:gd name="connsiteX37" fmla="*/ 159201 w 606298"/>
                <a:gd name="connsiteY37" fmla="*/ 458746 h 523102"/>
                <a:gd name="connsiteX38" fmla="*/ 138879 w 606298"/>
                <a:gd name="connsiteY38" fmla="*/ 438454 h 523102"/>
                <a:gd name="connsiteX39" fmla="*/ 159201 w 606298"/>
                <a:gd name="connsiteY39" fmla="*/ 418161 h 523102"/>
                <a:gd name="connsiteX40" fmla="*/ 180774 w 606298"/>
                <a:gd name="connsiteY40" fmla="*/ 418161 h 523102"/>
                <a:gd name="connsiteX41" fmla="*/ 180774 w 606298"/>
                <a:gd name="connsiteY41" fmla="*/ 364497 h 523102"/>
                <a:gd name="connsiteX42" fmla="*/ 43821 w 606298"/>
                <a:gd name="connsiteY42" fmla="*/ 364497 h 523102"/>
                <a:gd name="connsiteX43" fmla="*/ 0 w 606298"/>
                <a:gd name="connsiteY43" fmla="*/ 320738 h 523102"/>
                <a:gd name="connsiteX44" fmla="*/ 0 w 606298"/>
                <a:gd name="connsiteY44" fmla="*/ 43855 h 523102"/>
                <a:gd name="connsiteX45" fmla="*/ 43821 w 606298"/>
                <a:gd name="connsiteY45" fmla="*/ 0 h 52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06298" h="523102">
                  <a:moveTo>
                    <a:pt x="470014" y="471938"/>
                  </a:moveTo>
                  <a:cubicBezTo>
                    <a:pt x="460864" y="471938"/>
                    <a:pt x="453448" y="479343"/>
                    <a:pt x="453448" y="488480"/>
                  </a:cubicBezTo>
                  <a:cubicBezTo>
                    <a:pt x="453448" y="491172"/>
                    <a:pt x="454314" y="493577"/>
                    <a:pt x="455470" y="495885"/>
                  </a:cubicBezTo>
                  <a:cubicBezTo>
                    <a:pt x="458167" y="501175"/>
                    <a:pt x="463561" y="504925"/>
                    <a:pt x="470014" y="504925"/>
                  </a:cubicBezTo>
                  <a:cubicBezTo>
                    <a:pt x="476370" y="504925"/>
                    <a:pt x="481764" y="501175"/>
                    <a:pt x="484557" y="495885"/>
                  </a:cubicBezTo>
                  <a:cubicBezTo>
                    <a:pt x="485713" y="493577"/>
                    <a:pt x="486483" y="491172"/>
                    <a:pt x="486483" y="488480"/>
                  </a:cubicBezTo>
                  <a:cubicBezTo>
                    <a:pt x="486483" y="479343"/>
                    <a:pt x="479067" y="471938"/>
                    <a:pt x="470014" y="471938"/>
                  </a:cubicBezTo>
                  <a:close/>
                  <a:moveTo>
                    <a:pt x="381212" y="203804"/>
                  </a:moveTo>
                  <a:cubicBezTo>
                    <a:pt x="377456" y="203804"/>
                    <a:pt x="374278" y="206881"/>
                    <a:pt x="374278" y="210728"/>
                  </a:cubicBezTo>
                  <a:lnTo>
                    <a:pt x="374278" y="456646"/>
                  </a:lnTo>
                  <a:lnTo>
                    <a:pt x="565653" y="456646"/>
                  </a:lnTo>
                  <a:lnTo>
                    <a:pt x="565653" y="210728"/>
                  </a:lnTo>
                  <a:cubicBezTo>
                    <a:pt x="565653" y="206881"/>
                    <a:pt x="562571" y="203804"/>
                    <a:pt x="558719" y="203804"/>
                  </a:cubicBezTo>
                  <a:close/>
                  <a:moveTo>
                    <a:pt x="381212" y="163218"/>
                  </a:moveTo>
                  <a:lnTo>
                    <a:pt x="558719" y="163218"/>
                  </a:lnTo>
                  <a:cubicBezTo>
                    <a:pt x="585013" y="163218"/>
                    <a:pt x="606298" y="184473"/>
                    <a:pt x="606298" y="210728"/>
                  </a:cubicBezTo>
                  <a:lnTo>
                    <a:pt x="606298" y="475592"/>
                  </a:lnTo>
                  <a:cubicBezTo>
                    <a:pt x="606298" y="501752"/>
                    <a:pt x="585013" y="523102"/>
                    <a:pt x="558719" y="523102"/>
                  </a:cubicBezTo>
                  <a:lnTo>
                    <a:pt x="381212" y="523102"/>
                  </a:lnTo>
                  <a:cubicBezTo>
                    <a:pt x="355015" y="523102"/>
                    <a:pt x="333633" y="501752"/>
                    <a:pt x="333633" y="475592"/>
                  </a:cubicBezTo>
                  <a:lnTo>
                    <a:pt x="333633" y="210728"/>
                  </a:lnTo>
                  <a:cubicBezTo>
                    <a:pt x="333633" y="184473"/>
                    <a:pt x="355015" y="163218"/>
                    <a:pt x="381212" y="163218"/>
                  </a:cubicBezTo>
                  <a:close/>
                  <a:moveTo>
                    <a:pt x="43821" y="0"/>
                  </a:moveTo>
                  <a:lnTo>
                    <a:pt x="452369" y="0"/>
                  </a:lnTo>
                  <a:cubicBezTo>
                    <a:pt x="476543" y="0"/>
                    <a:pt x="496287" y="19715"/>
                    <a:pt x="496287" y="43855"/>
                  </a:cubicBezTo>
                  <a:lnTo>
                    <a:pt x="496287" y="122621"/>
                  </a:lnTo>
                  <a:lnTo>
                    <a:pt x="455644" y="122621"/>
                  </a:lnTo>
                  <a:lnTo>
                    <a:pt x="455644" y="43855"/>
                  </a:lnTo>
                  <a:cubicBezTo>
                    <a:pt x="455644" y="42027"/>
                    <a:pt x="454199" y="40585"/>
                    <a:pt x="452369" y="40585"/>
                  </a:cubicBezTo>
                  <a:lnTo>
                    <a:pt x="43821" y="40585"/>
                  </a:lnTo>
                  <a:cubicBezTo>
                    <a:pt x="42088" y="40585"/>
                    <a:pt x="40643" y="42027"/>
                    <a:pt x="40643" y="43855"/>
                  </a:cubicBezTo>
                  <a:lnTo>
                    <a:pt x="40643" y="320738"/>
                  </a:lnTo>
                  <a:cubicBezTo>
                    <a:pt x="40643" y="322469"/>
                    <a:pt x="42088" y="323911"/>
                    <a:pt x="43821" y="323911"/>
                  </a:cubicBezTo>
                  <a:lnTo>
                    <a:pt x="292976" y="323911"/>
                  </a:lnTo>
                  <a:lnTo>
                    <a:pt x="292976" y="344204"/>
                  </a:lnTo>
                  <a:lnTo>
                    <a:pt x="292976" y="418161"/>
                  </a:lnTo>
                  <a:lnTo>
                    <a:pt x="292976" y="458746"/>
                  </a:lnTo>
                  <a:lnTo>
                    <a:pt x="159201" y="458746"/>
                  </a:lnTo>
                  <a:cubicBezTo>
                    <a:pt x="148029" y="458746"/>
                    <a:pt x="138879" y="449610"/>
                    <a:pt x="138879" y="438454"/>
                  </a:cubicBezTo>
                  <a:cubicBezTo>
                    <a:pt x="138879" y="427201"/>
                    <a:pt x="148029" y="418161"/>
                    <a:pt x="159201" y="418161"/>
                  </a:cubicBezTo>
                  <a:lnTo>
                    <a:pt x="180774" y="418161"/>
                  </a:lnTo>
                  <a:lnTo>
                    <a:pt x="180774" y="364497"/>
                  </a:lnTo>
                  <a:lnTo>
                    <a:pt x="43821" y="364497"/>
                  </a:lnTo>
                  <a:cubicBezTo>
                    <a:pt x="19647" y="364497"/>
                    <a:pt x="0" y="344877"/>
                    <a:pt x="0" y="320738"/>
                  </a:cubicBezTo>
                  <a:lnTo>
                    <a:pt x="0" y="43855"/>
                  </a:lnTo>
                  <a:cubicBezTo>
                    <a:pt x="0" y="19715"/>
                    <a:pt x="19647" y="0"/>
                    <a:pt x="43821" y="0"/>
                  </a:cubicBezTo>
                  <a:close/>
                </a:path>
              </a:pathLst>
            </a:custGeom>
            <a:solidFill>
              <a:schemeClr val="accent1"/>
            </a:solidFill>
            <a:ln>
              <a:noFill/>
            </a:ln>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6" name="ïṡ1îdê">
              <a:extLst>
                <a:ext uri="{FF2B5EF4-FFF2-40B4-BE49-F238E27FC236}">
                  <a16:creationId xmlns:a16="http://schemas.microsoft.com/office/drawing/2014/main" id="{B49DCAF5-559A-4BA2-B984-FC9916E1CF9B}"/>
                </a:ext>
              </a:extLst>
            </p:cNvPr>
            <p:cNvSpPr/>
            <p:nvPr/>
          </p:nvSpPr>
          <p:spPr bwMode="auto">
            <a:xfrm>
              <a:off x="5837093" y="4799760"/>
              <a:ext cx="336880" cy="290653"/>
            </a:xfrm>
            <a:custGeom>
              <a:avLst/>
              <a:gdLst>
                <a:gd name="connsiteX0" fmla="*/ 470014 w 606298"/>
                <a:gd name="connsiteY0" fmla="*/ 471938 h 523102"/>
                <a:gd name="connsiteX1" fmla="*/ 453448 w 606298"/>
                <a:gd name="connsiteY1" fmla="*/ 488480 h 523102"/>
                <a:gd name="connsiteX2" fmla="*/ 455470 w 606298"/>
                <a:gd name="connsiteY2" fmla="*/ 495885 h 523102"/>
                <a:gd name="connsiteX3" fmla="*/ 470014 w 606298"/>
                <a:gd name="connsiteY3" fmla="*/ 504925 h 523102"/>
                <a:gd name="connsiteX4" fmla="*/ 484557 w 606298"/>
                <a:gd name="connsiteY4" fmla="*/ 495885 h 523102"/>
                <a:gd name="connsiteX5" fmla="*/ 486483 w 606298"/>
                <a:gd name="connsiteY5" fmla="*/ 488480 h 523102"/>
                <a:gd name="connsiteX6" fmla="*/ 470014 w 606298"/>
                <a:gd name="connsiteY6" fmla="*/ 471938 h 523102"/>
                <a:gd name="connsiteX7" fmla="*/ 381212 w 606298"/>
                <a:gd name="connsiteY7" fmla="*/ 203804 h 523102"/>
                <a:gd name="connsiteX8" fmla="*/ 374278 w 606298"/>
                <a:gd name="connsiteY8" fmla="*/ 210728 h 523102"/>
                <a:gd name="connsiteX9" fmla="*/ 374278 w 606298"/>
                <a:gd name="connsiteY9" fmla="*/ 456646 h 523102"/>
                <a:gd name="connsiteX10" fmla="*/ 565653 w 606298"/>
                <a:gd name="connsiteY10" fmla="*/ 456646 h 523102"/>
                <a:gd name="connsiteX11" fmla="*/ 565653 w 606298"/>
                <a:gd name="connsiteY11" fmla="*/ 210728 h 523102"/>
                <a:gd name="connsiteX12" fmla="*/ 558719 w 606298"/>
                <a:gd name="connsiteY12" fmla="*/ 203804 h 523102"/>
                <a:gd name="connsiteX13" fmla="*/ 381212 w 606298"/>
                <a:gd name="connsiteY13" fmla="*/ 163218 h 523102"/>
                <a:gd name="connsiteX14" fmla="*/ 558719 w 606298"/>
                <a:gd name="connsiteY14" fmla="*/ 163218 h 523102"/>
                <a:gd name="connsiteX15" fmla="*/ 606298 w 606298"/>
                <a:gd name="connsiteY15" fmla="*/ 210728 h 523102"/>
                <a:gd name="connsiteX16" fmla="*/ 606298 w 606298"/>
                <a:gd name="connsiteY16" fmla="*/ 475592 h 523102"/>
                <a:gd name="connsiteX17" fmla="*/ 558719 w 606298"/>
                <a:gd name="connsiteY17" fmla="*/ 523102 h 523102"/>
                <a:gd name="connsiteX18" fmla="*/ 381212 w 606298"/>
                <a:gd name="connsiteY18" fmla="*/ 523102 h 523102"/>
                <a:gd name="connsiteX19" fmla="*/ 333633 w 606298"/>
                <a:gd name="connsiteY19" fmla="*/ 475592 h 523102"/>
                <a:gd name="connsiteX20" fmla="*/ 333633 w 606298"/>
                <a:gd name="connsiteY20" fmla="*/ 210728 h 523102"/>
                <a:gd name="connsiteX21" fmla="*/ 381212 w 606298"/>
                <a:gd name="connsiteY21" fmla="*/ 163218 h 523102"/>
                <a:gd name="connsiteX22" fmla="*/ 43821 w 606298"/>
                <a:gd name="connsiteY22" fmla="*/ 0 h 523102"/>
                <a:gd name="connsiteX23" fmla="*/ 452369 w 606298"/>
                <a:gd name="connsiteY23" fmla="*/ 0 h 523102"/>
                <a:gd name="connsiteX24" fmla="*/ 496287 w 606298"/>
                <a:gd name="connsiteY24" fmla="*/ 43855 h 523102"/>
                <a:gd name="connsiteX25" fmla="*/ 496287 w 606298"/>
                <a:gd name="connsiteY25" fmla="*/ 122621 h 523102"/>
                <a:gd name="connsiteX26" fmla="*/ 455644 w 606298"/>
                <a:gd name="connsiteY26" fmla="*/ 122621 h 523102"/>
                <a:gd name="connsiteX27" fmla="*/ 455644 w 606298"/>
                <a:gd name="connsiteY27" fmla="*/ 43855 h 523102"/>
                <a:gd name="connsiteX28" fmla="*/ 452369 w 606298"/>
                <a:gd name="connsiteY28" fmla="*/ 40585 h 523102"/>
                <a:gd name="connsiteX29" fmla="*/ 43821 w 606298"/>
                <a:gd name="connsiteY29" fmla="*/ 40585 h 523102"/>
                <a:gd name="connsiteX30" fmla="*/ 40643 w 606298"/>
                <a:gd name="connsiteY30" fmla="*/ 43855 h 523102"/>
                <a:gd name="connsiteX31" fmla="*/ 40643 w 606298"/>
                <a:gd name="connsiteY31" fmla="*/ 320738 h 523102"/>
                <a:gd name="connsiteX32" fmla="*/ 43821 w 606298"/>
                <a:gd name="connsiteY32" fmla="*/ 323911 h 523102"/>
                <a:gd name="connsiteX33" fmla="*/ 292976 w 606298"/>
                <a:gd name="connsiteY33" fmla="*/ 323911 h 523102"/>
                <a:gd name="connsiteX34" fmla="*/ 292976 w 606298"/>
                <a:gd name="connsiteY34" fmla="*/ 344204 h 523102"/>
                <a:gd name="connsiteX35" fmla="*/ 292976 w 606298"/>
                <a:gd name="connsiteY35" fmla="*/ 418161 h 523102"/>
                <a:gd name="connsiteX36" fmla="*/ 292976 w 606298"/>
                <a:gd name="connsiteY36" fmla="*/ 458746 h 523102"/>
                <a:gd name="connsiteX37" fmla="*/ 159201 w 606298"/>
                <a:gd name="connsiteY37" fmla="*/ 458746 h 523102"/>
                <a:gd name="connsiteX38" fmla="*/ 138879 w 606298"/>
                <a:gd name="connsiteY38" fmla="*/ 438454 h 523102"/>
                <a:gd name="connsiteX39" fmla="*/ 159201 w 606298"/>
                <a:gd name="connsiteY39" fmla="*/ 418161 h 523102"/>
                <a:gd name="connsiteX40" fmla="*/ 180774 w 606298"/>
                <a:gd name="connsiteY40" fmla="*/ 418161 h 523102"/>
                <a:gd name="connsiteX41" fmla="*/ 180774 w 606298"/>
                <a:gd name="connsiteY41" fmla="*/ 364497 h 523102"/>
                <a:gd name="connsiteX42" fmla="*/ 43821 w 606298"/>
                <a:gd name="connsiteY42" fmla="*/ 364497 h 523102"/>
                <a:gd name="connsiteX43" fmla="*/ 0 w 606298"/>
                <a:gd name="connsiteY43" fmla="*/ 320738 h 523102"/>
                <a:gd name="connsiteX44" fmla="*/ 0 w 606298"/>
                <a:gd name="connsiteY44" fmla="*/ 43855 h 523102"/>
                <a:gd name="connsiteX45" fmla="*/ 43821 w 606298"/>
                <a:gd name="connsiteY45" fmla="*/ 0 h 52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06298" h="523102">
                  <a:moveTo>
                    <a:pt x="470014" y="471938"/>
                  </a:moveTo>
                  <a:cubicBezTo>
                    <a:pt x="460864" y="471938"/>
                    <a:pt x="453448" y="479343"/>
                    <a:pt x="453448" y="488480"/>
                  </a:cubicBezTo>
                  <a:cubicBezTo>
                    <a:pt x="453448" y="491172"/>
                    <a:pt x="454314" y="493577"/>
                    <a:pt x="455470" y="495885"/>
                  </a:cubicBezTo>
                  <a:cubicBezTo>
                    <a:pt x="458167" y="501175"/>
                    <a:pt x="463561" y="504925"/>
                    <a:pt x="470014" y="504925"/>
                  </a:cubicBezTo>
                  <a:cubicBezTo>
                    <a:pt x="476370" y="504925"/>
                    <a:pt x="481764" y="501175"/>
                    <a:pt x="484557" y="495885"/>
                  </a:cubicBezTo>
                  <a:cubicBezTo>
                    <a:pt x="485713" y="493577"/>
                    <a:pt x="486483" y="491172"/>
                    <a:pt x="486483" y="488480"/>
                  </a:cubicBezTo>
                  <a:cubicBezTo>
                    <a:pt x="486483" y="479343"/>
                    <a:pt x="479067" y="471938"/>
                    <a:pt x="470014" y="471938"/>
                  </a:cubicBezTo>
                  <a:close/>
                  <a:moveTo>
                    <a:pt x="381212" y="203804"/>
                  </a:moveTo>
                  <a:cubicBezTo>
                    <a:pt x="377456" y="203804"/>
                    <a:pt x="374278" y="206881"/>
                    <a:pt x="374278" y="210728"/>
                  </a:cubicBezTo>
                  <a:lnTo>
                    <a:pt x="374278" y="456646"/>
                  </a:lnTo>
                  <a:lnTo>
                    <a:pt x="565653" y="456646"/>
                  </a:lnTo>
                  <a:lnTo>
                    <a:pt x="565653" y="210728"/>
                  </a:lnTo>
                  <a:cubicBezTo>
                    <a:pt x="565653" y="206881"/>
                    <a:pt x="562571" y="203804"/>
                    <a:pt x="558719" y="203804"/>
                  </a:cubicBezTo>
                  <a:close/>
                  <a:moveTo>
                    <a:pt x="381212" y="163218"/>
                  </a:moveTo>
                  <a:lnTo>
                    <a:pt x="558719" y="163218"/>
                  </a:lnTo>
                  <a:cubicBezTo>
                    <a:pt x="585013" y="163218"/>
                    <a:pt x="606298" y="184473"/>
                    <a:pt x="606298" y="210728"/>
                  </a:cubicBezTo>
                  <a:lnTo>
                    <a:pt x="606298" y="475592"/>
                  </a:lnTo>
                  <a:cubicBezTo>
                    <a:pt x="606298" y="501752"/>
                    <a:pt x="585013" y="523102"/>
                    <a:pt x="558719" y="523102"/>
                  </a:cubicBezTo>
                  <a:lnTo>
                    <a:pt x="381212" y="523102"/>
                  </a:lnTo>
                  <a:cubicBezTo>
                    <a:pt x="355015" y="523102"/>
                    <a:pt x="333633" y="501752"/>
                    <a:pt x="333633" y="475592"/>
                  </a:cubicBezTo>
                  <a:lnTo>
                    <a:pt x="333633" y="210728"/>
                  </a:lnTo>
                  <a:cubicBezTo>
                    <a:pt x="333633" y="184473"/>
                    <a:pt x="355015" y="163218"/>
                    <a:pt x="381212" y="163218"/>
                  </a:cubicBezTo>
                  <a:close/>
                  <a:moveTo>
                    <a:pt x="43821" y="0"/>
                  </a:moveTo>
                  <a:lnTo>
                    <a:pt x="452369" y="0"/>
                  </a:lnTo>
                  <a:cubicBezTo>
                    <a:pt x="476543" y="0"/>
                    <a:pt x="496287" y="19715"/>
                    <a:pt x="496287" y="43855"/>
                  </a:cubicBezTo>
                  <a:lnTo>
                    <a:pt x="496287" y="122621"/>
                  </a:lnTo>
                  <a:lnTo>
                    <a:pt x="455644" y="122621"/>
                  </a:lnTo>
                  <a:lnTo>
                    <a:pt x="455644" y="43855"/>
                  </a:lnTo>
                  <a:cubicBezTo>
                    <a:pt x="455644" y="42027"/>
                    <a:pt x="454199" y="40585"/>
                    <a:pt x="452369" y="40585"/>
                  </a:cubicBezTo>
                  <a:lnTo>
                    <a:pt x="43821" y="40585"/>
                  </a:lnTo>
                  <a:cubicBezTo>
                    <a:pt x="42088" y="40585"/>
                    <a:pt x="40643" y="42027"/>
                    <a:pt x="40643" y="43855"/>
                  </a:cubicBezTo>
                  <a:lnTo>
                    <a:pt x="40643" y="320738"/>
                  </a:lnTo>
                  <a:cubicBezTo>
                    <a:pt x="40643" y="322469"/>
                    <a:pt x="42088" y="323911"/>
                    <a:pt x="43821" y="323911"/>
                  </a:cubicBezTo>
                  <a:lnTo>
                    <a:pt x="292976" y="323911"/>
                  </a:lnTo>
                  <a:lnTo>
                    <a:pt x="292976" y="344204"/>
                  </a:lnTo>
                  <a:lnTo>
                    <a:pt x="292976" y="418161"/>
                  </a:lnTo>
                  <a:lnTo>
                    <a:pt x="292976" y="458746"/>
                  </a:lnTo>
                  <a:lnTo>
                    <a:pt x="159201" y="458746"/>
                  </a:lnTo>
                  <a:cubicBezTo>
                    <a:pt x="148029" y="458746"/>
                    <a:pt x="138879" y="449610"/>
                    <a:pt x="138879" y="438454"/>
                  </a:cubicBezTo>
                  <a:cubicBezTo>
                    <a:pt x="138879" y="427201"/>
                    <a:pt x="148029" y="418161"/>
                    <a:pt x="159201" y="418161"/>
                  </a:cubicBezTo>
                  <a:lnTo>
                    <a:pt x="180774" y="418161"/>
                  </a:lnTo>
                  <a:lnTo>
                    <a:pt x="180774" y="364497"/>
                  </a:lnTo>
                  <a:lnTo>
                    <a:pt x="43821" y="364497"/>
                  </a:lnTo>
                  <a:cubicBezTo>
                    <a:pt x="19647" y="364497"/>
                    <a:pt x="0" y="344877"/>
                    <a:pt x="0" y="320738"/>
                  </a:cubicBezTo>
                  <a:lnTo>
                    <a:pt x="0" y="43855"/>
                  </a:lnTo>
                  <a:cubicBezTo>
                    <a:pt x="0" y="19715"/>
                    <a:pt x="19647" y="0"/>
                    <a:pt x="43821" y="0"/>
                  </a:cubicBezTo>
                  <a:close/>
                </a:path>
              </a:pathLst>
            </a:custGeom>
            <a:solidFill>
              <a:schemeClr val="tx1">
                <a:lumMod val="50000"/>
                <a:lumOff val="50000"/>
              </a:schemeClr>
            </a:solidFill>
            <a:ln>
              <a:noFill/>
            </a:ln>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7" name="îSľîde">
              <a:extLst>
                <a:ext uri="{FF2B5EF4-FFF2-40B4-BE49-F238E27FC236}">
                  <a16:creationId xmlns:a16="http://schemas.microsoft.com/office/drawing/2014/main" id="{7CFA3A28-8565-4451-9510-24AE8686F18A}"/>
                </a:ext>
              </a:extLst>
            </p:cNvPr>
            <p:cNvSpPr/>
            <p:nvPr/>
          </p:nvSpPr>
          <p:spPr bwMode="auto">
            <a:xfrm>
              <a:off x="7250611" y="3423903"/>
              <a:ext cx="336880" cy="290653"/>
            </a:xfrm>
            <a:custGeom>
              <a:avLst/>
              <a:gdLst>
                <a:gd name="connsiteX0" fmla="*/ 470014 w 606298"/>
                <a:gd name="connsiteY0" fmla="*/ 471938 h 523102"/>
                <a:gd name="connsiteX1" fmla="*/ 453448 w 606298"/>
                <a:gd name="connsiteY1" fmla="*/ 488480 h 523102"/>
                <a:gd name="connsiteX2" fmla="*/ 455470 w 606298"/>
                <a:gd name="connsiteY2" fmla="*/ 495885 h 523102"/>
                <a:gd name="connsiteX3" fmla="*/ 470014 w 606298"/>
                <a:gd name="connsiteY3" fmla="*/ 504925 h 523102"/>
                <a:gd name="connsiteX4" fmla="*/ 484557 w 606298"/>
                <a:gd name="connsiteY4" fmla="*/ 495885 h 523102"/>
                <a:gd name="connsiteX5" fmla="*/ 486483 w 606298"/>
                <a:gd name="connsiteY5" fmla="*/ 488480 h 523102"/>
                <a:gd name="connsiteX6" fmla="*/ 470014 w 606298"/>
                <a:gd name="connsiteY6" fmla="*/ 471938 h 523102"/>
                <a:gd name="connsiteX7" fmla="*/ 381212 w 606298"/>
                <a:gd name="connsiteY7" fmla="*/ 203804 h 523102"/>
                <a:gd name="connsiteX8" fmla="*/ 374278 w 606298"/>
                <a:gd name="connsiteY8" fmla="*/ 210728 h 523102"/>
                <a:gd name="connsiteX9" fmla="*/ 374278 w 606298"/>
                <a:gd name="connsiteY9" fmla="*/ 456646 h 523102"/>
                <a:gd name="connsiteX10" fmla="*/ 565653 w 606298"/>
                <a:gd name="connsiteY10" fmla="*/ 456646 h 523102"/>
                <a:gd name="connsiteX11" fmla="*/ 565653 w 606298"/>
                <a:gd name="connsiteY11" fmla="*/ 210728 h 523102"/>
                <a:gd name="connsiteX12" fmla="*/ 558719 w 606298"/>
                <a:gd name="connsiteY12" fmla="*/ 203804 h 523102"/>
                <a:gd name="connsiteX13" fmla="*/ 381212 w 606298"/>
                <a:gd name="connsiteY13" fmla="*/ 163218 h 523102"/>
                <a:gd name="connsiteX14" fmla="*/ 558719 w 606298"/>
                <a:gd name="connsiteY14" fmla="*/ 163218 h 523102"/>
                <a:gd name="connsiteX15" fmla="*/ 606298 w 606298"/>
                <a:gd name="connsiteY15" fmla="*/ 210728 h 523102"/>
                <a:gd name="connsiteX16" fmla="*/ 606298 w 606298"/>
                <a:gd name="connsiteY16" fmla="*/ 475592 h 523102"/>
                <a:gd name="connsiteX17" fmla="*/ 558719 w 606298"/>
                <a:gd name="connsiteY17" fmla="*/ 523102 h 523102"/>
                <a:gd name="connsiteX18" fmla="*/ 381212 w 606298"/>
                <a:gd name="connsiteY18" fmla="*/ 523102 h 523102"/>
                <a:gd name="connsiteX19" fmla="*/ 333633 w 606298"/>
                <a:gd name="connsiteY19" fmla="*/ 475592 h 523102"/>
                <a:gd name="connsiteX20" fmla="*/ 333633 w 606298"/>
                <a:gd name="connsiteY20" fmla="*/ 210728 h 523102"/>
                <a:gd name="connsiteX21" fmla="*/ 381212 w 606298"/>
                <a:gd name="connsiteY21" fmla="*/ 163218 h 523102"/>
                <a:gd name="connsiteX22" fmla="*/ 43821 w 606298"/>
                <a:gd name="connsiteY22" fmla="*/ 0 h 523102"/>
                <a:gd name="connsiteX23" fmla="*/ 452369 w 606298"/>
                <a:gd name="connsiteY23" fmla="*/ 0 h 523102"/>
                <a:gd name="connsiteX24" fmla="*/ 496287 w 606298"/>
                <a:gd name="connsiteY24" fmla="*/ 43855 h 523102"/>
                <a:gd name="connsiteX25" fmla="*/ 496287 w 606298"/>
                <a:gd name="connsiteY25" fmla="*/ 122621 h 523102"/>
                <a:gd name="connsiteX26" fmla="*/ 455644 w 606298"/>
                <a:gd name="connsiteY26" fmla="*/ 122621 h 523102"/>
                <a:gd name="connsiteX27" fmla="*/ 455644 w 606298"/>
                <a:gd name="connsiteY27" fmla="*/ 43855 h 523102"/>
                <a:gd name="connsiteX28" fmla="*/ 452369 w 606298"/>
                <a:gd name="connsiteY28" fmla="*/ 40585 h 523102"/>
                <a:gd name="connsiteX29" fmla="*/ 43821 w 606298"/>
                <a:gd name="connsiteY29" fmla="*/ 40585 h 523102"/>
                <a:gd name="connsiteX30" fmla="*/ 40643 w 606298"/>
                <a:gd name="connsiteY30" fmla="*/ 43855 h 523102"/>
                <a:gd name="connsiteX31" fmla="*/ 40643 w 606298"/>
                <a:gd name="connsiteY31" fmla="*/ 320738 h 523102"/>
                <a:gd name="connsiteX32" fmla="*/ 43821 w 606298"/>
                <a:gd name="connsiteY32" fmla="*/ 323911 h 523102"/>
                <a:gd name="connsiteX33" fmla="*/ 292976 w 606298"/>
                <a:gd name="connsiteY33" fmla="*/ 323911 h 523102"/>
                <a:gd name="connsiteX34" fmla="*/ 292976 w 606298"/>
                <a:gd name="connsiteY34" fmla="*/ 344204 h 523102"/>
                <a:gd name="connsiteX35" fmla="*/ 292976 w 606298"/>
                <a:gd name="connsiteY35" fmla="*/ 418161 h 523102"/>
                <a:gd name="connsiteX36" fmla="*/ 292976 w 606298"/>
                <a:gd name="connsiteY36" fmla="*/ 458746 h 523102"/>
                <a:gd name="connsiteX37" fmla="*/ 159201 w 606298"/>
                <a:gd name="connsiteY37" fmla="*/ 458746 h 523102"/>
                <a:gd name="connsiteX38" fmla="*/ 138879 w 606298"/>
                <a:gd name="connsiteY38" fmla="*/ 438454 h 523102"/>
                <a:gd name="connsiteX39" fmla="*/ 159201 w 606298"/>
                <a:gd name="connsiteY39" fmla="*/ 418161 h 523102"/>
                <a:gd name="connsiteX40" fmla="*/ 180774 w 606298"/>
                <a:gd name="connsiteY40" fmla="*/ 418161 h 523102"/>
                <a:gd name="connsiteX41" fmla="*/ 180774 w 606298"/>
                <a:gd name="connsiteY41" fmla="*/ 364497 h 523102"/>
                <a:gd name="connsiteX42" fmla="*/ 43821 w 606298"/>
                <a:gd name="connsiteY42" fmla="*/ 364497 h 523102"/>
                <a:gd name="connsiteX43" fmla="*/ 0 w 606298"/>
                <a:gd name="connsiteY43" fmla="*/ 320738 h 523102"/>
                <a:gd name="connsiteX44" fmla="*/ 0 w 606298"/>
                <a:gd name="connsiteY44" fmla="*/ 43855 h 523102"/>
                <a:gd name="connsiteX45" fmla="*/ 43821 w 606298"/>
                <a:gd name="connsiteY45" fmla="*/ 0 h 52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06298" h="523102">
                  <a:moveTo>
                    <a:pt x="470014" y="471938"/>
                  </a:moveTo>
                  <a:cubicBezTo>
                    <a:pt x="460864" y="471938"/>
                    <a:pt x="453448" y="479343"/>
                    <a:pt x="453448" y="488480"/>
                  </a:cubicBezTo>
                  <a:cubicBezTo>
                    <a:pt x="453448" y="491172"/>
                    <a:pt x="454314" y="493577"/>
                    <a:pt x="455470" y="495885"/>
                  </a:cubicBezTo>
                  <a:cubicBezTo>
                    <a:pt x="458167" y="501175"/>
                    <a:pt x="463561" y="504925"/>
                    <a:pt x="470014" y="504925"/>
                  </a:cubicBezTo>
                  <a:cubicBezTo>
                    <a:pt x="476370" y="504925"/>
                    <a:pt x="481764" y="501175"/>
                    <a:pt x="484557" y="495885"/>
                  </a:cubicBezTo>
                  <a:cubicBezTo>
                    <a:pt x="485713" y="493577"/>
                    <a:pt x="486483" y="491172"/>
                    <a:pt x="486483" y="488480"/>
                  </a:cubicBezTo>
                  <a:cubicBezTo>
                    <a:pt x="486483" y="479343"/>
                    <a:pt x="479067" y="471938"/>
                    <a:pt x="470014" y="471938"/>
                  </a:cubicBezTo>
                  <a:close/>
                  <a:moveTo>
                    <a:pt x="381212" y="203804"/>
                  </a:moveTo>
                  <a:cubicBezTo>
                    <a:pt x="377456" y="203804"/>
                    <a:pt x="374278" y="206881"/>
                    <a:pt x="374278" y="210728"/>
                  </a:cubicBezTo>
                  <a:lnTo>
                    <a:pt x="374278" y="456646"/>
                  </a:lnTo>
                  <a:lnTo>
                    <a:pt x="565653" y="456646"/>
                  </a:lnTo>
                  <a:lnTo>
                    <a:pt x="565653" y="210728"/>
                  </a:lnTo>
                  <a:cubicBezTo>
                    <a:pt x="565653" y="206881"/>
                    <a:pt x="562571" y="203804"/>
                    <a:pt x="558719" y="203804"/>
                  </a:cubicBezTo>
                  <a:close/>
                  <a:moveTo>
                    <a:pt x="381212" y="163218"/>
                  </a:moveTo>
                  <a:lnTo>
                    <a:pt x="558719" y="163218"/>
                  </a:lnTo>
                  <a:cubicBezTo>
                    <a:pt x="585013" y="163218"/>
                    <a:pt x="606298" y="184473"/>
                    <a:pt x="606298" y="210728"/>
                  </a:cubicBezTo>
                  <a:lnTo>
                    <a:pt x="606298" y="475592"/>
                  </a:lnTo>
                  <a:cubicBezTo>
                    <a:pt x="606298" y="501752"/>
                    <a:pt x="585013" y="523102"/>
                    <a:pt x="558719" y="523102"/>
                  </a:cubicBezTo>
                  <a:lnTo>
                    <a:pt x="381212" y="523102"/>
                  </a:lnTo>
                  <a:cubicBezTo>
                    <a:pt x="355015" y="523102"/>
                    <a:pt x="333633" y="501752"/>
                    <a:pt x="333633" y="475592"/>
                  </a:cubicBezTo>
                  <a:lnTo>
                    <a:pt x="333633" y="210728"/>
                  </a:lnTo>
                  <a:cubicBezTo>
                    <a:pt x="333633" y="184473"/>
                    <a:pt x="355015" y="163218"/>
                    <a:pt x="381212" y="163218"/>
                  </a:cubicBezTo>
                  <a:close/>
                  <a:moveTo>
                    <a:pt x="43821" y="0"/>
                  </a:moveTo>
                  <a:lnTo>
                    <a:pt x="452369" y="0"/>
                  </a:lnTo>
                  <a:cubicBezTo>
                    <a:pt x="476543" y="0"/>
                    <a:pt x="496287" y="19715"/>
                    <a:pt x="496287" y="43855"/>
                  </a:cubicBezTo>
                  <a:lnTo>
                    <a:pt x="496287" y="122621"/>
                  </a:lnTo>
                  <a:lnTo>
                    <a:pt x="455644" y="122621"/>
                  </a:lnTo>
                  <a:lnTo>
                    <a:pt x="455644" y="43855"/>
                  </a:lnTo>
                  <a:cubicBezTo>
                    <a:pt x="455644" y="42027"/>
                    <a:pt x="454199" y="40585"/>
                    <a:pt x="452369" y="40585"/>
                  </a:cubicBezTo>
                  <a:lnTo>
                    <a:pt x="43821" y="40585"/>
                  </a:lnTo>
                  <a:cubicBezTo>
                    <a:pt x="42088" y="40585"/>
                    <a:pt x="40643" y="42027"/>
                    <a:pt x="40643" y="43855"/>
                  </a:cubicBezTo>
                  <a:lnTo>
                    <a:pt x="40643" y="320738"/>
                  </a:lnTo>
                  <a:cubicBezTo>
                    <a:pt x="40643" y="322469"/>
                    <a:pt x="42088" y="323911"/>
                    <a:pt x="43821" y="323911"/>
                  </a:cubicBezTo>
                  <a:lnTo>
                    <a:pt x="292976" y="323911"/>
                  </a:lnTo>
                  <a:lnTo>
                    <a:pt x="292976" y="344204"/>
                  </a:lnTo>
                  <a:lnTo>
                    <a:pt x="292976" y="418161"/>
                  </a:lnTo>
                  <a:lnTo>
                    <a:pt x="292976" y="458746"/>
                  </a:lnTo>
                  <a:lnTo>
                    <a:pt x="159201" y="458746"/>
                  </a:lnTo>
                  <a:cubicBezTo>
                    <a:pt x="148029" y="458746"/>
                    <a:pt x="138879" y="449610"/>
                    <a:pt x="138879" y="438454"/>
                  </a:cubicBezTo>
                  <a:cubicBezTo>
                    <a:pt x="138879" y="427201"/>
                    <a:pt x="148029" y="418161"/>
                    <a:pt x="159201" y="418161"/>
                  </a:cubicBezTo>
                  <a:lnTo>
                    <a:pt x="180774" y="418161"/>
                  </a:lnTo>
                  <a:lnTo>
                    <a:pt x="180774" y="364497"/>
                  </a:lnTo>
                  <a:lnTo>
                    <a:pt x="43821" y="364497"/>
                  </a:lnTo>
                  <a:cubicBezTo>
                    <a:pt x="19647" y="364497"/>
                    <a:pt x="0" y="344877"/>
                    <a:pt x="0" y="320738"/>
                  </a:cubicBezTo>
                  <a:lnTo>
                    <a:pt x="0" y="43855"/>
                  </a:lnTo>
                  <a:cubicBezTo>
                    <a:pt x="0" y="19715"/>
                    <a:pt x="19647" y="0"/>
                    <a:pt x="43821" y="0"/>
                  </a:cubicBezTo>
                  <a:close/>
                </a:path>
              </a:pathLst>
            </a:custGeom>
            <a:solidFill>
              <a:schemeClr val="tx1">
                <a:lumMod val="50000"/>
                <a:lumOff val="50000"/>
              </a:schemeClr>
            </a:solidFill>
            <a:ln>
              <a:noFill/>
            </a:ln>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8" name="isļídè">
              <a:extLst>
                <a:ext uri="{FF2B5EF4-FFF2-40B4-BE49-F238E27FC236}">
                  <a16:creationId xmlns:a16="http://schemas.microsoft.com/office/drawing/2014/main" id="{582EEC4F-AC58-4FCC-84CA-5B74E1A40397}"/>
                </a:ext>
              </a:extLst>
            </p:cNvPr>
            <p:cNvSpPr/>
            <p:nvPr/>
          </p:nvSpPr>
          <p:spPr bwMode="auto">
            <a:xfrm>
              <a:off x="4610356" y="3565501"/>
              <a:ext cx="336880" cy="290653"/>
            </a:xfrm>
            <a:custGeom>
              <a:avLst/>
              <a:gdLst>
                <a:gd name="connsiteX0" fmla="*/ 470014 w 606298"/>
                <a:gd name="connsiteY0" fmla="*/ 471938 h 523102"/>
                <a:gd name="connsiteX1" fmla="*/ 453448 w 606298"/>
                <a:gd name="connsiteY1" fmla="*/ 488480 h 523102"/>
                <a:gd name="connsiteX2" fmla="*/ 455470 w 606298"/>
                <a:gd name="connsiteY2" fmla="*/ 495885 h 523102"/>
                <a:gd name="connsiteX3" fmla="*/ 470014 w 606298"/>
                <a:gd name="connsiteY3" fmla="*/ 504925 h 523102"/>
                <a:gd name="connsiteX4" fmla="*/ 484557 w 606298"/>
                <a:gd name="connsiteY4" fmla="*/ 495885 h 523102"/>
                <a:gd name="connsiteX5" fmla="*/ 486483 w 606298"/>
                <a:gd name="connsiteY5" fmla="*/ 488480 h 523102"/>
                <a:gd name="connsiteX6" fmla="*/ 470014 w 606298"/>
                <a:gd name="connsiteY6" fmla="*/ 471938 h 523102"/>
                <a:gd name="connsiteX7" fmla="*/ 381212 w 606298"/>
                <a:gd name="connsiteY7" fmla="*/ 203804 h 523102"/>
                <a:gd name="connsiteX8" fmla="*/ 374278 w 606298"/>
                <a:gd name="connsiteY8" fmla="*/ 210728 h 523102"/>
                <a:gd name="connsiteX9" fmla="*/ 374278 w 606298"/>
                <a:gd name="connsiteY9" fmla="*/ 456646 h 523102"/>
                <a:gd name="connsiteX10" fmla="*/ 565653 w 606298"/>
                <a:gd name="connsiteY10" fmla="*/ 456646 h 523102"/>
                <a:gd name="connsiteX11" fmla="*/ 565653 w 606298"/>
                <a:gd name="connsiteY11" fmla="*/ 210728 h 523102"/>
                <a:gd name="connsiteX12" fmla="*/ 558719 w 606298"/>
                <a:gd name="connsiteY12" fmla="*/ 203804 h 523102"/>
                <a:gd name="connsiteX13" fmla="*/ 381212 w 606298"/>
                <a:gd name="connsiteY13" fmla="*/ 163218 h 523102"/>
                <a:gd name="connsiteX14" fmla="*/ 558719 w 606298"/>
                <a:gd name="connsiteY14" fmla="*/ 163218 h 523102"/>
                <a:gd name="connsiteX15" fmla="*/ 606298 w 606298"/>
                <a:gd name="connsiteY15" fmla="*/ 210728 h 523102"/>
                <a:gd name="connsiteX16" fmla="*/ 606298 w 606298"/>
                <a:gd name="connsiteY16" fmla="*/ 475592 h 523102"/>
                <a:gd name="connsiteX17" fmla="*/ 558719 w 606298"/>
                <a:gd name="connsiteY17" fmla="*/ 523102 h 523102"/>
                <a:gd name="connsiteX18" fmla="*/ 381212 w 606298"/>
                <a:gd name="connsiteY18" fmla="*/ 523102 h 523102"/>
                <a:gd name="connsiteX19" fmla="*/ 333633 w 606298"/>
                <a:gd name="connsiteY19" fmla="*/ 475592 h 523102"/>
                <a:gd name="connsiteX20" fmla="*/ 333633 w 606298"/>
                <a:gd name="connsiteY20" fmla="*/ 210728 h 523102"/>
                <a:gd name="connsiteX21" fmla="*/ 381212 w 606298"/>
                <a:gd name="connsiteY21" fmla="*/ 163218 h 523102"/>
                <a:gd name="connsiteX22" fmla="*/ 43821 w 606298"/>
                <a:gd name="connsiteY22" fmla="*/ 0 h 523102"/>
                <a:gd name="connsiteX23" fmla="*/ 452369 w 606298"/>
                <a:gd name="connsiteY23" fmla="*/ 0 h 523102"/>
                <a:gd name="connsiteX24" fmla="*/ 496287 w 606298"/>
                <a:gd name="connsiteY24" fmla="*/ 43855 h 523102"/>
                <a:gd name="connsiteX25" fmla="*/ 496287 w 606298"/>
                <a:gd name="connsiteY25" fmla="*/ 122621 h 523102"/>
                <a:gd name="connsiteX26" fmla="*/ 455644 w 606298"/>
                <a:gd name="connsiteY26" fmla="*/ 122621 h 523102"/>
                <a:gd name="connsiteX27" fmla="*/ 455644 w 606298"/>
                <a:gd name="connsiteY27" fmla="*/ 43855 h 523102"/>
                <a:gd name="connsiteX28" fmla="*/ 452369 w 606298"/>
                <a:gd name="connsiteY28" fmla="*/ 40585 h 523102"/>
                <a:gd name="connsiteX29" fmla="*/ 43821 w 606298"/>
                <a:gd name="connsiteY29" fmla="*/ 40585 h 523102"/>
                <a:gd name="connsiteX30" fmla="*/ 40643 w 606298"/>
                <a:gd name="connsiteY30" fmla="*/ 43855 h 523102"/>
                <a:gd name="connsiteX31" fmla="*/ 40643 w 606298"/>
                <a:gd name="connsiteY31" fmla="*/ 320738 h 523102"/>
                <a:gd name="connsiteX32" fmla="*/ 43821 w 606298"/>
                <a:gd name="connsiteY32" fmla="*/ 323911 h 523102"/>
                <a:gd name="connsiteX33" fmla="*/ 292976 w 606298"/>
                <a:gd name="connsiteY33" fmla="*/ 323911 h 523102"/>
                <a:gd name="connsiteX34" fmla="*/ 292976 w 606298"/>
                <a:gd name="connsiteY34" fmla="*/ 344204 h 523102"/>
                <a:gd name="connsiteX35" fmla="*/ 292976 w 606298"/>
                <a:gd name="connsiteY35" fmla="*/ 418161 h 523102"/>
                <a:gd name="connsiteX36" fmla="*/ 292976 w 606298"/>
                <a:gd name="connsiteY36" fmla="*/ 458746 h 523102"/>
                <a:gd name="connsiteX37" fmla="*/ 159201 w 606298"/>
                <a:gd name="connsiteY37" fmla="*/ 458746 h 523102"/>
                <a:gd name="connsiteX38" fmla="*/ 138879 w 606298"/>
                <a:gd name="connsiteY38" fmla="*/ 438454 h 523102"/>
                <a:gd name="connsiteX39" fmla="*/ 159201 w 606298"/>
                <a:gd name="connsiteY39" fmla="*/ 418161 h 523102"/>
                <a:gd name="connsiteX40" fmla="*/ 180774 w 606298"/>
                <a:gd name="connsiteY40" fmla="*/ 418161 h 523102"/>
                <a:gd name="connsiteX41" fmla="*/ 180774 w 606298"/>
                <a:gd name="connsiteY41" fmla="*/ 364497 h 523102"/>
                <a:gd name="connsiteX42" fmla="*/ 43821 w 606298"/>
                <a:gd name="connsiteY42" fmla="*/ 364497 h 523102"/>
                <a:gd name="connsiteX43" fmla="*/ 0 w 606298"/>
                <a:gd name="connsiteY43" fmla="*/ 320738 h 523102"/>
                <a:gd name="connsiteX44" fmla="*/ 0 w 606298"/>
                <a:gd name="connsiteY44" fmla="*/ 43855 h 523102"/>
                <a:gd name="connsiteX45" fmla="*/ 43821 w 606298"/>
                <a:gd name="connsiteY45" fmla="*/ 0 h 52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06298" h="523102">
                  <a:moveTo>
                    <a:pt x="470014" y="471938"/>
                  </a:moveTo>
                  <a:cubicBezTo>
                    <a:pt x="460864" y="471938"/>
                    <a:pt x="453448" y="479343"/>
                    <a:pt x="453448" y="488480"/>
                  </a:cubicBezTo>
                  <a:cubicBezTo>
                    <a:pt x="453448" y="491172"/>
                    <a:pt x="454314" y="493577"/>
                    <a:pt x="455470" y="495885"/>
                  </a:cubicBezTo>
                  <a:cubicBezTo>
                    <a:pt x="458167" y="501175"/>
                    <a:pt x="463561" y="504925"/>
                    <a:pt x="470014" y="504925"/>
                  </a:cubicBezTo>
                  <a:cubicBezTo>
                    <a:pt x="476370" y="504925"/>
                    <a:pt x="481764" y="501175"/>
                    <a:pt x="484557" y="495885"/>
                  </a:cubicBezTo>
                  <a:cubicBezTo>
                    <a:pt x="485713" y="493577"/>
                    <a:pt x="486483" y="491172"/>
                    <a:pt x="486483" y="488480"/>
                  </a:cubicBezTo>
                  <a:cubicBezTo>
                    <a:pt x="486483" y="479343"/>
                    <a:pt x="479067" y="471938"/>
                    <a:pt x="470014" y="471938"/>
                  </a:cubicBezTo>
                  <a:close/>
                  <a:moveTo>
                    <a:pt x="381212" y="203804"/>
                  </a:moveTo>
                  <a:cubicBezTo>
                    <a:pt x="377456" y="203804"/>
                    <a:pt x="374278" y="206881"/>
                    <a:pt x="374278" y="210728"/>
                  </a:cubicBezTo>
                  <a:lnTo>
                    <a:pt x="374278" y="456646"/>
                  </a:lnTo>
                  <a:lnTo>
                    <a:pt x="565653" y="456646"/>
                  </a:lnTo>
                  <a:lnTo>
                    <a:pt x="565653" y="210728"/>
                  </a:lnTo>
                  <a:cubicBezTo>
                    <a:pt x="565653" y="206881"/>
                    <a:pt x="562571" y="203804"/>
                    <a:pt x="558719" y="203804"/>
                  </a:cubicBezTo>
                  <a:close/>
                  <a:moveTo>
                    <a:pt x="381212" y="163218"/>
                  </a:moveTo>
                  <a:lnTo>
                    <a:pt x="558719" y="163218"/>
                  </a:lnTo>
                  <a:cubicBezTo>
                    <a:pt x="585013" y="163218"/>
                    <a:pt x="606298" y="184473"/>
                    <a:pt x="606298" y="210728"/>
                  </a:cubicBezTo>
                  <a:lnTo>
                    <a:pt x="606298" y="475592"/>
                  </a:lnTo>
                  <a:cubicBezTo>
                    <a:pt x="606298" y="501752"/>
                    <a:pt x="585013" y="523102"/>
                    <a:pt x="558719" y="523102"/>
                  </a:cubicBezTo>
                  <a:lnTo>
                    <a:pt x="381212" y="523102"/>
                  </a:lnTo>
                  <a:cubicBezTo>
                    <a:pt x="355015" y="523102"/>
                    <a:pt x="333633" y="501752"/>
                    <a:pt x="333633" y="475592"/>
                  </a:cubicBezTo>
                  <a:lnTo>
                    <a:pt x="333633" y="210728"/>
                  </a:lnTo>
                  <a:cubicBezTo>
                    <a:pt x="333633" y="184473"/>
                    <a:pt x="355015" y="163218"/>
                    <a:pt x="381212" y="163218"/>
                  </a:cubicBezTo>
                  <a:close/>
                  <a:moveTo>
                    <a:pt x="43821" y="0"/>
                  </a:moveTo>
                  <a:lnTo>
                    <a:pt x="452369" y="0"/>
                  </a:lnTo>
                  <a:cubicBezTo>
                    <a:pt x="476543" y="0"/>
                    <a:pt x="496287" y="19715"/>
                    <a:pt x="496287" y="43855"/>
                  </a:cubicBezTo>
                  <a:lnTo>
                    <a:pt x="496287" y="122621"/>
                  </a:lnTo>
                  <a:lnTo>
                    <a:pt x="455644" y="122621"/>
                  </a:lnTo>
                  <a:lnTo>
                    <a:pt x="455644" y="43855"/>
                  </a:lnTo>
                  <a:cubicBezTo>
                    <a:pt x="455644" y="42027"/>
                    <a:pt x="454199" y="40585"/>
                    <a:pt x="452369" y="40585"/>
                  </a:cubicBezTo>
                  <a:lnTo>
                    <a:pt x="43821" y="40585"/>
                  </a:lnTo>
                  <a:cubicBezTo>
                    <a:pt x="42088" y="40585"/>
                    <a:pt x="40643" y="42027"/>
                    <a:pt x="40643" y="43855"/>
                  </a:cubicBezTo>
                  <a:lnTo>
                    <a:pt x="40643" y="320738"/>
                  </a:lnTo>
                  <a:cubicBezTo>
                    <a:pt x="40643" y="322469"/>
                    <a:pt x="42088" y="323911"/>
                    <a:pt x="43821" y="323911"/>
                  </a:cubicBezTo>
                  <a:lnTo>
                    <a:pt x="292976" y="323911"/>
                  </a:lnTo>
                  <a:lnTo>
                    <a:pt x="292976" y="344204"/>
                  </a:lnTo>
                  <a:lnTo>
                    <a:pt x="292976" y="418161"/>
                  </a:lnTo>
                  <a:lnTo>
                    <a:pt x="292976" y="458746"/>
                  </a:lnTo>
                  <a:lnTo>
                    <a:pt x="159201" y="458746"/>
                  </a:lnTo>
                  <a:cubicBezTo>
                    <a:pt x="148029" y="458746"/>
                    <a:pt x="138879" y="449610"/>
                    <a:pt x="138879" y="438454"/>
                  </a:cubicBezTo>
                  <a:cubicBezTo>
                    <a:pt x="138879" y="427201"/>
                    <a:pt x="148029" y="418161"/>
                    <a:pt x="159201" y="418161"/>
                  </a:cubicBezTo>
                  <a:lnTo>
                    <a:pt x="180774" y="418161"/>
                  </a:lnTo>
                  <a:lnTo>
                    <a:pt x="180774" y="364497"/>
                  </a:lnTo>
                  <a:lnTo>
                    <a:pt x="43821" y="364497"/>
                  </a:lnTo>
                  <a:cubicBezTo>
                    <a:pt x="19647" y="364497"/>
                    <a:pt x="0" y="344877"/>
                    <a:pt x="0" y="320738"/>
                  </a:cubicBezTo>
                  <a:lnTo>
                    <a:pt x="0" y="43855"/>
                  </a:lnTo>
                  <a:cubicBezTo>
                    <a:pt x="0" y="19715"/>
                    <a:pt x="19647" y="0"/>
                    <a:pt x="43821" y="0"/>
                  </a:cubicBezTo>
                  <a:close/>
                </a:path>
              </a:pathLst>
            </a:custGeom>
            <a:solidFill>
              <a:schemeClr val="tx1">
                <a:lumMod val="50000"/>
                <a:lumOff val="50000"/>
              </a:schemeClr>
            </a:solidFill>
            <a:ln>
              <a:noFill/>
            </a:ln>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9" name="íšlíḋè">
              <a:extLst>
                <a:ext uri="{FF2B5EF4-FFF2-40B4-BE49-F238E27FC236}">
                  <a16:creationId xmlns:a16="http://schemas.microsoft.com/office/drawing/2014/main" id="{A9A3F230-2741-4045-A70B-9CB34F8E7061}"/>
                </a:ext>
              </a:extLst>
            </p:cNvPr>
            <p:cNvSpPr/>
            <p:nvPr/>
          </p:nvSpPr>
          <p:spPr bwMode="auto">
            <a:xfrm>
              <a:off x="7164798" y="4732749"/>
              <a:ext cx="336880" cy="290653"/>
            </a:xfrm>
            <a:custGeom>
              <a:avLst/>
              <a:gdLst>
                <a:gd name="connsiteX0" fmla="*/ 470014 w 606298"/>
                <a:gd name="connsiteY0" fmla="*/ 471938 h 523102"/>
                <a:gd name="connsiteX1" fmla="*/ 453448 w 606298"/>
                <a:gd name="connsiteY1" fmla="*/ 488480 h 523102"/>
                <a:gd name="connsiteX2" fmla="*/ 455470 w 606298"/>
                <a:gd name="connsiteY2" fmla="*/ 495885 h 523102"/>
                <a:gd name="connsiteX3" fmla="*/ 470014 w 606298"/>
                <a:gd name="connsiteY3" fmla="*/ 504925 h 523102"/>
                <a:gd name="connsiteX4" fmla="*/ 484557 w 606298"/>
                <a:gd name="connsiteY4" fmla="*/ 495885 h 523102"/>
                <a:gd name="connsiteX5" fmla="*/ 486483 w 606298"/>
                <a:gd name="connsiteY5" fmla="*/ 488480 h 523102"/>
                <a:gd name="connsiteX6" fmla="*/ 470014 w 606298"/>
                <a:gd name="connsiteY6" fmla="*/ 471938 h 523102"/>
                <a:gd name="connsiteX7" fmla="*/ 381212 w 606298"/>
                <a:gd name="connsiteY7" fmla="*/ 203804 h 523102"/>
                <a:gd name="connsiteX8" fmla="*/ 374278 w 606298"/>
                <a:gd name="connsiteY8" fmla="*/ 210728 h 523102"/>
                <a:gd name="connsiteX9" fmla="*/ 374278 w 606298"/>
                <a:gd name="connsiteY9" fmla="*/ 456646 h 523102"/>
                <a:gd name="connsiteX10" fmla="*/ 565653 w 606298"/>
                <a:gd name="connsiteY10" fmla="*/ 456646 h 523102"/>
                <a:gd name="connsiteX11" fmla="*/ 565653 w 606298"/>
                <a:gd name="connsiteY11" fmla="*/ 210728 h 523102"/>
                <a:gd name="connsiteX12" fmla="*/ 558719 w 606298"/>
                <a:gd name="connsiteY12" fmla="*/ 203804 h 523102"/>
                <a:gd name="connsiteX13" fmla="*/ 381212 w 606298"/>
                <a:gd name="connsiteY13" fmla="*/ 163218 h 523102"/>
                <a:gd name="connsiteX14" fmla="*/ 558719 w 606298"/>
                <a:gd name="connsiteY14" fmla="*/ 163218 h 523102"/>
                <a:gd name="connsiteX15" fmla="*/ 606298 w 606298"/>
                <a:gd name="connsiteY15" fmla="*/ 210728 h 523102"/>
                <a:gd name="connsiteX16" fmla="*/ 606298 w 606298"/>
                <a:gd name="connsiteY16" fmla="*/ 475592 h 523102"/>
                <a:gd name="connsiteX17" fmla="*/ 558719 w 606298"/>
                <a:gd name="connsiteY17" fmla="*/ 523102 h 523102"/>
                <a:gd name="connsiteX18" fmla="*/ 381212 w 606298"/>
                <a:gd name="connsiteY18" fmla="*/ 523102 h 523102"/>
                <a:gd name="connsiteX19" fmla="*/ 333633 w 606298"/>
                <a:gd name="connsiteY19" fmla="*/ 475592 h 523102"/>
                <a:gd name="connsiteX20" fmla="*/ 333633 w 606298"/>
                <a:gd name="connsiteY20" fmla="*/ 210728 h 523102"/>
                <a:gd name="connsiteX21" fmla="*/ 381212 w 606298"/>
                <a:gd name="connsiteY21" fmla="*/ 163218 h 523102"/>
                <a:gd name="connsiteX22" fmla="*/ 43821 w 606298"/>
                <a:gd name="connsiteY22" fmla="*/ 0 h 523102"/>
                <a:gd name="connsiteX23" fmla="*/ 452369 w 606298"/>
                <a:gd name="connsiteY23" fmla="*/ 0 h 523102"/>
                <a:gd name="connsiteX24" fmla="*/ 496287 w 606298"/>
                <a:gd name="connsiteY24" fmla="*/ 43855 h 523102"/>
                <a:gd name="connsiteX25" fmla="*/ 496287 w 606298"/>
                <a:gd name="connsiteY25" fmla="*/ 122621 h 523102"/>
                <a:gd name="connsiteX26" fmla="*/ 455644 w 606298"/>
                <a:gd name="connsiteY26" fmla="*/ 122621 h 523102"/>
                <a:gd name="connsiteX27" fmla="*/ 455644 w 606298"/>
                <a:gd name="connsiteY27" fmla="*/ 43855 h 523102"/>
                <a:gd name="connsiteX28" fmla="*/ 452369 w 606298"/>
                <a:gd name="connsiteY28" fmla="*/ 40585 h 523102"/>
                <a:gd name="connsiteX29" fmla="*/ 43821 w 606298"/>
                <a:gd name="connsiteY29" fmla="*/ 40585 h 523102"/>
                <a:gd name="connsiteX30" fmla="*/ 40643 w 606298"/>
                <a:gd name="connsiteY30" fmla="*/ 43855 h 523102"/>
                <a:gd name="connsiteX31" fmla="*/ 40643 w 606298"/>
                <a:gd name="connsiteY31" fmla="*/ 320738 h 523102"/>
                <a:gd name="connsiteX32" fmla="*/ 43821 w 606298"/>
                <a:gd name="connsiteY32" fmla="*/ 323911 h 523102"/>
                <a:gd name="connsiteX33" fmla="*/ 292976 w 606298"/>
                <a:gd name="connsiteY33" fmla="*/ 323911 h 523102"/>
                <a:gd name="connsiteX34" fmla="*/ 292976 w 606298"/>
                <a:gd name="connsiteY34" fmla="*/ 344204 h 523102"/>
                <a:gd name="connsiteX35" fmla="*/ 292976 w 606298"/>
                <a:gd name="connsiteY35" fmla="*/ 418161 h 523102"/>
                <a:gd name="connsiteX36" fmla="*/ 292976 w 606298"/>
                <a:gd name="connsiteY36" fmla="*/ 458746 h 523102"/>
                <a:gd name="connsiteX37" fmla="*/ 159201 w 606298"/>
                <a:gd name="connsiteY37" fmla="*/ 458746 h 523102"/>
                <a:gd name="connsiteX38" fmla="*/ 138879 w 606298"/>
                <a:gd name="connsiteY38" fmla="*/ 438454 h 523102"/>
                <a:gd name="connsiteX39" fmla="*/ 159201 w 606298"/>
                <a:gd name="connsiteY39" fmla="*/ 418161 h 523102"/>
                <a:gd name="connsiteX40" fmla="*/ 180774 w 606298"/>
                <a:gd name="connsiteY40" fmla="*/ 418161 h 523102"/>
                <a:gd name="connsiteX41" fmla="*/ 180774 w 606298"/>
                <a:gd name="connsiteY41" fmla="*/ 364497 h 523102"/>
                <a:gd name="connsiteX42" fmla="*/ 43821 w 606298"/>
                <a:gd name="connsiteY42" fmla="*/ 364497 h 523102"/>
                <a:gd name="connsiteX43" fmla="*/ 0 w 606298"/>
                <a:gd name="connsiteY43" fmla="*/ 320738 h 523102"/>
                <a:gd name="connsiteX44" fmla="*/ 0 w 606298"/>
                <a:gd name="connsiteY44" fmla="*/ 43855 h 523102"/>
                <a:gd name="connsiteX45" fmla="*/ 43821 w 606298"/>
                <a:gd name="connsiteY45" fmla="*/ 0 h 523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06298" h="523102">
                  <a:moveTo>
                    <a:pt x="470014" y="471938"/>
                  </a:moveTo>
                  <a:cubicBezTo>
                    <a:pt x="460864" y="471938"/>
                    <a:pt x="453448" y="479343"/>
                    <a:pt x="453448" y="488480"/>
                  </a:cubicBezTo>
                  <a:cubicBezTo>
                    <a:pt x="453448" y="491172"/>
                    <a:pt x="454314" y="493577"/>
                    <a:pt x="455470" y="495885"/>
                  </a:cubicBezTo>
                  <a:cubicBezTo>
                    <a:pt x="458167" y="501175"/>
                    <a:pt x="463561" y="504925"/>
                    <a:pt x="470014" y="504925"/>
                  </a:cubicBezTo>
                  <a:cubicBezTo>
                    <a:pt x="476370" y="504925"/>
                    <a:pt x="481764" y="501175"/>
                    <a:pt x="484557" y="495885"/>
                  </a:cubicBezTo>
                  <a:cubicBezTo>
                    <a:pt x="485713" y="493577"/>
                    <a:pt x="486483" y="491172"/>
                    <a:pt x="486483" y="488480"/>
                  </a:cubicBezTo>
                  <a:cubicBezTo>
                    <a:pt x="486483" y="479343"/>
                    <a:pt x="479067" y="471938"/>
                    <a:pt x="470014" y="471938"/>
                  </a:cubicBezTo>
                  <a:close/>
                  <a:moveTo>
                    <a:pt x="381212" y="203804"/>
                  </a:moveTo>
                  <a:cubicBezTo>
                    <a:pt x="377456" y="203804"/>
                    <a:pt x="374278" y="206881"/>
                    <a:pt x="374278" y="210728"/>
                  </a:cubicBezTo>
                  <a:lnTo>
                    <a:pt x="374278" y="456646"/>
                  </a:lnTo>
                  <a:lnTo>
                    <a:pt x="565653" y="456646"/>
                  </a:lnTo>
                  <a:lnTo>
                    <a:pt x="565653" y="210728"/>
                  </a:lnTo>
                  <a:cubicBezTo>
                    <a:pt x="565653" y="206881"/>
                    <a:pt x="562571" y="203804"/>
                    <a:pt x="558719" y="203804"/>
                  </a:cubicBezTo>
                  <a:close/>
                  <a:moveTo>
                    <a:pt x="381212" y="163218"/>
                  </a:moveTo>
                  <a:lnTo>
                    <a:pt x="558719" y="163218"/>
                  </a:lnTo>
                  <a:cubicBezTo>
                    <a:pt x="585013" y="163218"/>
                    <a:pt x="606298" y="184473"/>
                    <a:pt x="606298" y="210728"/>
                  </a:cubicBezTo>
                  <a:lnTo>
                    <a:pt x="606298" y="475592"/>
                  </a:lnTo>
                  <a:cubicBezTo>
                    <a:pt x="606298" y="501752"/>
                    <a:pt x="585013" y="523102"/>
                    <a:pt x="558719" y="523102"/>
                  </a:cubicBezTo>
                  <a:lnTo>
                    <a:pt x="381212" y="523102"/>
                  </a:lnTo>
                  <a:cubicBezTo>
                    <a:pt x="355015" y="523102"/>
                    <a:pt x="333633" y="501752"/>
                    <a:pt x="333633" y="475592"/>
                  </a:cubicBezTo>
                  <a:lnTo>
                    <a:pt x="333633" y="210728"/>
                  </a:lnTo>
                  <a:cubicBezTo>
                    <a:pt x="333633" y="184473"/>
                    <a:pt x="355015" y="163218"/>
                    <a:pt x="381212" y="163218"/>
                  </a:cubicBezTo>
                  <a:close/>
                  <a:moveTo>
                    <a:pt x="43821" y="0"/>
                  </a:moveTo>
                  <a:lnTo>
                    <a:pt x="452369" y="0"/>
                  </a:lnTo>
                  <a:cubicBezTo>
                    <a:pt x="476543" y="0"/>
                    <a:pt x="496287" y="19715"/>
                    <a:pt x="496287" y="43855"/>
                  </a:cubicBezTo>
                  <a:lnTo>
                    <a:pt x="496287" y="122621"/>
                  </a:lnTo>
                  <a:lnTo>
                    <a:pt x="455644" y="122621"/>
                  </a:lnTo>
                  <a:lnTo>
                    <a:pt x="455644" y="43855"/>
                  </a:lnTo>
                  <a:cubicBezTo>
                    <a:pt x="455644" y="42027"/>
                    <a:pt x="454199" y="40585"/>
                    <a:pt x="452369" y="40585"/>
                  </a:cubicBezTo>
                  <a:lnTo>
                    <a:pt x="43821" y="40585"/>
                  </a:lnTo>
                  <a:cubicBezTo>
                    <a:pt x="42088" y="40585"/>
                    <a:pt x="40643" y="42027"/>
                    <a:pt x="40643" y="43855"/>
                  </a:cubicBezTo>
                  <a:lnTo>
                    <a:pt x="40643" y="320738"/>
                  </a:lnTo>
                  <a:cubicBezTo>
                    <a:pt x="40643" y="322469"/>
                    <a:pt x="42088" y="323911"/>
                    <a:pt x="43821" y="323911"/>
                  </a:cubicBezTo>
                  <a:lnTo>
                    <a:pt x="292976" y="323911"/>
                  </a:lnTo>
                  <a:lnTo>
                    <a:pt x="292976" y="344204"/>
                  </a:lnTo>
                  <a:lnTo>
                    <a:pt x="292976" y="418161"/>
                  </a:lnTo>
                  <a:lnTo>
                    <a:pt x="292976" y="458746"/>
                  </a:lnTo>
                  <a:lnTo>
                    <a:pt x="159201" y="458746"/>
                  </a:lnTo>
                  <a:cubicBezTo>
                    <a:pt x="148029" y="458746"/>
                    <a:pt x="138879" y="449610"/>
                    <a:pt x="138879" y="438454"/>
                  </a:cubicBezTo>
                  <a:cubicBezTo>
                    <a:pt x="138879" y="427201"/>
                    <a:pt x="148029" y="418161"/>
                    <a:pt x="159201" y="418161"/>
                  </a:cubicBezTo>
                  <a:lnTo>
                    <a:pt x="180774" y="418161"/>
                  </a:lnTo>
                  <a:lnTo>
                    <a:pt x="180774" y="364497"/>
                  </a:lnTo>
                  <a:lnTo>
                    <a:pt x="43821" y="364497"/>
                  </a:lnTo>
                  <a:cubicBezTo>
                    <a:pt x="19647" y="364497"/>
                    <a:pt x="0" y="344877"/>
                    <a:pt x="0" y="320738"/>
                  </a:cubicBezTo>
                  <a:lnTo>
                    <a:pt x="0" y="43855"/>
                  </a:lnTo>
                  <a:cubicBezTo>
                    <a:pt x="0" y="19715"/>
                    <a:pt x="19647" y="0"/>
                    <a:pt x="43821" y="0"/>
                  </a:cubicBezTo>
                  <a:close/>
                </a:path>
              </a:pathLst>
            </a:custGeom>
            <a:solidFill>
              <a:schemeClr val="accent1"/>
            </a:solidFill>
            <a:ln w="9525">
              <a:noFill/>
              <a:round/>
              <a:headEnd/>
              <a:tailEnd/>
            </a:ln>
          </p:spPr>
          <p:txBody>
            <a:bodyPr wrap="square" lIns="91440" tIns="45720" rIns="91440" bIns="45720" anchor="ctr">
              <a:normAutofit fontScale="85000" lnSpcReduction="20000"/>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grpSp>
          <p:nvGrpSpPr>
            <p:cNvPr id="30" name="ïšḻîde">
              <a:extLst>
                <a:ext uri="{FF2B5EF4-FFF2-40B4-BE49-F238E27FC236}">
                  <a16:creationId xmlns:a16="http://schemas.microsoft.com/office/drawing/2014/main" id="{AC261804-5637-463B-8635-336D2116B1A4}"/>
                </a:ext>
              </a:extLst>
            </p:cNvPr>
            <p:cNvGrpSpPr/>
            <p:nvPr/>
          </p:nvGrpSpPr>
          <p:grpSpPr>
            <a:xfrm>
              <a:off x="673101" y="1412004"/>
              <a:ext cx="1479550" cy="2298822"/>
              <a:chOff x="673100" y="1412004"/>
              <a:chExt cx="1763279" cy="2298822"/>
            </a:xfrm>
          </p:grpSpPr>
          <p:grpSp>
            <p:nvGrpSpPr>
              <p:cNvPr id="44" name="ïṥļîďe">
                <a:extLst>
                  <a:ext uri="{FF2B5EF4-FFF2-40B4-BE49-F238E27FC236}">
                    <a16:creationId xmlns:a16="http://schemas.microsoft.com/office/drawing/2014/main" id="{6DEB9A45-A0B1-49CF-9483-084BC1026E74}"/>
                  </a:ext>
                </a:extLst>
              </p:cNvPr>
              <p:cNvGrpSpPr/>
              <p:nvPr/>
            </p:nvGrpSpPr>
            <p:grpSpPr>
              <a:xfrm>
                <a:off x="673100" y="1412004"/>
                <a:ext cx="1763279" cy="918622"/>
                <a:chOff x="2548037" y="1010576"/>
                <a:chExt cx="1763279" cy="918622"/>
              </a:xfrm>
            </p:grpSpPr>
            <p:sp>
              <p:nvSpPr>
                <p:cNvPr id="48" name="í$ḷîḋè">
                  <a:extLst>
                    <a:ext uri="{FF2B5EF4-FFF2-40B4-BE49-F238E27FC236}">
                      <a16:creationId xmlns:a16="http://schemas.microsoft.com/office/drawing/2014/main" id="{48DACE44-6E90-431C-9FE3-349D8C191F4E}"/>
                    </a:ext>
                  </a:extLst>
                </p:cNvPr>
                <p:cNvSpPr/>
                <p:nvPr/>
              </p:nvSpPr>
              <p:spPr bwMode="auto">
                <a:xfrm>
                  <a:off x="2548037" y="1010576"/>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dirty="0"/>
                    <a:t>Text here</a:t>
                  </a:r>
                  <a:endParaRPr lang="zh-CN" altLang="en-US" sz="1600" b="1" kern="0" dirty="0"/>
                </a:p>
              </p:txBody>
            </p:sp>
            <p:sp>
              <p:nvSpPr>
                <p:cNvPr id="49" name="îŝļîďé">
                  <a:extLst>
                    <a:ext uri="{FF2B5EF4-FFF2-40B4-BE49-F238E27FC236}">
                      <a16:creationId xmlns:a16="http://schemas.microsoft.com/office/drawing/2014/main" id="{EDE4F4AA-0234-437F-89DD-AB47FCBF4AB2}"/>
                    </a:ext>
                  </a:extLst>
                </p:cNvPr>
                <p:cNvSpPr/>
                <p:nvPr/>
              </p:nvSpPr>
              <p:spPr>
                <a:xfrm>
                  <a:off x="2548037" y="1402690"/>
                  <a:ext cx="1763279" cy="5265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r>
                    <a:rPr lang="en-US" altLang="zh-CN" sz="1000" dirty="0">
                      <a:solidFill>
                        <a:schemeClr val="tx1"/>
                      </a:solidFill>
                    </a:rPr>
                    <a:t>Supporting text here.</a:t>
                  </a:r>
                </a:p>
                <a:p>
                  <a:pPr lvl="0"/>
                  <a:r>
                    <a:rPr lang="en-US" altLang="zh-CN" sz="1000" dirty="0">
                      <a:solidFill>
                        <a:schemeClr val="tx1"/>
                      </a:solidFill>
                    </a:rPr>
                    <a:t>……</a:t>
                  </a:r>
                </a:p>
              </p:txBody>
            </p:sp>
          </p:grpSp>
          <p:grpSp>
            <p:nvGrpSpPr>
              <p:cNvPr id="45" name="íṩlîḋê">
                <a:extLst>
                  <a:ext uri="{FF2B5EF4-FFF2-40B4-BE49-F238E27FC236}">
                    <a16:creationId xmlns:a16="http://schemas.microsoft.com/office/drawing/2014/main" id="{8BAEEF01-E478-4ED2-B732-47DF015BB1DD}"/>
                  </a:ext>
                </a:extLst>
              </p:cNvPr>
              <p:cNvGrpSpPr/>
              <p:nvPr/>
            </p:nvGrpSpPr>
            <p:grpSpPr>
              <a:xfrm>
                <a:off x="673100" y="2792204"/>
                <a:ext cx="1763279" cy="918622"/>
                <a:chOff x="2548037" y="1010576"/>
                <a:chExt cx="1763279" cy="918622"/>
              </a:xfrm>
            </p:grpSpPr>
            <p:sp>
              <p:nvSpPr>
                <p:cNvPr id="46" name="íSḷíḑé">
                  <a:extLst>
                    <a:ext uri="{FF2B5EF4-FFF2-40B4-BE49-F238E27FC236}">
                      <a16:creationId xmlns:a16="http://schemas.microsoft.com/office/drawing/2014/main" id="{48DACE44-6E90-431C-9FE3-349D8C191F4E}"/>
                    </a:ext>
                  </a:extLst>
                </p:cNvPr>
                <p:cNvSpPr/>
                <p:nvPr/>
              </p:nvSpPr>
              <p:spPr bwMode="auto">
                <a:xfrm>
                  <a:off x="2548037" y="1010576"/>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dirty="0"/>
                    <a:t>Text here</a:t>
                  </a:r>
                  <a:endParaRPr lang="zh-CN" altLang="en-US" sz="1600" b="1" kern="0" dirty="0"/>
                </a:p>
              </p:txBody>
            </p:sp>
            <p:sp>
              <p:nvSpPr>
                <p:cNvPr id="47" name="ïṧḻïḑê">
                  <a:extLst>
                    <a:ext uri="{FF2B5EF4-FFF2-40B4-BE49-F238E27FC236}">
                      <a16:creationId xmlns:a16="http://schemas.microsoft.com/office/drawing/2014/main" id="{EDE4F4AA-0234-437F-89DD-AB47FCBF4AB2}"/>
                    </a:ext>
                  </a:extLst>
                </p:cNvPr>
                <p:cNvSpPr/>
                <p:nvPr/>
              </p:nvSpPr>
              <p:spPr>
                <a:xfrm>
                  <a:off x="2548037" y="1402690"/>
                  <a:ext cx="1763279" cy="5265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r>
                    <a:rPr lang="en-US" altLang="zh-CN" sz="1000" dirty="0">
                      <a:solidFill>
                        <a:schemeClr val="tx1"/>
                      </a:solidFill>
                    </a:rPr>
                    <a:t>Supporting text here.</a:t>
                  </a:r>
                </a:p>
                <a:p>
                  <a:pPr lvl="0"/>
                  <a:r>
                    <a:rPr lang="en-US" altLang="zh-CN" sz="1000" dirty="0">
                      <a:solidFill>
                        <a:schemeClr val="tx1"/>
                      </a:solidFill>
                    </a:rPr>
                    <a:t>……</a:t>
                  </a:r>
                </a:p>
              </p:txBody>
            </p:sp>
          </p:grpSp>
        </p:grpSp>
        <p:grpSp>
          <p:nvGrpSpPr>
            <p:cNvPr id="31" name="í$ļïḍê">
              <a:extLst>
                <a:ext uri="{FF2B5EF4-FFF2-40B4-BE49-F238E27FC236}">
                  <a16:creationId xmlns:a16="http://schemas.microsoft.com/office/drawing/2014/main" id="{0693E6BF-9D9A-4215-9A00-54796A8DB871}"/>
                </a:ext>
              </a:extLst>
            </p:cNvPr>
            <p:cNvGrpSpPr/>
            <p:nvPr/>
          </p:nvGrpSpPr>
          <p:grpSpPr>
            <a:xfrm>
              <a:off x="2526900" y="1412004"/>
              <a:ext cx="1479550" cy="2298822"/>
              <a:chOff x="673100" y="1412004"/>
              <a:chExt cx="1763279" cy="2298822"/>
            </a:xfrm>
          </p:grpSpPr>
          <p:grpSp>
            <p:nvGrpSpPr>
              <p:cNvPr id="38" name="ïşḻïḋe">
                <a:extLst>
                  <a:ext uri="{FF2B5EF4-FFF2-40B4-BE49-F238E27FC236}">
                    <a16:creationId xmlns:a16="http://schemas.microsoft.com/office/drawing/2014/main" id="{922B50D8-59F8-4E21-8BD4-18E10296488C}"/>
                  </a:ext>
                </a:extLst>
              </p:cNvPr>
              <p:cNvGrpSpPr/>
              <p:nvPr/>
            </p:nvGrpSpPr>
            <p:grpSpPr>
              <a:xfrm>
                <a:off x="673100" y="1412004"/>
                <a:ext cx="1763279" cy="918622"/>
                <a:chOff x="2548037" y="1010576"/>
                <a:chExt cx="1763279" cy="918622"/>
              </a:xfrm>
            </p:grpSpPr>
            <p:sp>
              <p:nvSpPr>
                <p:cNvPr id="42" name="íṩḷîḋê">
                  <a:extLst>
                    <a:ext uri="{FF2B5EF4-FFF2-40B4-BE49-F238E27FC236}">
                      <a16:creationId xmlns:a16="http://schemas.microsoft.com/office/drawing/2014/main" id="{48DACE44-6E90-431C-9FE3-349D8C191F4E}"/>
                    </a:ext>
                  </a:extLst>
                </p:cNvPr>
                <p:cNvSpPr/>
                <p:nvPr/>
              </p:nvSpPr>
              <p:spPr bwMode="auto">
                <a:xfrm>
                  <a:off x="2548037" y="1010576"/>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dirty="0"/>
                    <a:t>Text here</a:t>
                  </a:r>
                  <a:endParaRPr lang="zh-CN" altLang="en-US" sz="1600" b="1" kern="0" dirty="0"/>
                </a:p>
              </p:txBody>
            </p:sp>
            <p:sp>
              <p:nvSpPr>
                <p:cNvPr id="43" name="iṣ1ïḋê">
                  <a:extLst>
                    <a:ext uri="{FF2B5EF4-FFF2-40B4-BE49-F238E27FC236}">
                      <a16:creationId xmlns:a16="http://schemas.microsoft.com/office/drawing/2014/main" id="{EDE4F4AA-0234-437F-89DD-AB47FCBF4AB2}"/>
                    </a:ext>
                  </a:extLst>
                </p:cNvPr>
                <p:cNvSpPr/>
                <p:nvPr/>
              </p:nvSpPr>
              <p:spPr>
                <a:xfrm>
                  <a:off x="2548037" y="1402690"/>
                  <a:ext cx="1763279" cy="5265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r>
                    <a:rPr lang="en-US" altLang="zh-CN" sz="1000" dirty="0">
                      <a:solidFill>
                        <a:schemeClr val="tx1"/>
                      </a:solidFill>
                    </a:rPr>
                    <a:t>Supporting text here.</a:t>
                  </a:r>
                </a:p>
                <a:p>
                  <a:pPr lvl="0"/>
                  <a:r>
                    <a:rPr lang="en-US" altLang="zh-CN" sz="1000" dirty="0">
                      <a:solidFill>
                        <a:schemeClr val="tx1"/>
                      </a:solidFill>
                    </a:rPr>
                    <a:t>……</a:t>
                  </a:r>
                </a:p>
              </p:txBody>
            </p:sp>
          </p:grpSp>
          <p:grpSp>
            <p:nvGrpSpPr>
              <p:cNvPr id="39" name="íṧḻîďè">
                <a:extLst>
                  <a:ext uri="{FF2B5EF4-FFF2-40B4-BE49-F238E27FC236}">
                    <a16:creationId xmlns:a16="http://schemas.microsoft.com/office/drawing/2014/main" id="{42757465-6B07-43D5-9654-4B58A4CBA757}"/>
                  </a:ext>
                </a:extLst>
              </p:cNvPr>
              <p:cNvGrpSpPr/>
              <p:nvPr/>
            </p:nvGrpSpPr>
            <p:grpSpPr>
              <a:xfrm>
                <a:off x="673100" y="2792204"/>
                <a:ext cx="1763279" cy="918622"/>
                <a:chOff x="2548037" y="1010576"/>
                <a:chExt cx="1763279" cy="918622"/>
              </a:xfrm>
            </p:grpSpPr>
            <p:sp>
              <p:nvSpPr>
                <p:cNvPr id="40" name="išḷiďè">
                  <a:extLst>
                    <a:ext uri="{FF2B5EF4-FFF2-40B4-BE49-F238E27FC236}">
                      <a16:creationId xmlns:a16="http://schemas.microsoft.com/office/drawing/2014/main" id="{48DACE44-6E90-431C-9FE3-349D8C191F4E}"/>
                    </a:ext>
                  </a:extLst>
                </p:cNvPr>
                <p:cNvSpPr/>
                <p:nvPr/>
              </p:nvSpPr>
              <p:spPr bwMode="auto">
                <a:xfrm>
                  <a:off x="2548037" y="1010576"/>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dirty="0"/>
                    <a:t>Text here</a:t>
                  </a:r>
                  <a:endParaRPr lang="zh-CN" altLang="en-US" sz="1600" b="1" kern="0" dirty="0"/>
                </a:p>
              </p:txBody>
            </p:sp>
            <p:sp>
              <p:nvSpPr>
                <p:cNvPr id="41" name="îṡ1ïďe">
                  <a:extLst>
                    <a:ext uri="{FF2B5EF4-FFF2-40B4-BE49-F238E27FC236}">
                      <a16:creationId xmlns:a16="http://schemas.microsoft.com/office/drawing/2014/main" id="{EDE4F4AA-0234-437F-89DD-AB47FCBF4AB2}"/>
                    </a:ext>
                  </a:extLst>
                </p:cNvPr>
                <p:cNvSpPr/>
                <p:nvPr/>
              </p:nvSpPr>
              <p:spPr>
                <a:xfrm>
                  <a:off x="2548037" y="1402690"/>
                  <a:ext cx="1763279" cy="5265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r>
                    <a:rPr lang="en-US" altLang="zh-CN" sz="1000" dirty="0">
                      <a:solidFill>
                        <a:schemeClr val="tx1"/>
                      </a:solidFill>
                    </a:rPr>
                    <a:t>Supporting text here.</a:t>
                  </a:r>
                </a:p>
                <a:p>
                  <a:pPr lvl="0"/>
                  <a:r>
                    <a:rPr lang="en-US" altLang="zh-CN" sz="1000" dirty="0">
                      <a:solidFill>
                        <a:schemeClr val="tx1"/>
                      </a:solidFill>
                    </a:rPr>
                    <a:t>……</a:t>
                  </a:r>
                </a:p>
              </p:txBody>
            </p:sp>
          </p:grpSp>
        </p:grpSp>
        <p:grpSp>
          <p:nvGrpSpPr>
            <p:cNvPr id="32" name="îšlídé">
              <a:extLst>
                <a:ext uri="{FF2B5EF4-FFF2-40B4-BE49-F238E27FC236}">
                  <a16:creationId xmlns:a16="http://schemas.microsoft.com/office/drawing/2014/main" id="{DC559C32-0AD4-4B90-8FC9-3B7A0443A26F}"/>
                </a:ext>
              </a:extLst>
            </p:cNvPr>
            <p:cNvGrpSpPr/>
            <p:nvPr/>
          </p:nvGrpSpPr>
          <p:grpSpPr>
            <a:xfrm>
              <a:off x="8185552" y="4253454"/>
              <a:ext cx="1479550" cy="918622"/>
              <a:chOff x="2548037" y="1010576"/>
              <a:chExt cx="1763279" cy="918622"/>
            </a:xfrm>
          </p:grpSpPr>
          <p:sp>
            <p:nvSpPr>
              <p:cNvPr id="36" name="îsľîḋè">
                <a:extLst>
                  <a:ext uri="{FF2B5EF4-FFF2-40B4-BE49-F238E27FC236}">
                    <a16:creationId xmlns:a16="http://schemas.microsoft.com/office/drawing/2014/main" id="{48DACE44-6E90-431C-9FE3-349D8C191F4E}"/>
                  </a:ext>
                </a:extLst>
              </p:cNvPr>
              <p:cNvSpPr/>
              <p:nvPr/>
            </p:nvSpPr>
            <p:spPr bwMode="auto">
              <a:xfrm>
                <a:off x="2548037" y="1010576"/>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defTabSz="914400"/>
                <a:r>
                  <a:rPr lang="en-US" altLang="zh-CN" sz="1600" b="1" kern="0" dirty="0"/>
                  <a:t>Text here</a:t>
                </a:r>
                <a:endParaRPr lang="zh-CN" altLang="en-US" sz="1600" b="1" kern="0" dirty="0"/>
              </a:p>
            </p:txBody>
          </p:sp>
          <p:sp>
            <p:nvSpPr>
              <p:cNvPr id="37" name="íṩļïḋê">
                <a:extLst>
                  <a:ext uri="{FF2B5EF4-FFF2-40B4-BE49-F238E27FC236}">
                    <a16:creationId xmlns:a16="http://schemas.microsoft.com/office/drawing/2014/main" id="{EDE4F4AA-0234-437F-89DD-AB47FCBF4AB2}"/>
                  </a:ext>
                </a:extLst>
              </p:cNvPr>
              <p:cNvSpPr/>
              <p:nvPr/>
            </p:nvSpPr>
            <p:spPr>
              <a:xfrm>
                <a:off x="2548037" y="1402690"/>
                <a:ext cx="1763279" cy="5265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r>
                  <a:rPr lang="en-US" altLang="zh-CN" sz="1000" dirty="0">
                    <a:solidFill>
                      <a:schemeClr val="tx1"/>
                    </a:solidFill>
                  </a:rPr>
                  <a:t>Supporting text here.</a:t>
                </a:r>
              </a:p>
              <a:p>
                <a:pPr lvl="0" algn="r"/>
                <a:r>
                  <a:rPr lang="en-US" altLang="zh-CN" sz="1000" dirty="0">
                    <a:solidFill>
                      <a:schemeClr val="tx1"/>
                    </a:solidFill>
                  </a:rPr>
                  <a:t>……</a:t>
                </a:r>
              </a:p>
            </p:txBody>
          </p:sp>
        </p:grpSp>
        <p:grpSp>
          <p:nvGrpSpPr>
            <p:cNvPr id="33" name="iş1íḋe">
              <a:extLst>
                <a:ext uri="{FF2B5EF4-FFF2-40B4-BE49-F238E27FC236}">
                  <a16:creationId xmlns:a16="http://schemas.microsoft.com/office/drawing/2014/main" id="{ED0FF98F-B26D-4A4A-86E0-0BAA08D401E5}"/>
                </a:ext>
              </a:extLst>
            </p:cNvPr>
            <p:cNvGrpSpPr/>
            <p:nvPr/>
          </p:nvGrpSpPr>
          <p:grpSpPr>
            <a:xfrm>
              <a:off x="10039351" y="4253454"/>
              <a:ext cx="1479550" cy="918622"/>
              <a:chOff x="2548037" y="1010576"/>
              <a:chExt cx="1763279" cy="918622"/>
            </a:xfrm>
          </p:grpSpPr>
          <p:sp>
            <p:nvSpPr>
              <p:cNvPr id="34" name="îSľîḍè">
                <a:extLst>
                  <a:ext uri="{FF2B5EF4-FFF2-40B4-BE49-F238E27FC236}">
                    <a16:creationId xmlns:a16="http://schemas.microsoft.com/office/drawing/2014/main" id="{48DACE44-6E90-431C-9FE3-349D8C191F4E}"/>
                  </a:ext>
                </a:extLst>
              </p:cNvPr>
              <p:cNvSpPr/>
              <p:nvPr/>
            </p:nvSpPr>
            <p:spPr bwMode="auto">
              <a:xfrm>
                <a:off x="2548037" y="1010576"/>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defTabSz="914400"/>
                <a:r>
                  <a:rPr lang="en-US" altLang="zh-CN" sz="1600" b="1" kern="0" dirty="0"/>
                  <a:t>Text here</a:t>
                </a:r>
                <a:endParaRPr lang="zh-CN" altLang="en-US" sz="1600" b="1" kern="0" dirty="0"/>
              </a:p>
            </p:txBody>
          </p:sp>
          <p:sp>
            <p:nvSpPr>
              <p:cNvPr id="35" name="îŝḷïḋé">
                <a:extLst>
                  <a:ext uri="{FF2B5EF4-FFF2-40B4-BE49-F238E27FC236}">
                    <a16:creationId xmlns:a16="http://schemas.microsoft.com/office/drawing/2014/main" id="{EDE4F4AA-0234-437F-89DD-AB47FCBF4AB2}"/>
                  </a:ext>
                </a:extLst>
              </p:cNvPr>
              <p:cNvSpPr/>
              <p:nvPr/>
            </p:nvSpPr>
            <p:spPr>
              <a:xfrm>
                <a:off x="2548037" y="1402690"/>
                <a:ext cx="1763279" cy="52650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r"/>
                <a:r>
                  <a:rPr lang="en-US" altLang="zh-CN" sz="1000" dirty="0">
                    <a:solidFill>
                      <a:schemeClr val="tx1"/>
                    </a:solidFill>
                  </a:rPr>
                  <a:t>Supporting text here.</a:t>
                </a:r>
              </a:p>
              <a:p>
                <a:pPr lvl="0" algn="r"/>
                <a:r>
                  <a:rPr lang="en-US" altLang="zh-CN" sz="1000" dirty="0">
                    <a:solidFill>
                      <a:schemeClr val="tx1"/>
                    </a:solidFill>
                  </a:rPr>
                  <a:t>……</a:t>
                </a:r>
              </a:p>
            </p:txBody>
          </p:sp>
        </p:grpSp>
      </p:grpSp>
    </p:spTree>
    <p:extLst>
      <p:ext uri="{BB962C8B-B14F-4D97-AF65-F5344CB8AC3E}">
        <p14:creationId xmlns:p14="http://schemas.microsoft.com/office/powerpoint/2010/main" val="42700088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a:t>Supporting text here.</a:t>
            </a:r>
          </a:p>
          <a:p>
            <a:pPr lvl="0">
              <a:lnSpc>
                <a:spcPct val="100000"/>
              </a:lnSpc>
            </a:pPr>
            <a:r>
              <a:rPr lang="en-US" altLang="zh-CN" dirty="0"/>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4620544" y="2712435"/>
            <a:ext cx="1252132" cy="1088682"/>
          </a:xfrm>
          <a:prstGeom prst="rect">
            <a:avLst/>
          </a:prstGeom>
          <a:solidFill>
            <a:schemeClr val="accent3"/>
          </a:solid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03</a:t>
            </a:r>
            <a:endParaRPr lang="zh-CN" altLang="en-US" spc="100" dirty="0">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70991054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2B79D3C-870D-4E28-B662-346179474182}"/>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BB2AADFC-856E-4190-983A-BAC248A45912}"/>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2F8550E5-BC41-406E-9D66-764CF46E0B93}"/>
              </a:ext>
            </a:extLst>
          </p:cNvPr>
          <p:cNvSpPr>
            <a:spLocks noGrp="1"/>
          </p:cNvSpPr>
          <p:nvPr>
            <p:ph type="sldNum" sz="quarter" idx="12"/>
          </p:nvPr>
        </p:nvSpPr>
        <p:spPr/>
        <p:txBody>
          <a:bodyPr/>
          <a:lstStyle/>
          <a:p>
            <a:fld id="{5DD3DB80-B894-403A-B48E-6FDC1A72010E}" type="slidenum">
              <a:rPr lang="zh-CN" altLang="en-US" smtClean="0"/>
              <a:pPr/>
              <a:t>16</a:t>
            </a:fld>
            <a:endParaRPr lang="zh-CN" altLang="en-US"/>
          </a:p>
        </p:txBody>
      </p:sp>
      <p:grpSp>
        <p:nvGrpSpPr>
          <p:cNvPr id="5" name="27778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ECF0332-65D1-4CE2-A8F1-ADD8994831EA}"/>
              </a:ext>
            </a:extLst>
          </p:cNvPr>
          <p:cNvGrpSpPr>
            <a:grpSpLocks noChangeAspect="1"/>
          </p:cNvGrpSpPr>
          <p:nvPr/>
        </p:nvGrpSpPr>
        <p:grpSpPr>
          <a:xfrm>
            <a:off x="673100" y="1130300"/>
            <a:ext cx="10845800" cy="5016500"/>
            <a:chOff x="673100" y="1130300"/>
            <a:chExt cx="10845800" cy="5016500"/>
          </a:xfrm>
        </p:grpSpPr>
        <p:sp>
          <p:nvSpPr>
            <p:cNvPr id="6" name="iSľïḑê">
              <a:extLst>
                <a:ext uri="{FF2B5EF4-FFF2-40B4-BE49-F238E27FC236}">
                  <a16:creationId xmlns:a16="http://schemas.microsoft.com/office/drawing/2014/main" id="{5EB2F501-9F6E-49DC-9274-42FF5BD139F0}"/>
                </a:ext>
              </a:extLst>
            </p:cNvPr>
            <p:cNvSpPr/>
            <p:nvPr/>
          </p:nvSpPr>
          <p:spPr bwMode="auto">
            <a:xfrm>
              <a:off x="673100" y="3086944"/>
              <a:ext cx="2496105" cy="151195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6175" y="0"/>
                    <a:pt x="4508" y="6511"/>
                    <a:pt x="3163" y="12415"/>
                  </a:cubicBezTo>
                  <a:cubicBezTo>
                    <a:pt x="2426" y="15650"/>
                    <a:pt x="1360" y="18729"/>
                    <a:pt x="0" y="21599"/>
                  </a:cubicBezTo>
                  <a:lnTo>
                    <a:pt x="21600" y="21599"/>
                  </a:lnTo>
                  <a:cubicBezTo>
                    <a:pt x="20239" y="18729"/>
                    <a:pt x="19173" y="15650"/>
                    <a:pt x="18436" y="12415"/>
                  </a:cubicBezTo>
                  <a:cubicBezTo>
                    <a:pt x="17091" y="6511"/>
                    <a:pt x="15424" y="0"/>
                    <a:pt x="10800" y="0"/>
                  </a:cubicBezTo>
                  <a:close/>
                </a:path>
              </a:pathLst>
            </a:custGeom>
            <a:solidFill>
              <a:schemeClr val="bg1">
                <a:lumMod val="95000"/>
                <a:alpha val="70000"/>
              </a:schemeClr>
            </a:solidFill>
            <a:ln>
              <a:noFill/>
            </a:ln>
            <a:effectLst/>
          </p:spPr>
          <p:txBody>
            <a:bodyPr wrap="square" lIns="91440" tIns="45720" rIns="91440" bIns="45720" anchor="ctr">
              <a:normAutofit/>
            </a:bodyPr>
            <a:lstStyle/>
            <a:p>
              <a:pPr algn="ctr"/>
              <a:endParaRPr/>
            </a:p>
          </p:txBody>
        </p:sp>
        <p:sp>
          <p:nvSpPr>
            <p:cNvPr id="7" name="išļïḓe">
              <a:extLst>
                <a:ext uri="{FF2B5EF4-FFF2-40B4-BE49-F238E27FC236}">
                  <a16:creationId xmlns:a16="http://schemas.microsoft.com/office/drawing/2014/main" id="{A700BEAA-4446-441F-AE4C-97929C5C3DA6}"/>
                </a:ext>
              </a:extLst>
            </p:cNvPr>
            <p:cNvSpPr/>
            <p:nvPr/>
          </p:nvSpPr>
          <p:spPr bwMode="auto">
            <a:xfrm>
              <a:off x="2343039" y="2231159"/>
              <a:ext cx="2496105" cy="2367736"/>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6149" y="0"/>
                    <a:pt x="4045" y="4019"/>
                    <a:pt x="3163" y="7928"/>
                  </a:cubicBezTo>
                  <a:cubicBezTo>
                    <a:pt x="2135" y="12489"/>
                    <a:pt x="1080" y="17046"/>
                    <a:pt x="0" y="21600"/>
                  </a:cubicBezTo>
                  <a:lnTo>
                    <a:pt x="21600" y="21600"/>
                  </a:lnTo>
                  <a:cubicBezTo>
                    <a:pt x="20519" y="17046"/>
                    <a:pt x="19464" y="12489"/>
                    <a:pt x="18436" y="7928"/>
                  </a:cubicBezTo>
                  <a:cubicBezTo>
                    <a:pt x="17554" y="4019"/>
                    <a:pt x="15450" y="0"/>
                    <a:pt x="10800" y="0"/>
                  </a:cubicBezTo>
                  <a:close/>
                </a:path>
              </a:pathLst>
            </a:custGeom>
            <a:solidFill>
              <a:schemeClr val="accent1">
                <a:alpha val="70000"/>
              </a:schemeClr>
            </a:solidFill>
            <a:ln>
              <a:noFill/>
            </a:ln>
            <a:effectLst/>
          </p:spPr>
          <p:txBody>
            <a:bodyPr wrap="square" lIns="91440" tIns="45720" rIns="91440" bIns="45720" anchor="ctr">
              <a:normAutofit/>
            </a:bodyPr>
            <a:lstStyle/>
            <a:p>
              <a:pPr algn="ctr"/>
              <a:endParaRPr/>
            </a:p>
          </p:txBody>
        </p:sp>
        <p:sp>
          <p:nvSpPr>
            <p:cNvPr id="8" name="íşľîḍe">
              <a:extLst>
                <a:ext uri="{FF2B5EF4-FFF2-40B4-BE49-F238E27FC236}">
                  <a16:creationId xmlns:a16="http://schemas.microsoft.com/office/drawing/2014/main" id="{6BA6C3F4-08E0-444E-94EA-E743E3B655F1}"/>
                </a:ext>
              </a:extLst>
            </p:cNvPr>
            <p:cNvSpPr/>
            <p:nvPr/>
          </p:nvSpPr>
          <p:spPr bwMode="auto">
            <a:xfrm>
              <a:off x="4012978" y="3531635"/>
              <a:ext cx="2496105" cy="1067260"/>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5879" y="0"/>
                    <a:pt x="5931" y="11296"/>
                    <a:pt x="3163" y="17598"/>
                  </a:cubicBezTo>
                  <a:cubicBezTo>
                    <a:pt x="2360" y="19429"/>
                    <a:pt x="1260" y="20819"/>
                    <a:pt x="0" y="21600"/>
                  </a:cubicBezTo>
                  <a:lnTo>
                    <a:pt x="21600" y="21600"/>
                  </a:lnTo>
                  <a:cubicBezTo>
                    <a:pt x="20339" y="20819"/>
                    <a:pt x="19239" y="19429"/>
                    <a:pt x="18436" y="17598"/>
                  </a:cubicBezTo>
                  <a:cubicBezTo>
                    <a:pt x="15668" y="11296"/>
                    <a:pt x="15720" y="0"/>
                    <a:pt x="10800" y="0"/>
                  </a:cubicBezTo>
                  <a:close/>
                </a:path>
              </a:pathLst>
            </a:custGeom>
            <a:solidFill>
              <a:schemeClr val="bg1">
                <a:lumMod val="95000"/>
                <a:alpha val="70000"/>
              </a:schemeClr>
            </a:solidFill>
            <a:ln>
              <a:noFill/>
            </a:ln>
            <a:effectLst/>
          </p:spPr>
          <p:txBody>
            <a:bodyPr wrap="square" lIns="91440" tIns="45720" rIns="91440" bIns="45720" anchor="ctr">
              <a:normAutofit/>
            </a:bodyPr>
            <a:lstStyle/>
            <a:p>
              <a:pPr algn="ctr"/>
              <a:endParaRPr/>
            </a:p>
          </p:txBody>
        </p:sp>
        <p:sp>
          <p:nvSpPr>
            <p:cNvPr id="9" name="iṧľïdè">
              <a:extLst>
                <a:ext uri="{FF2B5EF4-FFF2-40B4-BE49-F238E27FC236}">
                  <a16:creationId xmlns:a16="http://schemas.microsoft.com/office/drawing/2014/main" id="{7B0F4931-2206-4924-A0EE-B4E0BE05A79D}"/>
                </a:ext>
              </a:extLst>
            </p:cNvPr>
            <p:cNvSpPr/>
            <p:nvPr/>
          </p:nvSpPr>
          <p:spPr bwMode="auto">
            <a:xfrm>
              <a:off x="5682917" y="2817164"/>
              <a:ext cx="2496105" cy="178173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6174" y="0"/>
                    <a:pt x="4243" y="5400"/>
                    <a:pt x="3163" y="10538"/>
                  </a:cubicBezTo>
                  <a:cubicBezTo>
                    <a:pt x="2368" y="14322"/>
                    <a:pt x="1309" y="18015"/>
                    <a:pt x="0" y="21600"/>
                  </a:cubicBezTo>
                  <a:lnTo>
                    <a:pt x="21600" y="21600"/>
                  </a:lnTo>
                  <a:cubicBezTo>
                    <a:pt x="20290" y="18015"/>
                    <a:pt x="19231" y="14322"/>
                    <a:pt x="18436" y="10538"/>
                  </a:cubicBezTo>
                  <a:cubicBezTo>
                    <a:pt x="17356" y="5400"/>
                    <a:pt x="15425" y="0"/>
                    <a:pt x="10800" y="0"/>
                  </a:cubicBezTo>
                  <a:close/>
                </a:path>
              </a:pathLst>
            </a:custGeom>
            <a:solidFill>
              <a:schemeClr val="accent2">
                <a:alpha val="70000"/>
              </a:schemeClr>
            </a:solidFill>
            <a:ln>
              <a:noFill/>
            </a:ln>
            <a:effectLst/>
          </p:spPr>
          <p:txBody>
            <a:bodyPr wrap="square" lIns="91440" tIns="45720" rIns="91440" bIns="45720" anchor="ctr">
              <a:normAutofit/>
            </a:bodyPr>
            <a:lstStyle/>
            <a:p>
              <a:pPr algn="ctr"/>
              <a:endParaRPr/>
            </a:p>
          </p:txBody>
        </p:sp>
        <p:sp>
          <p:nvSpPr>
            <p:cNvPr id="10" name="îş1ïḑè">
              <a:extLst>
                <a:ext uri="{FF2B5EF4-FFF2-40B4-BE49-F238E27FC236}">
                  <a16:creationId xmlns:a16="http://schemas.microsoft.com/office/drawing/2014/main" id="{74F6E942-7E47-4005-97E6-90009E058176}"/>
                </a:ext>
              </a:extLst>
            </p:cNvPr>
            <p:cNvSpPr/>
            <p:nvPr/>
          </p:nvSpPr>
          <p:spPr bwMode="auto">
            <a:xfrm>
              <a:off x="7352856" y="3417004"/>
              <a:ext cx="2496105" cy="118189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6056" y="0"/>
                    <a:pt x="5367" y="9280"/>
                    <a:pt x="3163" y="15885"/>
                  </a:cubicBezTo>
                  <a:cubicBezTo>
                    <a:pt x="2408" y="18148"/>
                    <a:pt x="1324" y="20101"/>
                    <a:pt x="0" y="21600"/>
                  </a:cubicBezTo>
                  <a:lnTo>
                    <a:pt x="21600" y="21600"/>
                  </a:lnTo>
                  <a:cubicBezTo>
                    <a:pt x="20275" y="20101"/>
                    <a:pt x="19191" y="18148"/>
                    <a:pt x="18436" y="15885"/>
                  </a:cubicBezTo>
                  <a:cubicBezTo>
                    <a:pt x="16232" y="9280"/>
                    <a:pt x="15543" y="0"/>
                    <a:pt x="10800" y="0"/>
                  </a:cubicBezTo>
                  <a:close/>
                </a:path>
              </a:pathLst>
            </a:custGeom>
            <a:solidFill>
              <a:schemeClr val="bg1">
                <a:lumMod val="95000"/>
                <a:alpha val="70000"/>
              </a:schemeClr>
            </a:solidFill>
            <a:ln>
              <a:noFill/>
            </a:ln>
            <a:effectLst/>
          </p:spPr>
          <p:txBody>
            <a:bodyPr wrap="square" lIns="91440" tIns="45720" rIns="91440" bIns="45720" anchor="ctr">
              <a:normAutofit/>
            </a:bodyPr>
            <a:lstStyle/>
            <a:p>
              <a:pPr algn="ctr"/>
              <a:endParaRPr/>
            </a:p>
          </p:txBody>
        </p:sp>
        <p:sp>
          <p:nvSpPr>
            <p:cNvPr id="11" name="ïṣḷïḓe">
              <a:extLst>
                <a:ext uri="{FF2B5EF4-FFF2-40B4-BE49-F238E27FC236}">
                  <a16:creationId xmlns:a16="http://schemas.microsoft.com/office/drawing/2014/main" id="{D373B3B3-ACCC-4E8C-A702-8C310E538C41}"/>
                </a:ext>
              </a:extLst>
            </p:cNvPr>
            <p:cNvSpPr/>
            <p:nvPr/>
          </p:nvSpPr>
          <p:spPr bwMode="auto">
            <a:xfrm>
              <a:off x="9022795" y="3086944"/>
              <a:ext cx="2496105" cy="151195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10800" y="0"/>
                  </a:moveTo>
                  <a:cubicBezTo>
                    <a:pt x="6175" y="0"/>
                    <a:pt x="4508" y="6511"/>
                    <a:pt x="3163" y="12415"/>
                  </a:cubicBezTo>
                  <a:cubicBezTo>
                    <a:pt x="2426" y="15650"/>
                    <a:pt x="1360" y="18729"/>
                    <a:pt x="0" y="21599"/>
                  </a:cubicBezTo>
                  <a:lnTo>
                    <a:pt x="21600" y="21599"/>
                  </a:lnTo>
                  <a:cubicBezTo>
                    <a:pt x="20239" y="18729"/>
                    <a:pt x="19173" y="15650"/>
                    <a:pt x="18436" y="12415"/>
                  </a:cubicBezTo>
                  <a:cubicBezTo>
                    <a:pt x="17091" y="6511"/>
                    <a:pt x="15424" y="0"/>
                    <a:pt x="10800" y="0"/>
                  </a:cubicBezTo>
                  <a:close/>
                </a:path>
              </a:pathLst>
            </a:custGeom>
            <a:solidFill>
              <a:schemeClr val="accent1">
                <a:alpha val="70000"/>
              </a:schemeClr>
            </a:solidFill>
            <a:ln>
              <a:noFill/>
            </a:ln>
            <a:effectLst/>
          </p:spPr>
          <p:txBody>
            <a:bodyPr wrap="square" lIns="91440" tIns="45720" rIns="91440" bIns="45720" anchor="ctr">
              <a:normAutofit/>
            </a:bodyPr>
            <a:lstStyle/>
            <a:p>
              <a:pPr algn="ctr"/>
              <a:endParaRPr/>
            </a:p>
          </p:txBody>
        </p:sp>
        <p:sp>
          <p:nvSpPr>
            <p:cNvPr id="12" name="îṡlïḓe">
              <a:extLst>
                <a:ext uri="{FF2B5EF4-FFF2-40B4-BE49-F238E27FC236}">
                  <a16:creationId xmlns:a16="http://schemas.microsoft.com/office/drawing/2014/main" id="{52FC83DA-3053-4F18-8D80-DBBFA2CE61D0}"/>
                </a:ext>
              </a:extLst>
            </p:cNvPr>
            <p:cNvSpPr/>
            <p:nvPr/>
          </p:nvSpPr>
          <p:spPr bwMode="auto">
            <a:xfrm>
              <a:off x="1528350" y="2183725"/>
              <a:ext cx="785605" cy="782657"/>
            </a:xfrm>
            <a:custGeom>
              <a:avLst/>
              <a:gdLst>
                <a:gd name="T0" fmla="+- 0 10800 961"/>
                <a:gd name="T1" fmla="*/ T0 w 19679"/>
                <a:gd name="T2" fmla="*/ 10770 h 21541"/>
                <a:gd name="T3" fmla="+- 0 10800 961"/>
                <a:gd name="T4" fmla="*/ T3 w 19679"/>
                <a:gd name="T5" fmla="*/ 10770 h 21541"/>
                <a:gd name="T6" fmla="+- 0 10800 961"/>
                <a:gd name="T7" fmla="*/ T6 w 19679"/>
                <a:gd name="T8" fmla="*/ 10770 h 21541"/>
                <a:gd name="T9" fmla="+- 0 10800 961"/>
                <a:gd name="T10" fmla="*/ T9 w 19679"/>
                <a:gd name="T11" fmla="*/ 10770 h 21541"/>
              </a:gdLst>
              <a:ahLst/>
              <a:cxnLst>
                <a:cxn ang="0">
                  <a:pos x="T1" y="T2"/>
                </a:cxn>
                <a:cxn ang="0">
                  <a:pos x="T4" y="T5"/>
                </a:cxn>
                <a:cxn ang="0">
                  <a:pos x="T7" y="T8"/>
                </a:cxn>
                <a:cxn ang="0">
                  <a:pos x="T10" y="T11"/>
                </a:cxn>
              </a:cxnLst>
              <a:rect l="0" t="0" r="r" b="b"/>
              <a:pathLst>
                <a:path w="19679" h="21541">
                  <a:moveTo>
                    <a:pt x="9839" y="0"/>
                  </a:moveTo>
                  <a:cubicBezTo>
                    <a:pt x="7320" y="0"/>
                    <a:pt x="4802" y="936"/>
                    <a:pt x="2881" y="2808"/>
                  </a:cubicBezTo>
                  <a:cubicBezTo>
                    <a:pt x="-961" y="6553"/>
                    <a:pt x="-961" y="12624"/>
                    <a:pt x="2881" y="16368"/>
                  </a:cubicBezTo>
                  <a:cubicBezTo>
                    <a:pt x="4235" y="17687"/>
                    <a:pt x="5883" y="18532"/>
                    <a:pt x="7620" y="18921"/>
                  </a:cubicBezTo>
                  <a:cubicBezTo>
                    <a:pt x="8538" y="20485"/>
                    <a:pt x="10394" y="21599"/>
                    <a:pt x="12225" y="21538"/>
                  </a:cubicBezTo>
                  <a:cubicBezTo>
                    <a:pt x="12337" y="21535"/>
                    <a:pt x="12449" y="21523"/>
                    <a:pt x="12557" y="21510"/>
                  </a:cubicBezTo>
                  <a:cubicBezTo>
                    <a:pt x="11832" y="20830"/>
                    <a:pt x="11266" y="20009"/>
                    <a:pt x="10921" y="19113"/>
                  </a:cubicBezTo>
                  <a:cubicBezTo>
                    <a:pt x="13067" y="18883"/>
                    <a:pt x="15151" y="17972"/>
                    <a:pt x="16796" y="16368"/>
                  </a:cubicBezTo>
                  <a:cubicBezTo>
                    <a:pt x="20639" y="12624"/>
                    <a:pt x="20638" y="6553"/>
                    <a:pt x="16796" y="2808"/>
                  </a:cubicBezTo>
                  <a:cubicBezTo>
                    <a:pt x="14875" y="936"/>
                    <a:pt x="12357" y="0"/>
                    <a:pt x="9839" y="0"/>
                  </a:cubicBezTo>
                  <a:close/>
                </a:path>
              </a:pathLst>
            </a:custGeom>
            <a:solidFill>
              <a:schemeClr val="bg1">
                <a:lumMod val="95000"/>
              </a:schemeClr>
            </a:solidFill>
            <a:ln>
              <a:noFill/>
            </a:ln>
            <a:effectLst/>
          </p:spPr>
          <p:txBody>
            <a:bodyPr wrap="square" lIns="91440" tIns="45720" rIns="91440" bIns="45720" anchor="ctr">
              <a:normAutofit/>
            </a:bodyPr>
            <a:lstStyle/>
            <a:p>
              <a:pPr algn="ctr"/>
              <a:r>
                <a:rPr lang="id-ID" altLang="zh-CN" sz="1400"/>
                <a:t>145</a:t>
              </a:r>
              <a:endParaRPr lang="id-ID" altLang="zh-CN" sz="1400" dirty="0"/>
            </a:p>
          </p:txBody>
        </p:sp>
        <p:sp>
          <p:nvSpPr>
            <p:cNvPr id="13" name="ïṣlide">
              <a:extLst>
                <a:ext uri="{FF2B5EF4-FFF2-40B4-BE49-F238E27FC236}">
                  <a16:creationId xmlns:a16="http://schemas.microsoft.com/office/drawing/2014/main" id="{6A3D2D87-8AE4-43AC-B559-2948C716F176}"/>
                </a:ext>
              </a:extLst>
            </p:cNvPr>
            <p:cNvSpPr/>
            <p:nvPr/>
          </p:nvSpPr>
          <p:spPr bwMode="auto">
            <a:xfrm>
              <a:off x="3147030" y="1130300"/>
              <a:ext cx="888123" cy="884442"/>
            </a:xfrm>
            <a:custGeom>
              <a:avLst/>
              <a:gdLst>
                <a:gd name="T0" fmla="+- 0 10800 961"/>
                <a:gd name="T1" fmla="*/ T0 w 19679"/>
                <a:gd name="T2" fmla="*/ 10770 h 21541"/>
                <a:gd name="T3" fmla="+- 0 10800 961"/>
                <a:gd name="T4" fmla="*/ T3 w 19679"/>
                <a:gd name="T5" fmla="*/ 10770 h 21541"/>
                <a:gd name="T6" fmla="+- 0 10800 961"/>
                <a:gd name="T7" fmla="*/ T6 w 19679"/>
                <a:gd name="T8" fmla="*/ 10770 h 21541"/>
                <a:gd name="T9" fmla="+- 0 10800 961"/>
                <a:gd name="T10" fmla="*/ T9 w 19679"/>
                <a:gd name="T11" fmla="*/ 10770 h 21541"/>
              </a:gdLst>
              <a:ahLst/>
              <a:cxnLst>
                <a:cxn ang="0">
                  <a:pos x="T1" y="T2"/>
                </a:cxn>
                <a:cxn ang="0">
                  <a:pos x="T4" y="T5"/>
                </a:cxn>
                <a:cxn ang="0">
                  <a:pos x="T7" y="T8"/>
                </a:cxn>
                <a:cxn ang="0">
                  <a:pos x="T10" y="T11"/>
                </a:cxn>
              </a:cxnLst>
              <a:rect l="0" t="0" r="r" b="b"/>
              <a:pathLst>
                <a:path w="19679" h="21541">
                  <a:moveTo>
                    <a:pt x="9839" y="0"/>
                  </a:moveTo>
                  <a:cubicBezTo>
                    <a:pt x="7320" y="0"/>
                    <a:pt x="4802" y="936"/>
                    <a:pt x="2881" y="2808"/>
                  </a:cubicBezTo>
                  <a:cubicBezTo>
                    <a:pt x="-961" y="6553"/>
                    <a:pt x="-961" y="12624"/>
                    <a:pt x="2881" y="16368"/>
                  </a:cubicBezTo>
                  <a:cubicBezTo>
                    <a:pt x="4235" y="17687"/>
                    <a:pt x="5883" y="18532"/>
                    <a:pt x="7620" y="18921"/>
                  </a:cubicBezTo>
                  <a:cubicBezTo>
                    <a:pt x="8538" y="20485"/>
                    <a:pt x="10394" y="21600"/>
                    <a:pt x="12225" y="21538"/>
                  </a:cubicBezTo>
                  <a:cubicBezTo>
                    <a:pt x="12337" y="21535"/>
                    <a:pt x="12449" y="21523"/>
                    <a:pt x="12557" y="21510"/>
                  </a:cubicBezTo>
                  <a:cubicBezTo>
                    <a:pt x="11832" y="20830"/>
                    <a:pt x="11266" y="20009"/>
                    <a:pt x="10921" y="19113"/>
                  </a:cubicBezTo>
                  <a:cubicBezTo>
                    <a:pt x="13067" y="18883"/>
                    <a:pt x="15151" y="17972"/>
                    <a:pt x="16796" y="16368"/>
                  </a:cubicBezTo>
                  <a:cubicBezTo>
                    <a:pt x="20638" y="12624"/>
                    <a:pt x="20638" y="6553"/>
                    <a:pt x="16796" y="2808"/>
                  </a:cubicBezTo>
                  <a:cubicBezTo>
                    <a:pt x="14875" y="936"/>
                    <a:pt x="12357" y="0"/>
                    <a:pt x="9839" y="0"/>
                  </a:cubicBezTo>
                  <a:close/>
                </a:path>
              </a:pathLst>
            </a:custGeom>
            <a:solidFill>
              <a:schemeClr val="accent1"/>
            </a:solidFill>
            <a:ln>
              <a:noFill/>
            </a:ln>
            <a:effectLst/>
          </p:spPr>
          <p:txBody>
            <a:bodyPr wrap="square" lIns="91440" tIns="45720" rIns="91440" bIns="45720" anchor="ctr">
              <a:normAutofit/>
            </a:bodyPr>
            <a:lstStyle/>
            <a:p>
              <a:pPr algn="ctr"/>
              <a:r>
                <a:rPr lang="id-ID" altLang="zh-CN" sz="1400" dirty="0">
                  <a:solidFill>
                    <a:srgbClr val="FFFFFF"/>
                  </a:solidFill>
                </a:rPr>
                <a:t>7.450</a:t>
              </a:r>
            </a:p>
          </p:txBody>
        </p:sp>
        <p:sp>
          <p:nvSpPr>
            <p:cNvPr id="14" name="íŝļïdè">
              <a:extLst>
                <a:ext uri="{FF2B5EF4-FFF2-40B4-BE49-F238E27FC236}">
                  <a16:creationId xmlns:a16="http://schemas.microsoft.com/office/drawing/2014/main" id="{DCC742AA-4E7C-4418-85E6-45EDE3080621}"/>
                </a:ext>
              </a:extLst>
            </p:cNvPr>
            <p:cNvSpPr/>
            <p:nvPr/>
          </p:nvSpPr>
          <p:spPr bwMode="auto">
            <a:xfrm>
              <a:off x="4868228" y="2565172"/>
              <a:ext cx="785604" cy="782657"/>
            </a:xfrm>
            <a:custGeom>
              <a:avLst/>
              <a:gdLst>
                <a:gd name="T0" fmla="+- 0 10800 961"/>
                <a:gd name="T1" fmla="*/ T0 w 19679"/>
                <a:gd name="T2" fmla="*/ 10770 h 21541"/>
                <a:gd name="T3" fmla="+- 0 10800 961"/>
                <a:gd name="T4" fmla="*/ T3 w 19679"/>
                <a:gd name="T5" fmla="*/ 10770 h 21541"/>
                <a:gd name="T6" fmla="+- 0 10800 961"/>
                <a:gd name="T7" fmla="*/ T6 w 19679"/>
                <a:gd name="T8" fmla="*/ 10770 h 21541"/>
                <a:gd name="T9" fmla="+- 0 10800 961"/>
                <a:gd name="T10" fmla="*/ T9 w 19679"/>
                <a:gd name="T11" fmla="*/ 10770 h 21541"/>
              </a:gdLst>
              <a:ahLst/>
              <a:cxnLst>
                <a:cxn ang="0">
                  <a:pos x="T1" y="T2"/>
                </a:cxn>
                <a:cxn ang="0">
                  <a:pos x="T4" y="T5"/>
                </a:cxn>
                <a:cxn ang="0">
                  <a:pos x="T7" y="T8"/>
                </a:cxn>
                <a:cxn ang="0">
                  <a:pos x="T10" y="T11"/>
                </a:cxn>
              </a:cxnLst>
              <a:rect l="0" t="0" r="r" b="b"/>
              <a:pathLst>
                <a:path w="19679" h="21541">
                  <a:moveTo>
                    <a:pt x="9839" y="0"/>
                  </a:moveTo>
                  <a:cubicBezTo>
                    <a:pt x="7320" y="0"/>
                    <a:pt x="4802" y="936"/>
                    <a:pt x="2881" y="2808"/>
                  </a:cubicBezTo>
                  <a:cubicBezTo>
                    <a:pt x="-961" y="6553"/>
                    <a:pt x="-961" y="12624"/>
                    <a:pt x="2881" y="16368"/>
                  </a:cubicBezTo>
                  <a:cubicBezTo>
                    <a:pt x="4235" y="17687"/>
                    <a:pt x="5883" y="18532"/>
                    <a:pt x="7620" y="18921"/>
                  </a:cubicBezTo>
                  <a:cubicBezTo>
                    <a:pt x="8538" y="20485"/>
                    <a:pt x="10394" y="21599"/>
                    <a:pt x="12225" y="21538"/>
                  </a:cubicBezTo>
                  <a:cubicBezTo>
                    <a:pt x="12337" y="21535"/>
                    <a:pt x="12449" y="21523"/>
                    <a:pt x="12557" y="21510"/>
                  </a:cubicBezTo>
                  <a:cubicBezTo>
                    <a:pt x="11832" y="20830"/>
                    <a:pt x="11266" y="20009"/>
                    <a:pt x="10921" y="19113"/>
                  </a:cubicBezTo>
                  <a:cubicBezTo>
                    <a:pt x="13067" y="18883"/>
                    <a:pt x="15151" y="17972"/>
                    <a:pt x="16796" y="16368"/>
                  </a:cubicBezTo>
                  <a:cubicBezTo>
                    <a:pt x="20639" y="12624"/>
                    <a:pt x="20638" y="6553"/>
                    <a:pt x="16796" y="2808"/>
                  </a:cubicBezTo>
                  <a:cubicBezTo>
                    <a:pt x="14875" y="936"/>
                    <a:pt x="12357" y="0"/>
                    <a:pt x="9839" y="0"/>
                  </a:cubicBezTo>
                  <a:close/>
                </a:path>
              </a:pathLst>
            </a:custGeom>
            <a:solidFill>
              <a:schemeClr val="bg1">
                <a:lumMod val="95000"/>
              </a:schemeClr>
            </a:solidFill>
            <a:ln>
              <a:noFill/>
            </a:ln>
            <a:effectLst/>
          </p:spPr>
          <p:txBody>
            <a:bodyPr wrap="square" lIns="91440" tIns="45720" rIns="91440" bIns="45720" anchor="ctr">
              <a:normAutofit/>
            </a:bodyPr>
            <a:lstStyle/>
            <a:p>
              <a:pPr algn="ctr"/>
              <a:r>
                <a:rPr lang="id-ID" altLang="zh-CN" sz="1400"/>
                <a:t>80</a:t>
              </a:r>
            </a:p>
          </p:txBody>
        </p:sp>
        <p:sp>
          <p:nvSpPr>
            <p:cNvPr id="15" name="îsḻïḍé">
              <a:extLst>
                <a:ext uri="{FF2B5EF4-FFF2-40B4-BE49-F238E27FC236}">
                  <a16:creationId xmlns:a16="http://schemas.microsoft.com/office/drawing/2014/main" id="{97A4FFB6-F200-4B57-A189-3F69260BAE38}"/>
                </a:ext>
              </a:extLst>
            </p:cNvPr>
            <p:cNvSpPr/>
            <p:nvPr/>
          </p:nvSpPr>
          <p:spPr bwMode="auto">
            <a:xfrm>
              <a:off x="6537610" y="1839830"/>
              <a:ext cx="786719" cy="782657"/>
            </a:xfrm>
            <a:custGeom>
              <a:avLst/>
              <a:gdLst>
                <a:gd name="T0" fmla="+- 0 10800 961"/>
                <a:gd name="T1" fmla="*/ T0 w 19679"/>
                <a:gd name="T2" fmla="*/ 10770 h 21541"/>
                <a:gd name="T3" fmla="+- 0 10800 961"/>
                <a:gd name="T4" fmla="*/ T3 w 19679"/>
                <a:gd name="T5" fmla="*/ 10770 h 21541"/>
                <a:gd name="T6" fmla="+- 0 10800 961"/>
                <a:gd name="T7" fmla="*/ T6 w 19679"/>
                <a:gd name="T8" fmla="*/ 10770 h 21541"/>
                <a:gd name="T9" fmla="+- 0 10800 961"/>
                <a:gd name="T10" fmla="*/ T9 w 19679"/>
                <a:gd name="T11" fmla="*/ 10770 h 21541"/>
              </a:gdLst>
              <a:ahLst/>
              <a:cxnLst>
                <a:cxn ang="0">
                  <a:pos x="T1" y="T2"/>
                </a:cxn>
                <a:cxn ang="0">
                  <a:pos x="T4" y="T5"/>
                </a:cxn>
                <a:cxn ang="0">
                  <a:pos x="T7" y="T8"/>
                </a:cxn>
                <a:cxn ang="0">
                  <a:pos x="T10" y="T11"/>
                </a:cxn>
              </a:cxnLst>
              <a:rect l="0" t="0" r="r" b="b"/>
              <a:pathLst>
                <a:path w="19679" h="21541">
                  <a:moveTo>
                    <a:pt x="9839" y="0"/>
                  </a:moveTo>
                  <a:cubicBezTo>
                    <a:pt x="7320" y="0"/>
                    <a:pt x="4802" y="936"/>
                    <a:pt x="2881" y="2808"/>
                  </a:cubicBezTo>
                  <a:cubicBezTo>
                    <a:pt x="-961" y="6553"/>
                    <a:pt x="-961" y="12624"/>
                    <a:pt x="2881" y="16368"/>
                  </a:cubicBezTo>
                  <a:cubicBezTo>
                    <a:pt x="4235" y="17687"/>
                    <a:pt x="5883" y="18532"/>
                    <a:pt x="7620" y="18921"/>
                  </a:cubicBezTo>
                  <a:cubicBezTo>
                    <a:pt x="8538" y="20485"/>
                    <a:pt x="10394" y="21599"/>
                    <a:pt x="12225" y="21538"/>
                  </a:cubicBezTo>
                  <a:cubicBezTo>
                    <a:pt x="12337" y="21535"/>
                    <a:pt x="12449" y="21523"/>
                    <a:pt x="12557" y="21510"/>
                  </a:cubicBezTo>
                  <a:cubicBezTo>
                    <a:pt x="11832" y="20830"/>
                    <a:pt x="11266" y="20009"/>
                    <a:pt x="10921" y="19113"/>
                  </a:cubicBezTo>
                  <a:cubicBezTo>
                    <a:pt x="13067" y="18883"/>
                    <a:pt x="15151" y="17972"/>
                    <a:pt x="16796" y="16368"/>
                  </a:cubicBezTo>
                  <a:cubicBezTo>
                    <a:pt x="20639" y="12624"/>
                    <a:pt x="20638" y="6553"/>
                    <a:pt x="16796" y="2808"/>
                  </a:cubicBezTo>
                  <a:cubicBezTo>
                    <a:pt x="14875" y="936"/>
                    <a:pt x="12357" y="0"/>
                    <a:pt x="9839" y="0"/>
                  </a:cubicBezTo>
                  <a:close/>
                </a:path>
              </a:pathLst>
            </a:custGeom>
            <a:solidFill>
              <a:schemeClr val="accent2"/>
            </a:solidFill>
            <a:ln>
              <a:noFill/>
            </a:ln>
            <a:effectLst/>
          </p:spPr>
          <p:txBody>
            <a:bodyPr wrap="square" lIns="91440" tIns="45720" rIns="91440" bIns="45720" anchor="ctr">
              <a:normAutofit/>
            </a:bodyPr>
            <a:lstStyle/>
            <a:p>
              <a:pPr algn="ctr"/>
              <a:r>
                <a:rPr lang="id-ID" altLang="zh-CN" sz="1400">
                  <a:solidFill>
                    <a:srgbClr val="FFFFFF"/>
                  </a:solidFill>
                </a:rPr>
                <a:t>300</a:t>
              </a:r>
              <a:endParaRPr lang="id-ID" altLang="zh-CN" sz="1400" dirty="0">
                <a:solidFill>
                  <a:srgbClr val="FFFFFF"/>
                </a:solidFill>
              </a:endParaRPr>
            </a:p>
          </p:txBody>
        </p:sp>
        <p:sp>
          <p:nvSpPr>
            <p:cNvPr id="16" name="ïSliḋe">
              <a:extLst>
                <a:ext uri="{FF2B5EF4-FFF2-40B4-BE49-F238E27FC236}">
                  <a16:creationId xmlns:a16="http://schemas.microsoft.com/office/drawing/2014/main" id="{683AFC82-A7D4-4A09-B33F-F75750227D1D}"/>
                </a:ext>
              </a:extLst>
            </p:cNvPr>
            <p:cNvSpPr/>
            <p:nvPr/>
          </p:nvSpPr>
          <p:spPr bwMode="auto">
            <a:xfrm>
              <a:off x="8208106" y="2425835"/>
              <a:ext cx="785604" cy="783646"/>
            </a:xfrm>
            <a:custGeom>
              <a:avLst/>
              <a:gdLst>
                <a:gd name="T0" fmla="+- 0 10800 961"/>
                <a:gd name="T1" fmla="*/ T0 w 19679"/>
                <a:gd name="T2" fmla="*/ 10770 h 21541"/>
                <a:gd name="T3" fmla="+- 0 10800 961"/>
                <a:gd name="T4" fmla="*/ T3 w 19679"/>
                <a:gd name="T5" fmla="*/ 10770 h 21541"/>
                <a:gd name="T6" fmla="+- 0 10800 961"/>
                <a:gd name="T7" fmla="*/ T6 w 19679"/>
                <a:gd name="T8" fmla="*/ 10770 h 21541"/>
                <a:gd name="T9" fmla="+- 0 10800 961"/>
                <a:gd name="T10" fmla="*/ T9 w 19679"/>
                <a:gd name="T11" fmla="*/ 10770 h 21541"/>
              </a:gdLst>
              <a:ahLst/>
              <a:cxnLst>
                <a:cxn ang="0">
                  <a:pos x="T1" y="T2"/>
                </a:cxn>
                <a:cxn ang="0">
                  <a:pos x="T4" y="T5"/>
                </a:cxn>
                <a:cxn ang="0">
                  <a:pos x="T7" y="T8"/>
                </a:cxn>
                <a:cxn ang="0">
                  <a:pos x="T10" y="T11"/>
                </a:cxn>
              </a:cxnLst>
              <a:rect l="0" t="0" r="r" b="b"/>
              <a:pathLst>
                <a:path w="19679" h="21541">
                  <a:moveTo>
                    <a:pt x="9839" y="0"/>
                  </a:moveTo>
                  <a:cubicBezTo>
                    <a:pt x="7320" y="0"/>
                    <a:pt x="4802" y="936"/>
                    <a:pt x="2881" y="2808"/>
                  </a:cubicBezTo>
                  <a:cubicBezTo>
                    <a:pt x="-961" y="6553"/>
                    <a:pt x="-961" y="12624"/>
                    <a:pt x="2881" y="16368"/>
                  </a:cubicBezTo>
                  <a:cubicBezTo>
                    <a:pt x="4235" y="17687"/>
                    <a:pt x="5883" y="18532"/>
                    <a:pt x="7620" y="18921"/>
                  </a:cubicBezTo>
                  <a:cubicBezTo>
                    <a:pt x="8538" y="20485"/>
                    <a:pt x="10394" y="21599"/>
                    <a:pt x="12225" y="21538"/>
                  </a:cubicBezTo>
                  <a:cubicBezTo>
                    <a:pt x="12337" y="21535"/>
                    <a:pt x="12449" y="21523"/>
                    <a:pt x="12557" y="21510"/>
                  </a:cubicBezTo>
                  <a:cubicBezTo>
                    <a:pt x="11832" y="20830"/>
                    <a:pt x="11266" y="20009"/>
                    <a:pt x="10921" y="19113"/>
                  </a:cubicBezTo>
                  <a:cubicBezTo>
                    <a:pt x="13067" y="18883"/>
                    <a:pt x="15151" y="17972"/>
                    <a:pt x="16796" y="16368"/>
                  </a:cubicBezTo>
                  <a:cubicBezTo>
                    <a:pt x="20639" y="12624"/>
                    <a:pt x="20638" y="6553"/>
                    <a:pt x="16796" y="2808"/>
                  </a:cubicBezTo>
                  <a:cubicBezTo>
                    <a:pt x="14875" y="936"/>
                    <a:pt x="12357" y="0"/>
                    <a:pt x="9839" y="0"/>
                  </a:cubicBezTo>
                  <a:close/>
                </a:path>
              </a:pathLst>
            </a:custGeom>
            <a:solidFill>
              <a:schemeClr val="bg1">
                <a:lumMod val="95000"/>
              </a:schemeClr>
            </a:solidFill>
            <a:ln>
              <a:noFill/>
            </a:ln>
            <a:effectLst/>
          </p:spPr>
          <p:txBody>
            <a:bodyPr wrap="square" lIns="91440" tIns="45720" rIns="91440" bIns="45720" anchor="ctr">
              <a:normAutofit/>
            </a:bodyPr>
            <a:lstStyle/>
            <a:p>
              <a:pPr algn="ctr"/>
              <a:r>
                <a:rPr lang="id-ID" altLang="zh-CN" sz="1400"/>
                <a:t>65</a:t>
              </a:r>
              <a:endParaRPr lang="id-ID" altLang="zh-CN" sz="1400" dirty="0"/>
            </a:p>
          </p:txBody>
        </p:sp>
        <p:sp>
          <p:nvSpPr>
            <p:cNvPr id="17" name="íṡliḓê">
              <a:extLst>
                <a:ext uri="{FF2B5EF4-FFF2-40B4-BE49-F238E27FC236}">
                  <a16:creationId xmlns:a16="http://schemas.microsoft.com/office/drawing/2014/main" id="{F38E592E-0375-4A85-8952-AAED24131EEC}"/>
                </a:ext>
              </a:extLst>
            </p:cNvPr>
            <p:cNvSpPr/>
            <p:nvPr/>
          </p:nvSpPr>
          <p:spPr bwMode="auto">
            <a:xfrm>
              <a:off x="9878045" y="2126409"/>
              <a:ext cx="785605" cy="782657"/>
            </a:xfrm>
            <a:custGeom>
              <a:avLst/>
              <a:gdLst>
                <a:gd name="T0" fmla="+- 0 10800 961"/>
                <a:gd name="T1" fmla="*/ T0 w 19679"/>
                <a:gd name="T2" fmla="*/ 10770 h 21541"/>
                <a:gd name="T3" fmla="+- 0 10800 961"/>
                <a:gd name="T4" fmla="*/ T3 w 19679"/>
                <a:gd name="T5" fmla="*/ 10770 h 21541"/>
                <a:gd name="T6" fmla="+- 0 10800 961"/>
                <a:gd name="T7" fmla="*/ T6 w 19679"/>
                <a:gd name="T8" fmla="*/ 10770 h 21541"/>
                <a:gd name="T9" fmla="+- 0 10800 961"/>
                <a:gd name="T10" fmla="*/ T9 w 19679"/>
                <a:gd name="T11" fmla="*/ 10770 h 21541"/>
              </a:gdLst>
              <a:ahLst/>
              <a:cxnLst>
                <a:cxn ang="0">
                  <a:pos x="T1" y="T2"/>
                </a:cxn>
                <a:cxn ang="0">
                  <a:pos x="T4" y="T5"/>
                </a:cxn>
                <a:cxn ang="0">
                  <a:pos x="T7" y="T8"/>
                </a:cxn>
                <a:cxn ang="0">
                  <a:pos x="T10" y="T11"/>
                </a:cxn>
              </a:cxnLst>
              <a:rect l="0" t="0" r="r" b="b"/>
              <a:pathLst>
                <a:path w="19679" h="21541">
                  <a:moveTo>
                    <a:pt x="9839" y="0"/>
                  </a:moveTo>
                  <a:cubicBezTo>
                    <a:pt x="7320" y="0"/>
                    <a:pt x="4802" y="936"/>
                    <a:pt x="2881" y="2808"/>
                  </a:cubicBezTo>
                  <a:cubicBezTo>
                    <a:pt x="-961" y="6553"/>
                    <a:pt x="-961" y="12624"/>
                    <a:pt x="2881" y="16368"/>
                  </a:cubicBezTo>
                  <a:cubicBezTo>
                    <a:pt x="4235" y="17687"/>
                    <a:pt x="5883" y="18532"/>
                    <a:pt x="7620" y="18921"/>
                  </a:cubicBezTo>
                  <a:cubicBezTo>
                    <a:pt x="8538" y="20485"/>
                    <a:pt x="10394" y="21599"/>
                    <a:pt x="12225" y="21538"/>
                  </a:cubicBezTo>
                  <a:cubicBezTo>
                    <a:pt x="12337" y="21535"/>
                    <a:pt x="12449" y="21523"/>
                    <a:pt x="12557" y="21510"/>
                  </a:cubicBezTo>
                  <a:cubicBezTo>
                    <a:pt x="11832" y="20830"/>
                    <a:pt x="11266" y="20009"/>
                    <a:pt x="10921" y="19113"/>
                  </a:cubicBezTo>
                  <a:cubicBezTo>
                    <a:pt x="13067" y="18883"/>
                    <a:pt x="15151" y="17972"/>
                    <a:pt x="16796" y="16368"/>
                  </a:cubicBezTo>
                  <a:cubicBezTo>
                    <a:pt x="20639" y="12624"/>
                    <a:pt x="20638" y="6553"/>
                    <a:pt x="16796" y="2808"/>
                  </a:cubicBezTo>
                  <a:cubicBezTo>
                    <a:pt x="14875" y="936"/>
                    <a:pt x="12357" y="0"/>
                    <a:pt x="9839" y="0"/>
                  </a:cubicBezTo>
                  <a:close/>
                </a:path>
              </a:pathLst>
            </a:custGeom>
            <a:solidFill>
              <a:schemeClr val="accent1"/>
            </a:solidFill>
            <a:ln>
              <a:noFill/>
            </a:ln>
            <a:effectLst/>
          </p:spPr>
          <p:txBody>
            <a:bodyPr wrap="square" lIns="91440" tIns="45720" rIns="91440" bIns="45720" anchor="ctr">
              <a:normAutofit/>
            </a:bodyPr>
            <a:lstStyle/>
            <a:p>
              <a:pPr algn="ctr"/>
              <a:r>
                <a:rPr lang="id-ID" altLang="zh-CN" sz="1400">
                  <a:solidFill>
                    <a:srgbClr val="FFFFFF"/>
                  </a:solidFill>
                </a:rPr>
                <a:t>245</a:t>
              </a:r>
              <a:endParaRPr lang="id-ID" altLang="zh-CN" sz="1400" dirty="0">
                <a:solidFill>
                  <a:srgbClr val="FFFFFF"/>
                </a:solidFill>
              </a:endParaRPr>
            </a:p>
          </p:txBody>
        </p:sp>
        <p:grpSp>
          <p:nvGrpSpPr>
            <p:cNvPr id="18" name="íṣḻiḓè">
              <a:extLst>
                <a:ext uri="{FF2B5EF4-FFF2-40B4-BE49-F238E27FC236}">
                  <a16:creationId xmlns:a16="http://schemas.microsoft.com/office/drawing/2014/main" id="{C5425002-5842-4D70-B2C7-99158EC1CEFE}"/>
                </a:ext>
              </a:extLst>
            </p:cNvPr>
            <p:cNvGrpSpPr/>
            <p:nvPr/>
          </p:nvGrpSpPr>
          <p:grpSpPr>
            <a:xfrm>
              <a:off x="1214537" y="4732991"/>
              <a:ext cx="1413230" cy="1413809"/>
              <a:chOff x="1214537" y="4592544"/>
              <a:chExt cx="1413230" cy="1413809"/>
            </a:xfrm>
          </p:grpSpPr>
          <p:sp>
            <p:nvSpPr>
              <p:cNvPr id="39" name="ïś1ídè">
                <a:extLst>
                  <a:ext uri="{FF2B5EF4-FFF2-40B4-BE49-F238E27FC236}">
                    <a16:creationId xmlns:a16="http://schemas.microsoft.com/office/drawing/2014/main" id="{50970C16-804B-4B8E-9E67-5A14C4AC01E0}"/>
                  </a:ext>
                </a:extLst>
              </p:cNvPr>
              <p:cNvSpPr/>
              <p:nvPr/>
            </p:nvSpPr>
            <p:spPr bwMode="auto">
              <a:xfrm>
                <a:off x="1214537" y="4592544"/>
                <a:ext cx="1413230" cy="42769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1600"/>
                    </a:moveTo>
                    <a:lnTo>
                      <a:pt x="21600" y="21600"/>
                    </a:lnTo>
                    <a:lnTo>
                      <a:pt x="21600" y="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a:bodyPr>
              <a:lstStyle/>
              <a:p>
                <a:pPr marL="0" indent="0" algn="ctr">
                  <a:buSzTx/>
                  <a:buFontTx/>
                  <a:buNone/>
                </a:pPr>
                <a:r>
                  <a:rPr lang="en-US" altLang="zh-CN" sz="1600" b="1" dirty="0">
                    <a:solidFill>
                      <a:schemeClr val="tx1"/>
                    </a:solidFill>
                  </a:rPr>
                  <a:t>Text</a:t>
                </a:r>
                <a:endParaRPr lang="zh-CN" altLang="en-US" sz="1600" b="1" dirty="0">
                  <a:solidFill>
                    <a:schemeClr val="tx1"/>
                  </a:solidFill>
                </a:endParaRPr>
              </a:p>
            </p:txBody>
          </p:sp>
          <p:sp>
            <p:nvSpPr>
              <p:cNvPr id="40" name="iṡḻiḓê">
                <a:extLst>
                  <a:ext uri="{FF2B5EF4-FFF2-40B4-BE49-F238E27FC236}">
                    <a16:creationId xmlns:a16="http://schemas.microsoft.com/office/drawing/2014/main" id="{222823BF-E7DF-4090-A9C3-F042B6B591F0}"/>
                  </a:ext>
                </a:extLst>
              </p:cNvPr>
              <p:cNvSpPr/>
              <p:nvPr/>
            </p:nvSpPr>
            <p:spPr>
              <a:xfrm>
                <a:off x="1214537" y="5023410"/>
                <a:ext cx="1413230" cy="9829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lnSpc>
                    <a:spcPct val="150000"/>
                  </a:lnSpc>
                </a:pPr>
                <a:r>
                  <a:rPr lang="en-US" altLang="zh-CN" sz="1000" dirty="0">
                    <a:solidFill>
                      <a:schemeClr val="tx1"/>
                    </a:solidFill>
                  </a:rPr>
                  <a:t>Supporting text here.</a:t>
                </a:r>
              </a:p>
              <a:p>
                <a:pPr lvl="0" algn="ctr">
                  <a:lnSpc>
                    <a:spcPct val="150000"/>
                  </a:lnSpc>
                </a:pPr>
                <a:r>
                  <a:rPr lang="en-US" altLang="zh-CN" sz="1000" dirty="0">
                    <a:solidFill>
                      <a:schemeClr val="tx1"/>
                    </a:solidFill>
                  </a:rPr>
                  <a:t>……</a:t>
                </a:r>
              </a:p>
            </p:txBody>
          </p:sp>
        </p:grpSp>
        <p:grpSp>
          <p:nvGrpSpPr>
            <p:cNvPr id="19" name="íṣliḓé">
              <a:extLst>
                <a:ext uri="{FF2B5EF4-FFF2-40B4-BE49-F238E27FC236}">
                  <a16:creationId xmlns:a16="http://schemas.microsoft.com/office/drawing/2014/main" id="{1BB6C0B5-414E-45AC-930A-49CFE63858E7}"/>
                </a:ext>
              </a:extLst>
            </p:cNvPr>
            <p:cNvGrpSpPr/>
            <p:nvPr/>
          </p:nvGrpSpPr>
          <p:grpSpPr>
            <a:xfrm>
              <a:off x="2884475" y="4732991"/>
              <a:ext cx="1413230" cy="1413809"/>
              <a:chOff x="2884476" y="4592544"/>
              <a:chExt cx="1413230" cy="1413809"/>
            </a:xfrm>
          </p:grpSpPr>
          <p:sp>
            <p:nvSpPr>
              <p:cNvPr id="37" name="ïṧļiḍé">
                <a:extLst>
                  <a:ext uri="{FF2B5EF4-FFF2-40B4-BE49-F238E27FC236}">
                    <a16:creationId xmlns:a16="http://schemas.microsoft.com/office/drawing/2014/main" id="{824EEB2C-CF83-4FA9-8350-D0658B892188}"/>
                  </a:ext>
                </a:extLst>
              </p:cNvPr>
              <p:cNvSpPr/>
              <p:nvPr/>
            </p:nvSpPr>
            <p:spPr bwMode="auto">
              <a:xfrm>
                <a:off x="2884476" y="4592544"/>
                <a:ext cx="1413230" cy="42769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1600"/>
                    </a:moveTo>
                    <a:lnTo>
                      <a:pt x="21600" y="21600"/>
                    </a:lnTo>
                    <a:lnTo>
                      <a:pt x="21600" y="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a:bodyPr>
              <a:lstStyle/>
              <a:p>
                <a:pPr marL="0" indent="0" algn="ctr">
                  <a:buSzTx/>
                  <a:buFontTx/>
                  <a:buNone/>
                </a:pPr>
                <a:r>
                  <a:rPr lang="en-US" altLang="zh-CN" sz="1600" b="1" dirty="0">
                    <a:solidFill>
                      <a:schemeClr val="tx1"/>
                    </a:solidFill>
                  </a:rPr>
                  <a:t>Text</a:t>
                </a:r>
                <a:endParaRPr lang="zh-CN" altLang="en-US" sz="1600" b="1" dirty="0">
                  <a:solidFill>
                    <a:schemeClr val="tx1"/>
                  </a:solidFill>
                </a:endParaRPr>
              </a:p>
            </p:txBody>
          </p:sp>
          <p:sp>
            <p:nvSpPr>
              <p:cNvPr id="38" name="iŝ1îdé">
                <a:extLst>
                  <a:ext uri="{FF2B5EF4-FFF2-40B4-BE49-F238E27FC236}">
                    <a16:creationId xmlns:a16="http://schemas.microsoft.com/office/drawing/2014/main" id="{222823BF-E7DF-4090-A9C3-F042B6B591F0}"/>
                  </a:ext>
                </a:extLst>
              </p:cNvPr>
              <p:cNvSpPr/>
              <p:nvPr/>
            </p:nvSpPr>
            <p:spPr>
              <a:xfrm>
                <a:off x="2884476" y="5023410"/>
                <a:ext cx="1413230" cy="9829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lnSpc>
                    <a:spcPct val="150000"/>
                  </a:lnSpc>
                </a:pPr>
                <a:r>
                  <a:rPr lang="en-US" altLang="zh-CN" sz="1000" dirty="0">
                    <a:solidFill>
                      <a:schemeClr val="tx1"/>
                    </a:solidFill>
                  </a:rPr>
                  <a:t>Supporting text here.</a:t>
                </a:r>
              </a:p>
              <a:p>
                <a:pPr lvl="0" algn="ctr">
                  <a:lnSpc>
                    <a:spcPct val="150000"/>
                  </a:lnSpc>
                </a:pPr>
                <a:r>
                  <a:rPr lang="en-US" altLang="zh-CN" sz="1000" dirty="0">
                    <a:solidFill>
                      <a:schemeClr val="tx1"/>
                    </a:solidFill>
                  </a:rPr>
                  <a:t>……</a:t>
                </a:r>
              </a:p>
            </p:txBody>
          </p:sp>
        </p:grpSp>
        <p:grpSp>
          <p:nvGrpSpPr>
            <p:cNvPr id="20" name="îs1ïḓê">
              <a:extLst>
                <a:ext uri="{FF2B5EF4-FFF2-40B4-BE49-F238E27FC236}">
                  <a16:creationId xmlns:a16="http://schemas.microsoft.com/office/drawing/2014/main" id="{6992C328-4FEB-4BEB-9CC1-3D11947D28F6}"/>
                </a:ext>
              </a:extLst>
            </p:cNvPr>
            <p:cNvGrpSpPr/>
            <p:nvPr/>
          </p:nvGrpSpPr>
          <p:grpSpPr>
            <a:xfrm>
              <a:off x="4554413" y="4732991"/>
              <a:ext cx="1413230" cy="1413809"/>
              <a:chOff x="4554415" y="4592544"/>
              <a:chExt cx="1413230" cy="1413809"/>
            </a:xfrm>
          </p:grpSpPr>
          <p:sp>
            <p:nvSpPr>
              <p:cNvPr id="35" name="ïŝľiḓé">
                <a:extLst>
                  <a:ext uri="{FF2B5EF4-FFF2-40B4-BE49-F238E27FC236}">
                    <a16:creationId xmlns:a16="http://schemas.microsoft.com/office/drawing/2014/main" id="{EB8B03F2-D6E6-42C4-AC24-554474E90F32}"/>
                  </a:ext>
                </a:extLst>
              </p:cNvPr>
              <p:cNvSpPr/>
              <p:nvPr/>
            </p:nvSpPr>
            <p:spPr bwMode="auto">
              <a:xfrm>
                <a:off x="4554415" y="4592544"/>
                <a:ext cx="1413230" cy="42769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1600"/>
                    </a:moveTo>
                    <a:lnTo>
                      <a:pt x="21600" y="21600"/>
                    </a:lnTo>
                    <a:lnTo>
                      <a:pt x="21600" y="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a:bodyPr>
              <a:lstStyle/>
              <a:p>
                <a:pPr marL="0" indent="0" algn="ctr">
                  <a:buSzTx/>
                  <a:buFontTx/>
                  <a:buNone/>
                </a:pPr>
                <a:r>
                  <a:rPr lang="en-US" altLang="zh-CN" sz="1600" b="1" dirty="0">
                    <a:solidFill>
                      <a:schemeClr val="tx1"/>
                    </a:solidFill>
                  </a:rPr>
                  <a:t>Text</a:t>
                </a:r>
                <a:endParaRPr lang="zh-CN" altLang="en-US" sz="1600" b="1" dirty="0">
                  <a:solidFill>
                    <a:schemeClr val="tx1"/>
                  </a:solidFill>
                </a:endParaRPr>
              </a:p>
            </p:txBody>
          </p:sp>
          <p:sp>
            <p:nvSpPr>
              <p:cNvPr id="36" name="ïsḻîdê">
                <a:extLst>
                  <a:ext uri="{FF2B5EF4-FFF2-40B4-BE49-F238E27FC236}">
                    <a16:creationId xmlns:a16="http://schemas.microsoft.com/office/drawing/2014/main" id="{222823BF-E7DF-4090-A9C3-F042B6B591F0}"/>
                  </a:ext>
                </a:extLst>
              </p:cNvPr>
              <p:cNvSpPr/>
              <p:nvPr/>
            </p:nvSpPr>
            <p:spPr>
              <a:xfrm>
                <a:off x="4554415" y="5023410"/>
                <a:ext cx="1413230" cy="9829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lnSpc>
                    <a:spcPct val="150000"/>
                  </a:lnSpc>
                </a:pPr>
                <a:r>
                  <a:rPr lang="en-US" altLang="zh-CN" sz="1000" dirty="0">
                    <a:solidFill>
                      <a:schemeClr val="tx1"/>
                    </a:solidFill>
                  </a:rPr>
                  <a:t>Supporting text here.</a:t>
                </a:r>
              </a:p>
              <a:p>
                <a:pPr lvl="0" algn="ctr">
                  <a:lnSpc>
                    <a:spcPct val="150000"/>
                  </a:lnSpc>
                </a:pPr>
                <a:r>
                  <a:rPr lang="en-US" altLang="zh-CN" sz="1000" dirty="0">
                    <a:solidFill>
                      <a:schemeClr val="tx1"/>
                    </a:solidFill>
                  </a:rPr>
                  <a:t>……</a:t>
                </a:r>
              </a:p>
            </p:txBody>
          </p:sp>
        </p:grpSp>
        <p:grpSp>
          <p:nvGrpSpPr>
            <p:cNvPr id="21" name="îşļïḑê">
              <a:extLst>
                <a:ext uri="{FF2B5EF4-FFF2-40B4-BE49-F238E27FC236}">
                  <a16:creationId xmlns:a16="http://schemas.microsoft.com/office/drawing/2014/main" id="{21EED204-4EB8-4C2D-B635-85258650BEC0}"/>
                </a:ext>
              </a:extLst>
            </p:cNvPr>
            <p:cNvGrpSpPr/>
            <p:nvPr/>
          </p:nvGrpSpPr>
          <p:grpSpPr>
            <a:xfrm>
              <a:off x="6224352" y="4732991"/>
              <a:ext cx="1413230" cy="1413809"/>
              <a:chOff x="6224354" y="4592544"/>
              <a:chExt cx="1413230" cy="1413809"/>
            </a:xfrm>
          </p:grpSpPr>
          <p:sp>
            <p:nvSpPr>
              <p:cNvPr id="33" name="ís1îḓê">
                <a:extLst>
                  <a:ext uri="{FF2B5EF4-FFF2-40B4-BE49-F238E27FC236}">
                    <a16:creationId xmlns:a16="http://schemas.microsoft.com/office/drawing/2014/main" id="{2F2F7038-0AEF-493B-9508-C7699232A675}"/>
                  </a:ext>
                </a:extLst>
              </p:cNvPr>
              <p:cNvSpPr/>
              <p:nvPr/>
            </p:nvSpPr>
            <p:spPr bwMode="auto">
              <a:xfrm>
                <a:off x="6224354" y="4592544"/>
                <a:ext cx="1413230" cy="42769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1600"/>
                    </a:moveTo>
                    <a:lnTo>
                      <a:pt x="21600" y="21600"/>
                    </a:lnTo>
                    <a:lnTo>
                      <a:pt x="21600" y="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a:bodyPr>
              <a:lstStyle/>
              <a:p>
                <a:pPr marL="0" indent="0" algn="ctr">
                  <a:buSzTx/>
                  <a:buFontTx/>
                  <a:buNone/>
                </a:pPr>
                <a:r>
                  <a:rPr lang="en-US" altLang="zh-CN" sz="1600" b="1" dirty="0">
                    <a:solidFill>
                      <a:schemeClr val="tx1"/>
                    </a:solidFill>
                  </a:rPr>
                  <a:t>Text</a:t>
                </a:r>
                <a:endParaRPr lang="zh-CN" altLang="en-US" sz="1600" b="1" dirty="0">
                  <a:solidFill>
                    <a:schemeClr val="tx1"/>
                  </a:solidFill>
                </a:endParaRPr>
              </a:p>
            </p:txBody>
          </p:sp>
          <p:sp>
            <p:nvSpPr>
              <p:cNvPr id="34" name="ïṧľíḍè">
                <a:extLst>
                  <a:ext uri="{FF2B5EF4-FFF2-40B4-BE49-F238E27FC236}">
                    <a16:creationId xmlns:a16="http://schemas.microsoft.com/office/drawing/2014/main" id="{222823BF-E7DF-4090-A9C3-F042B6B591F0}"/>
                  </a:ext>
                </a:extLst>
              </p:cNvPr>
              <p:cNvSpPr/>
              <p:nvPr/>
            </p:nvSpPr>
            <p:spPr>
              <a:xfrm>
                <a:off x="6224354" y="5023410"/>
                <a:ext cx="1413230" cy="9829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lnSpc>
                    <a:spcPct val="150000"/>
                  </a:lnSpc>
                </a:pPr>
                <a:r>
                  <a:rPr lang="en-US" altLang="zh-CN" sz="1000" dirty="0">
                    <a:solidFill>
                      <a:schemeClr val="tx1"/>
                    </a:solidFill>
                  </a:rPr>
                  <a:t>Supporting text here.</a:t>
                </a:r>
              </a:p>
              <a:p>
                <a:pPr lvl="0" algn="ctr">
                  <a:lnSpc>
                    <a:spcPct val="150000"/>
                  </a:lnSpc>
                </a:pPr>
                <a:r>
                  <a:rPr lang="en-US" altLang="zh-CN" sz="1000" dirty="0">
                    <a:solidFill>
                      <a:schemeClr val="tx1"/>
                    </a:solidFill>
                  </a:rPr>
                  <a:t>……</a:t>
                </a:r>
              </a:p>
            </p:txBody>
          </p:sp>
        </p:grpSp>
        <p:grpSp>
          <p:nvGrpSpPr>
            <p:cNvPr id="22" name="íṥļïḋè">
              <a:extLst>
                <a:ext uri="{FF2B5EF4-FFF2-40B4-BE49-F238E27FC236}">
                  <a16:creationId xmlns:a16="http://schemas.microsoft.com/office/drawing/2014/main" id="{9C4D6D26-35F0-4B70-83A7-92EA70DBDEEE}"/>
                </a:ext>
              </a:extLst>
            </p:cNvPr>
            <p:cNvGrpSpPr/>
            <p:nvPr/>
          </p:nvGrpSpPr>
          <p:grpSpPr>
            <a:xfrm>
              <a:off x="7894291" y="4732991"/>
              <a:ext cx="1413230" cy="1413809"/>
              <a:chOff x="7894293" y="4592544"/>
              <a:chExt cx="1413230" cy="1413809"/>
            </a:xfrm>
          </p:grpSpPr>
          <p:sp>
            <p:nvSpPr>
              <p:cNvPr id="31" name="í$1îďe">
                <a:extLst>
                  <a:ext uri="{FF2B5EF4-FFF2-40B4-BE49-F238E27FC236}">
                    <a16:creationId xmlns:a16="http://schemas.microsoft.com/office/drawing/2014/main" id="{8665D7B2-E53A-41AB-9C5C-D078A4AD2AAF}"/>
                  </a:ext>
                </a:extLst>
              </p:cNvPr>
              <p:cNvSpPr/>
              <p:nvPr/>
            </p:nvSpPr>
            <p:spPr bwMode="auto">
              <a:xfrm>
                <a:off x="7894293" y="4592544"/>
                <a:ext cx="1413230" cy="42769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1600"/>
                    </a:moveTo>
                    <a:lnTo>
                      <a:pt x="21600" y="21600"/>
                    </a:lnTo>
                    <a:lnTo>
                      <a:pt x="21600" y="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a:bodyPr>
              <a:lstStyle/>
              <a:p>
                <a:pPr marL="0" indent="0" algn="ctr">
                  <a:buSzTx/>
                  <a:buFontTx/>
                  <a:buNone/>
                </a:pPr>
                <a:r>
                  <a:rPr lang="en-US" altLang="zh-CN" sz="1600" b="1" dirty="0">
                    <a:solidFill>
                      <a:schemeClr val="tx1"/>
                    </a:solidFill>
                  </a:rPr>
                  <a:t>Text</a:t>
                </a:r>
                <a:endParaRPr lang="zh-CN" altLang="en-US" sz="1600" b="1" dirty="0">
                  <a:solidFill>
                    <a:schemeClr val="tx1"/>
                  </a:solidFill>
                </a:endParaRPr>
              </a:p>
            </p:txBody>
          </p:sp>
          <p:sp>
            <p:nvSpPr>
              <p:cNvPr id="32" name="ïś1íḑè">
                <a:extLst>
                  <a:ext uri="{FF2B5EF4-FFF2-40B4-BE49-F238E27FC236}">
                    <a16:creationId xmlns:a16="http://schemas.microsoft.com/office/drawing/2014/main" id="{222823BF-E7DF-4090-A9C3-F042B6B591F0}"/>
                  </a:ext>
                </a:extLst>
              </p:cNvPr>
              <p:cNvSpPr/>
              <p:nvPr/>
            </p:nvSpPr>
            <p:spPr>
              <a:xfrm>
                <a:off x="7894293" y="5023410"/>
                <a:ext cx="1413230" cy="9829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lnSpc>
                    <a:spcPct val="150000"/>
                  </a:lnSpc>
                </a:pPr>
                <a:r>
                  <a:rPr lang="en-US" altLang="zh-CN" sz="1000" dirty="0">
                    <a:solidFill>
                      <a:schemeClr val="tx1"/>
                    </a:solidFill>
                  </a:rPr>
                  <a:t>Supporting text here.</a:t>
                </a:r>
              </a:p>
              <a:p>
                <a:pPr lvl="0" algn="ctr">
                  <a:lnSpc>
                    <a:spcPct val="150000"/>
                  </a:lnSpc>
                </a:pPr>
                <a:r>
                  <a:rPr lang="en-US" altLang="zh-CN" sz="1000" dirty="0">
                    <a:solidFill>
                      <a:schemeClr val="tx1"/>
                    </a:solidFill>
                  </a:rPr>
                  <a:t>……</a:t>
                </a:r>
              </a:p>
            </p:txBody>
          </p:sp>
        </p:grpSp>
        <p:grpSp>
          <p:nvGrpSpPr>
            <p:cNvPr id="23" name="îṥľîḋè">
              <a:extLst>
                <a:ext uri="{FF2B5EF4-FFF2-40B4-BE49-F238E27FC236}">
                  <a16:creationId xmlns:a16="http://schemas.microsoft.com/office/drawing/2014/main" id="{9FDDB140-8058-4CD2-903C-CDAA7722B3E6}"/>
                </a:ext>
              </a:extLst>
            </p:cNvPr>
            <p:cNvGrpSpPr/>
            <p:nvPr/>
          </p:nvGrpSpPr>
          <p:grpSpPr>
            <a:xfrm>
              <a:off x="9564232" y="4732991"/>
              <a:ext cx="1413230" cy="1413809"/>
              <a:chOff x="9564232" y="4592544"/>
              <a:chExt cx="1413230" cy="1413809"/>
            </a:xfrm>
          </p:grpSpPr>
          <p:sp>
            <p:nvSpPr>
              <p:cNvPr id="29" name="ïSḷiḋé">
                <a:extLst>
                  <a:ext uri="{FF2B5EF4-FFF2-40B4-BE49-F238E27FC236}">
                    <a16:creationId xmlns:a16="http://schemas.microsoft.com/office/drawing/2014/main" id="{B6950624-2103-4708-A69F-E3D58054AA77}"/>
                  </a:ext>
                </a:extLst>
              </p:cNvPr>
              <p:cNvSpPr/>
              <p:nvPr/>
            </p:nvSpPr>
            <p:spPr bwMode="auto">
              <a:xfrm>
                <a:off x="9564232" y="4592544"/>
                <a:ext cx="1413230" cy="427691"/>
              </a:xfrm>
              <a:custGeom>
                <a:avLst/>
                <a:gdLst>
                  <a:gd name="T0" fmla="*/ 10800 w 21600"/>
                  <a:gd name="T1" fmla="*/ 10800 h 21600"/>
                  <a:gd name="T2" fmla="*/ 10800 w 21600"/>
                  <a:gd name="T3" fmla="*/ 10800 h 21600"/>
                  <a:gd name="T4" fmla="*/ 10800 w 21600"/>
                  <a:gd name="T5" fmla="*/ 10800 h 21600"/>
                  <a:gd name="T6" fmla="*/ 10800 w 21600"/>
                  <a:gd name="T7" fmla="*/ 10800 h 21600"/>
                </a:gdLst>
                <a:ahLst/>
                <a:cxnLst>
                  <a:cxn ang="0">
                    <a:pos x="T0" y="T1"/>
                  </a:cxn>
                  <a:cxn ang="0">
                    <a:pos x="T2" y="T3"/>
                  </a:cxn>
                  <a:cxn ang="0">
                    <a:pos x="T4" y="T5"/>
                  </a:cxn>
                  <a:cxn ang="0">
                    <a:pos x="T6" y="T7"/>
                  </a:cxn>
                </a:cxnLst>
                <a:rect l="0" t="0" r="r" b="b"/>
                <a:pathLst>
                  <a:path w="21600" h="21600">
                    <a:moveTo>
                      <a:pt x="0" y="21600"/>
                    </a:moveTo>
                    <a:lnTo>
                      <a:pt x="21600" y="21600"/>
                    </a:lnTo>
                    <a:lnTo>
                      <a:pt x="21600" y="0"/>
                    </a:lnTo>
                    <a:lnTo>
                      <a:pt x="0" y="0"/>
                    </a:lnTo>
                    <a:close/>
                  </a:path>
                </a:pathLst>
              </a:cu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91440" tIns="45720" rIns="91440" bIns="45720" anchor="ctr">
                <a:normAutofit/>
              </a:bodyPr>
              <a:lstStyle/>
              <a:p>
                <a:pPr marL="0" indent="0" algn="ctr">
                  <a:buSzTx/>
                  <a:buFontTx/>
                  <a:buNone/>
                </a:pPr>
                <a:r>
                  <a:rPr lang="en-US" altLang="zh-CN" sz="1600" b="1" dirty="0">
                    <a:solidFill>
                      <a:schemeClr val="tx1"/>
                    </a:solidFill>
                  </a:rPr>
                  <a:t>Text</a:t>
                </a:r>
                <a:endParaRPr lang="zh-CN" altLang="en-US" sz="1600" b="1" dirty="0">
                  <a:solidFill>
                    <a:schemeClr val="tx1"/>
                  </a:solidFill>
                </a:endParaRPr>
              </a:p>
            </p:txBody>
          </p:sp>
          <p:sp>
            <p:nvSpPr>
              <p:cNvPr id="30" name="ïsḷïďè">
                <a:extLst>
                  <a:ext uri="{FF2B5EF4-FFF2-40B4-BE49-F238E27FC236}">
                    <a16:creationId xmlns:a16="http://schemas.microsoft.com/office/drawing/2014/main" id="{222823BF-E7DF-4090-A9C3-F042B6B591F0}"/>
                  </a:ext>
                </a:extLst>
              </p:cNvPr>
              <p:cNvSpPr/>
              <p:nvPr/>
            </p:nvSpPr>
            <p:spPr>
              <a:xfrm>
                <a:off x="9564232" y="5023410"/>
                <a:ext cx="1413230" cy="9829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a:lnSpc>
                    <a:spcPct val="150000"/>
                  </a:lnSpc>
                </a:pPr>
                <a:r>
                  <a:rPr lang="en-US" altLang="zh-CN" sz="1000" dirty="0">
                    <a:solidFill>
                      <a:schemeClr val="tx1"/>
                    </a:solidFill>
                  </a:rPr>
                  <a:t>Supporting text here.</a:t>
                </a:r>
              </a:p>
              <a:p>
                <a:pPr lvl="0" algn="ctr">
                  <a:lnSpc>
                    <a:spcPct val="150000"/>
                  </a:lnSpc>
                </a:pPr>
                <a:r>
                  <a:rPr lang="en-US" altLang="zh-CN" sz="1000" dirty="0">
                    <a:solidFill>
                      <a:schemeClr val="tx1"/>
                    </a:solidFill>
                  </a:rPr>
                  <a:t>……</a:t>
                </a:r>
              </a:p>
            </p:txBody>
          </p:sp>
        </p:grpSp>
        <p:cxnSp>
          <p:nvCxnSpPr>
            <p:cNvPr id="24" name="直接连接符 23">
              <a:extLst>
                <a:ext uri="{FF2B5EF4-FFF2-40B4-BE49-F238E27FC236}">
                  <a16:creationId xmlns:a16="http://schemas.microsoft.com/office/drawing/2014/main" id="{C8DCA1A7-6F63-4E65-BC87-2700B8006311}"/>
                </a:ext>
              </a:extLst>
            </p:cNvPr>
            <p:cNvCxnSpPr/>
            <p:nvPr/>
          </p:nvCxnSpPr>
          <p:spPr>
            <a:xfrm>
              <a:off x="2756121" y="5160682"/>
              <a:ext cx="0" cy="986118"/>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5" name="直接连接符 24">
              <a:extLst>
                <a:ext uri="{FF2B5EF4-FFF2-40B4-BE49-F238E27FC236}">
                  <a16:creationId xmlns:a16="http://schemas.microsoft.com/office/drawing/2014/main" id="{37D5C0AD-16CD-47B6-B5D2-F9D36C7E733C}"/>
                </a:ext>
              </a:extLst>
            </p:cNvPr>
            <p:cNvCxnSpPr/>
            <p:nvPr/>
          </p:nvCxnSpPr>
          <p:spPr>
            <a:xfrm>
              <a:off x="4426059" y="5160682"/>
              <a:ext cx="0" cy="986118"/>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5EA39E6E-BFD8-4417-9DE5-7ADE1F1B9409}"/>
                </a:ext>
              </a:extLst>
            </p:cNvPr>
            <p:cNvCxnSpPr/>
            <p:nvPr/>
          </p:nvCxnSpPr>
          <p:spPr>
            <a:xfrm>
              <a:off x="6095998" y="5160682"/>
              <a:ext cx="0" cy="986118"/>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9205894F-80D4-4AB8-93AA-5D89A48D6DDA}"/>
                </a:ext>
              </a:extLst>
            </p:cNvPr>
            <p:cNvCxnSpPr/>
            <p:nvPr/>
          </p:nvCxnSpPr>
          <p:spPr>
            <a:xfrm>
              <a:off x="7765937" y="5160682"/>
              <a:ext cx="0" cy="986118"/>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33788C0E-D566-4E74-B128-7F9C959C255E}"/>
                </a:ext>
              </a:extLst>
            </p:cNvPr>
            <p:cNvCxnSpPr/>
            <p:nvPr/>
          </p:nvCxnSpPr>
          <p:spPr>
            <a:xfrm>
              <a:off x="9435876" y="5160682"/>
              <a:ext cx="0" cy="986118"/>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81964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33EC40A-14C0-40C6-A4CE-11D4E5509A7A}"/>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0D765455-82F5-450C-81A5-4D9178756102}"/>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642651C2-9772-469E-AF40-F023C46DFE01}"/>
              </a:ext>
            </a:extLst>
          </p:cNvPr>
          <p:cNvSpPr>
            <a:spLocks noGrp="1"/>
          </p:cNvSpPr>
          <p:nvPr>
            <p:ph type="sldNum" sz="quarter" idx="12"/>
          </p:nvPr>
        </p:nvSpPr>
        <p:spPr/>
        <p:txBody>
          <a:bodyPr/>
          <a:lstStyle/>
          <a:p>
            <a:fld id="{5DD3DB80-B894-403A-B48E-6FDC1A72010E}" type="slidenum">
              <a:rPr lang="zh-CN" altLang="en-US" smtClean="0"/>
              <a:pPr/>
              <a:t>17</a:t>
            </a:fld>
            <a:endParaRPr lang="zh-CN" altLang="en-US"/>
          </a:p>
        </p:txBody>
      </p:sp>
      <p:grpSp>
        <p:nvGrpSpPr>
          <p:cNvPr id="5" name="27787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6ED5B4F-440A-488C-B0BF-328BCFC3DB07}"/>
              </a:ext>
            </a:extLst>
          </p:cNvPr>
          <p:cNvGrpSpPr>
            <a:grpSpLocks noChangeAspect="1"/>
          </p:cNvGrpSpPr>
          <p:nvPr/>
        </p:nvGrpSpPr>
        <p:grpSpPr>
          <a:xfrm>
            <a:off x="1129466" y="1418164"/>
            <a:ext cx="10391022" cy="4533256"/>
            <a:chOff x="1129466" y="1418164"/>
            <a:chExt cx="10391022" cy="4533256"/>
          </a:xfrm>
        </p:grpSpPr>
        <p:grpSp>
          <p:nvGrpSpPr>
            <p:cNvPr id="6" name="íṥḻiďè">
              <a:extLst>
                <a:ext uri="{FF2B5EF4-FFF2-40B4-BE49-F238E27FC236}">
                  <a16:creationId xmlns:a16="http://schemas.microsoft.com/office/drawing/2014/main" id="{2D6A5EEC-14D5-43B9-8CCB-BB1AFA367584}"/>
                </a:ext>
              </a:extLst>
            </p:cNvPr>
            <p:cNvGrpSpPr/>
            <p:nvPr/>
          </p:nvGrpSpPr>
          <p:grpSpPr>
            <a:xfrm>
              <a:off x="1129466" y="2604340"/>
              <a:ext cx="2507299" cy="1107160"/>
              <a:chOff x="487363" y="2937695"/>
              <a:chExt cx="2507299" cy="1107160"/>
            </a:xfrm>
          </p:grpSpPr>
          <p:sp>
            <p:nvSpPr>
              <p:cNvPr id="26" name="iṧľïdê">
                <a:extLst>
                  <a:ext uri="{FF2B5EF4-FFF2-40B4-BE49-F238E27FC236}">
                    <a16:creationId xmlns:a16="http://schemas.microsoft.com/office/drawing/2014/main" id="{2F5D4478-85D1-42F6-9F84-6CF396778DFC}"/>
                  </a:ext>
                </a:extLst>
              </p:cNvPr>
              <p:cNvSpPr txBox="1"/>
              <p:nvPr/>
            </p:nvSpPr>
            <p:spPr>
              <a:xfrm>
                <a:off x="487363" y="3304444"/>
                <a:ext cx="2507299" cy="740411"/>
              </a:xfrm>
              <a:prstGeom prst="rect">
                <a:avLst/>
              </a:prstGeom>
              <a:noFill/>
            </p:spPr>
            <p:txBody>
              <a:bodyPr wrap="square" lIns="91440" tIns="45720" rIns="91440" bIns="45720" anchor="t">
                <a:noAutofit/>
              </a:bodyPr>
              <a:lstStyle/>
              <a:p>
                <a:pPr algn="r" defTabSz="914378">
                  <a:lnSpc>
                    <a:spcPct val="120000"/>
                  </a:lnSpc>
                  <a:spcBef>
                    <a:spcPct val="0"/>
                  </a:spcBef>
                  <a:defRPr/>
                </a:pPr>
                <a:r>
                  <a:rPr lang="en-US" altLang="zh-CN" sz="1100" dirty="0"/>
                  <a:t>Supporting text here</a:t>
                </a:r>
                <a:br>
                  <a:rPr lang="zh-CN" altLang="en-US" sz="1100" dirty="0"/>
                </a:br>
                <a:r>
                  <a:rPr lang="en-US" altLang="zh-CN" sz="1100" dirty="0"/>
                  <a:t>Supporting text here</a:t>
                </a:r>
                <a:br>
                  <a:rPr lang="zh-CN" altLang="en-US" sz="1100" dirty="0"/>
                </a:br>
                <a:endParaRPr lang="zh-CN" altLang="en-US" sz="1100" dirty="0"/>
              </a:p>
            </p:txBody>
          </p:sp>
          <p:sp>
            <p:nvSpPr>
              <p:cNvPr id="27" name="işliḑe">
                <a:extLst>
                  <a:ext uri="{FF2B5EF4-FFF2-40B4-BE49-F238E27FC236}">
                    <a16:creationId xmlns:a16="http://schemas.microsoft.com/office/drawing/2014/main" id="{46B7D336-D30F-4792-B2A1-7BB1C928A543}"/>
                  </a:ext>
                </a:extLst>
              </p:cNvPr>
              <p:cNvSpPr/>
              <p:nvPr/>
            </p:nvSpPr>
            <p:spPr>
              <a:xfrm>
                <a:off x="487363" y="2937695"/>
                <a:ext cx="2507299" cy="366749"/>
              </a:xfrm>
              <a:prstGeom prst="rect">
                <a:avLst/>
              </a:prstGeom>
            </p:spPr>
            <p:txBody>
              <a:bodyPr wrap="square" lIns="91440" tIns="45720" rIns="91440" bIns="45720" anchor="b">
                <a:noAutofit/>
              </a:bodyPr>
              <a:lstStyle/>
              <a:p>
                <a:pPr lvl="0" algn="r" defTabSz="914378">
                  <a:spcBef>
                    <a:spcPct val="0"/>
                  </a:spcBef>
                  <a:defRPr/>
                </a:pPr>
                <a:r>
                  <a:rPr lang="en-US" altLang="zh-CN" sz="1600" b="1" dirty="0"/>
                  <a:t>Text Here</a:t>
                </a:r>
                <a:endParaRPr lang="zh-CN" altLang="en-US" sz="1600" b="1" dirty="0"/>
              </a:p>
            </p:txBody>
          </p:sp>
        </p:grpSp>
        <p:sp>
          <p:nvSpPr>
            <p:cNvPr id="7" name="ísľïḋê">
              <a:extLst>
                <a:ext uri="{FF2B5EF4-FFF2-40B4-BE49-F238E27FC236}">
                  <a16:creationId xmlns:a16="http://schemas.microsoft.com/office/drawing/2014/main" id="{4DAE5FEE-9D93-4793-B1FC-F7A85FA95DE8}"/>
                </a:ext>
              </a:extLst>
            </p:cNvPr>
            <p:cNvSpPr/>
            <p:nvPr/>
          </p:nvSpPr>
          <p:spPr>
            <a:xfrm>
              <a:off x="4799187" y="2629420"/>
              <a:ext cx="3026792" cy="3026792"/>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nchor="ctr">
              <a:noAutofit/>
            </a:bodyPr>
            <a:lstStyle/>
            <a:p>
              <a:pPr algn="ctr"/>
              <a:r>
                <a:rPr lang="en-US" altLang="zh-CN" sz="4000" dirty="0"/>
                <a:t>   50%</a:t>
              </a:r>
            </a:p>
          </p:txBody>
        </p:sp>
        <p:sp>
          <p:nvSpPr>
            <p:cNvPr id="8" name="îṣ1iḓè">
              <a:extLst>
                <a:ext uri="{FF2B5EF4-FFF2-40B4-BE49-F238E27FC236}">
                  <a16:creationId xmlns:a16="http://schemas.microsoft.com/office/drawing/2014/main" id="{97CBD5C3-4A08-43CC-9577-FE6481FDB57A}"/>
                </a:ext>
              </a:extLst>
            </p:cNvPr>
            <p:cNvSpPr/>
            <p:nvPr/>
          </p:nvSpPr>
          <p:spPr>
            <a:xfrm>
              <a:off x="4144800" y="3747786"/>
              <a:ext cx="1816074" cy="1816075"/>
            </a:xfrm>
            <a:prstGeom prst="ellipse">
              <a:avLst/>
            </a:prstGeom>
            <a:solidFill>
              <a:schemeClr val="accent1"/>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nchor="ctr">
              <a:noAutofit/>
            </a:bodyPr>
            <a:lstStyle/>
            <a:p>
              <a:pPr algn="ctr"/>
              <a:r>
                <a:rPr lang="en-US" altLang="zh-CN" sz="2800"/>
                <a:t>30%</a:t>
              </a:r>
              <a:endParaRPr lang="en-US" altLang="zh-CN" sz="2800" dirty="0"/>
            </a:p>
          </p:txBody>
        </p:sp>
        <p:sp>
          <p:nvSpPr>
            <p:cNvPr id="9" name="ïṩliḋè">
              <a:extLst>
                <a:ext uri="{FF2B5EF4-FFF2-40B4-BE49-F238E27FC236}">
                  <a16:creationId xmlns:a16="http://schemas.microsoft.com/office/drawing/2014/main" id="{8CE8E484-2FD2-4A08-809B-51F4267BE01F}"/>
                </a:ext>
              </a:extLst>
            </p:cNvPr>
            <p:cNvSpPr/>
            <p:nvPr/>
          </p:nvSpPr>
          <p:spPr>
            <a:xfrm>
              <a:off x="4074952" y="2744626"/>
              <a:ext cx="1210717" cy="1210718"/>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91440" tIns="45720" rIns="91440" bIns="45720" anchor="ctr">
              <a:noAutofit/>
            </a:bodyPr>
            <a:lstStyle/>
            <a:p>
              <a:pPr algn="ctr"/>
              <a:r>
                <a:rPr lang="en-US" altLang="zh-CN" sz="2400" dirty="0"/>
                <a:t>20%</a:t>
              </a:r>
            </a:p>
          </p:txBody>
        </p:sp>
        <p:sp>
          <p:nvSpPr>
            <p:cNvPr id="10" name="išḻïḓê">
              <a:extLst>
                <a:ext uri="{FF2B5EF4-FFF2-40B4-BE49-F238E27FC236}">
                  <a16:creationId xmlns:a16="http://schemas.microsoft.com/office/drawing/2014/main" id="{3D2CBEB4-B6CC-48A5-894B-95424BAA1C0A}"/>
                </a:ext>
              </a:extLst>
            </p:cNvPr>
            <p:cNvSpPr/>
            <p:nvPr/>
          </p:nvSpPr>
          <p:spPr>
            <a:xfrm>
              <a:off x="3894108" y="1982115"/>
              <a:ext cx="3931872" cy="3931873"/>
            </a:xfrm>
            <a:prstGeom prst="ellipse">
              <a:avLst/>
            </a:prstGeom>
            <a:no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11" name="íṧḻîḓé">
              <a:extLst>
                <a:ext uri="{FF2B5EF4-FFF2-40B4-BE49-F238E27FC236}">
                  <a16:creationId xmlns:a16="http://schemas.microsoft.com/office/drawing/2014/main" id="{760E036E-495A-44F1-A9E7-A24AB7377FA7}"/>
                </a:ext>
              </a:extLst>
            </p:cNvPr>
            <p:cNvSpPr/>
            <p:nvPr/>
          </p:nvSpPr>
          <p:spPr>
            <a:xfrm>
              <a:off x="7430815" y="4563351"/>
              <a:ext cx="498143" cy="49814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12" name="îsḻíḍe">
              <a:extLst>
                <a:ext uri="{FF2B5EF4-FFF2-40B4-BE49-F238E27FC236}">
                  <a16:creationId xmlns:a16="http://schemas.microsoft.com/office/drawing/2014/main" id="{A67DB6C3-891E-42BE-8BA4-D1AA1A433849}"/>
                </a:ext>
              </a:extLst>
            </p:cNvPr>
            <p:cNvSpPr/>
            <p:nvPr/>
          </p:nvSpPr>
          <p:spPr bwMode="auto">
            <a:xfrm>
              <a:off x="7533730" y="4675243"/>
              <a:ext cx="292314" cy="274359"/>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3" name="ïṧlîdé">
              <a:extLst>
                <a:ext uri="{FF2B5EF4-FFF2-40B4-BE49-F238E27FC236}">
                  <a16:creationId xmlns:a16="http://schemas.microsoft.com/office/drawing/2014/main" id="{364268DF-69C2-45F2-8DE0-E4FA12AC2265}"/>
                </a:ext>
              </a:extLst>
            </p:cNvPr>
            <p:cNvSpPr/>
            <p:nvPr/>
          </p:nvSpPr>
          <p:spPr>
            <a:xfrm>
              <a:off x="4120306" y="5011589"/>
              <a:ext cx="498143" cy="498143"/>
            </a:xfrm>
            <a:prstGeom prst="ellipse">
              <a:avLst/>
            </a:prstGeom>
            <a:solidFill>
              <a:schemeClr val="accent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14" name="íşḻidé">
              <a:extLst>
                <a:ext uri="{FF2B5EF4-FFF2-40B4-BE49-F238E27FC236}">
                  <a16:creationId xmlns:a16="http://schemas.microsoft.com/office/drawing/2014/main" id="{297A9562-5E78-44D6-B095-57434BEA9BF1}"/>
                </a:ext>
              </a:extLst>
            </p:cNvPr>
            <p:cNvSpPr/>
            <p:nvPr/>
          </p:nvSpPr>
          <p:spPr>
            <a:xfrm>
              <a:off x="3821529" y="2993131"/>
              <a:ext cx="498143" cy="498143"/>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endParaRPr/>
            </a:p>
          </p:txBody>
        </p:sp>
        <p:sp>
          <p:nvSpPr>
            <p:cNvPr id="15" name="îSļïďé">
              <a:extLst>
                <a:ext uri="{FF2B5EF4-FFF2-40B4-BE49-F238E27FC236}">
                  <a16:creationId xmlns:a16="http://schemas.microsoft.com/office/drawing/2014/main" id="{2A2A6A43-4689-4374-874A-2E43908A79A5}"/>
                </a:ext>
              </a:extLst>
            </p:cNvPr>
            <p:cNvSpPr/>
            <p:nvPr/>
          </p:nvSpPr>
          <p:spPr bwMode="auto">
            <a:xfrm>
              <a:off x="4223221" y="5123481"/>
              <a:ext cx="292314" cy="274359"/>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6" name="iṣľîḑè">
              <a:extLst>
                <a:ext uri="{FF2B5EF4-FFF2-40B4-BE49-F238E27FC236}">
                  <a16:creationId xmlns:a16="http://schemas.microsoft.com/office/drawing/2014/main" id="{526AEA5D-FB7D-4A97-B04B-2B55E0EF34F1}"/>
                </a:ext>
              </a:extLst>
            </p:cNvPr>
            <p:cNvSpPr txBox="1"/>
            <p:nvPr/>
          </p:nvSpPr>
          <p:spPr>
            <a:xfrm>
              <a:off x="7692520" y="1418164"/>
              <a:ext cx="472878" cy="452191"/>
            </a:xfrm>
            <a:prstGeom prst="rect">
              <a:avLst/>
            </a:prstGeom>
            <a:noFill/>
          </p:spPr>
          <p:txBody>
            <a:bodyPr wrap="square" lIns="91440" tIns="45720" rIns="91440" bIns="45720" anchor="ctr">
              <a:prstTxWarp prst="textPlain">
                <a:avLst/>
              </a:prstTxWarp>
              <a:noAutofit/>
            </a:bodyPr>
            <a:lstStyle/>
            <a:p>
              <a:r>
                <a:rPr lang="en-US" sz="4800" dirty="0"/>
                <a:t>“</a:t>
              </a:r>
            </a:p>
          </p:txBody>
        </p:sp>
        <p:sp>
          <p:nvSpPr>
            <p:cNvPr id="17" name="ïşḻíḑé">
              <a:extLst>
                <a:ext uri="{FF2B5EF4-FFF2-40B4-BE49-F238E27FC236}">
                  <a16:creationId xmlns:a16="http://schemas.microsoft.com/office/drawing/2014/main" id="{05E00AB2-F898-4752-84C9-C840C15AB784}"/>
                </a:ext>
              </a:extLst>
            </p:cNvPr>
            <p:cNvSpPr/>
            <p:nvPr/>
          </p:nvSpPr>
          <p:spPr>
            <a:xfrm>
              <a:off x="7692522" y="1870355"/>
              <a:ext cx="3827966" cy="407934"/>
            </a:xfrm>
            <a:prstGeom prst="rect">
              <a:avLst/>
            </a:prstGeom>
          </p:spPr>
          <p:txBody>
            <a:bodyPr wrap="square" lIns="91440" tIns="45720" rIns="91440" bIns="45720" anchor="ctr">
              <a:noAutofit/>
            </a:bodyPr>
            <a:lstStyle/>
            <a:p>
              <a:pPr>
                <a:lnSpc>
                  <a:spcPct val="120000"/>
                </a:lnSpc>
              </a:pPr>
              <a:r>
                <a:rPr lang="en-US" altLang="zh-CN" sz="2000" b="1" dirty="0"/>
                <a:t>Supporting text here</a:t>
              </a:r>
              <a:endParaRPr lang="zh-CN" altLang="en-US" sz="2000" b="1" dirty="0"/>
            </a:p>
          </p:txBody>
        </p:sp>
        <p:sp>
          <p:nvSpPr>
            <p:cNvPr id="18" name="íṡ1iḋè">
              <a:extLst>
                <a:ext uri="{FF2B5EF4-FFF2-40B4-BE49-F238E27FC236}">
                  <a16:creationId xmlns:a16="http://schemas.microsoft.com/office/drawing/2014/main" id="{51F7C261-1E82-4BCB-A1DD-593EE6B74C22}"/>
                </a:ext>
              </a:extLst>
            </p:cNvPr>
            <p:cNvSpPr/>
            <p:nvPr/>
          </p:nvSpPr>
          <p:spPr bwMode="auto">
            <a:xfrm>
              <a:off x="3924442" y="3105023"/>
              <a:ext cx="292313" cy="274358"/>
            </a:xfrm>
            <a:custGeom>
              <a:avLst/>
              <a:gdLst>
                <a:gd name="connsiteX0" fmla="*/ 171677 w 606580"/>
                <a:gd name="connsiteY0" fmla="*/ 318744 h 569322"/>
                <a:gd name="connsiteX1" fmla="*/ 228500 w 606580"/>
                <a:gd name="connsiteY1" fmla="*/ 375386 h 569322"/>
                <a:gd name="connsiteX2" fmla="*/ 227108 w 606580"/>
                <a:gd name="connsiteY2" fmla="*/ 387623 h 569322"/>
                <a:gd name="connsiteX3" fmla="*/ 356167 w 606580"/>
                <a:gd name="connsiteY3" fmla="*/ 468739 h 569322"/>
                <a:gd name="connsiteX4" fmla="*/ 391728 w 606580"/>
                <a:gd name="connsiteY4" fmla="*/ 455945 h 569322"/>
                <a:gd name="connsiteX5" fmla="*/ 419490 w 606580"/>
                <a:gd name="connsiteY5" fmla="*/ 463454 h 569322"/>
                <a:gd name="connsiteX6" fmla="*/ 497019 w 606580"/>
                <a:gd name="connsiteY6" fmla="*/ 395874 h 569322"/>
                <a:gd name="connsiteX7" fmla="*/ 493026 w 606580"/>
                <a:gd name="connsiteY7" fmla="*/ 375386 h 569322"/>
                <a:gd name="connsiteX8" fmla="*/ 549849 w 606580"/>
                <a:gd name="connsiteY8" fmla="*/ 318744 h 569322"/>
                <a:gd name="connsiteX9" fmla="*/ 606580 w 606580"/>
                <a:gd name="connsiteY9" fmla="*/ 375386 h 569322"/>
                <a:gd name="connsiteX10" fmla="*/ 549849 w 606580"/>
                <a:gd name="connsiteY10" fmla="*/ 432121 h 569322"/>
                <a:gd name="connsiteX11" fmla="*/ 521809 w 606580"/>
                <a:gd name="connsiteY11" fmla="*/ 424519 h 569322"/>
                <a:gd name="connsiteX12" fmla="*/ 444466 w 606580"/>
                <a:gd name="connsiteY12" fmla="*/ 491915 h 569322"/>
                <a:gd name="connsiteX13" fmla="*/ 448459 w 606580"/>
                <a:gd name="connsiteY13" fmla="*/ 512587 h 569322"/>
                <a:gd name="connsiteX14" fmla="*/ 391728 w 606580"/>
                <a:gd name="connsiteY14" fmla="*/ 569322 h 569322"/>
                <a:gd name="connsiteX15" fmla="*/ 334905 w 606580"/>
                <a:gd name="connsiteY15" fmla="*/ 512587 h 569322"/>
                <a:gd name="connsiteX16" fmla="*/ 336112 w 606580"/>
                <a:gd name="connsiteY16" fmla="*/ 500907 h 569322"/>
                <a:gd name="connsiteX17" fmla="*/ 206867 w 606580"/>
                <a:gd name="connsiteY17" fmla="*/ 419606 h 569322"/>
                <a:gd name="connsiteX18" fmla="*/ 171677 w 606580"/>
                <a:gd name="connsiteY18" fmla="*/ 432121 h 569322"/>
                <a:gd name="connsiteX19" fmla="*/ 152736 w 606580"/>
                <a:gd name="connsiteY19" fmla="*/ 428598 h 569322"/>
                <a:gd name="connsiteX20" fmla="*/ 105847 w 606580"/>
                <a:gd name="connsiteY20" fmla="*/ 484498 h 569322"/>
                <a:gd name="connsiteX21" fmla="*/ 113554 w 606580"/>
                <a:gd name="connsiteY21" fmla="*/ 512587 h 569322"/>
                <a:gd name="connsiteX22" fmla="*/ 56823 w 606580"/>
                <a:gd name="connsiteY22" fmla="*/ 569322 h 569322"/>
                <a:gd name="connsiteX23" fmla="*/ 0 w 606580"/>
                <a:gd name="connsiteY23" fmla="*/ 512587 h 569322"/>
                <a:gd name="connsiteX24" fmla="*/ 56823 w 606580"/>
                <a:gd name="connsiteY24" fmla="*/ 455945 h 569322"/>
                <a:gd name="connsiteX25" fmla="*/ 77157 w 606580"/>
                <a:gd name="connsiteY25" fmla="*/ 459839 h 569322"/>
                <a:gd name="connsiteX26" fmla="*/ 123303 w 606580"/>
                <a:gd name="connsiteY26" fmla="*/ 404773 h 569322"/>
                <a:gd name="connsiteX27" fmla="*/ 114854 w 606580"/>
                <a:gd name="connsiteY27" fmla="*/ 375386 h 569322"/>
                <a:gd name="connsiteX28" fmla="*/ 171677 w 606580"/>
                <a:gd name="connsiteY28" fmla="*/ 318744 h 569322"/>
                <a:gd name="connsiteX29" fmla="*/ 316484 w 606580"/>
                <a:gd name="connsiteY29" fmla="*/ 174937 h 569322"/>
                <a:gd name="connsiteX30" fmla="*/ 316577 w 606580"/>
                <a:gd name="connsiteY30" fmla="*/ 174991 h 569322"/>
                <a:gd name="connsiteX31" fmla="*/ 316577 w 606580"/>
                <a:gd name="connsiteY31" fmla="*/ 243818 h 569322"/>
                <a:gd name="connsiteX32" fmla="*/ 338115 w 606580"/>
                <a:gd name="connsiteY32" fmla="*/ 231488 h 569322"/>
                <a:gd name="connsiteX33" fmla="*/ 346378 w 606580"/>
                <a:gd name="connsiteY33" fmla="*/ 208497 h 569322"/>
                <a:gd name="connsiteX34" fmla="*/ 339415 w 606580"/>
                <a:gd name="connsiteY34" fmla="*/ 188102 h 569322"/>
                <a:gd name="connsiteX35" fmla="*/ 316577 w 606580"/>
                <a:gd name="connsiteY35" fmla="*/ 174991 h 569322"/>
                <a:gd name="connsiteX36" fmla="*/ 316577 w 606580"/>
                <a:gd name="connsiteY36" fmla="*/ 174937 h 569322"/>
                <a:gd name="connsiteX37" fmla="*/ 290954 w 606580"/>
                <a:gd name="connsiteY37" fmla="*/ 55995 h 569322"/>
                <a:gd name="connsiteX38" fmla="*/ 274243 w 606580"/>
                <a:gd name="connsiteY38" fmla="*/ 67954 h 569322"/>
                <a:gd name="connsiteX39" fmla="*/ 268116 w 606580"/>
                <a:gd name="connsiteY39" fmla="*/ 86681 h 569322"/>
                <a:gd name="connsiteX40" fmla="*/ 273779 w 606580"/>
                <a:gd name="connsiteY40" fmla="*/ 104109 h 569322"/>
                <a:gd name="connsiteX41" fmla="*/ 290954 w 606580"/>
                <a:gd name="connsiteY41" fmla="*/ 117088 h 569322"/>
                <a:gd name="connsiteX42" fmla="*/ 290861 w 606580"/>
                <a:gd name="connsiteY42" fmla="*/ 0 h 569322"/>
                <a:gd name="connsiteX43" fmla="*/ 316484 w 606580"/>
                <a:gd name="connsiteY43" fmla="*/ 0 h 569322"/>
                <a:gd name="connsiteX44" fmla="*/ 316484 w 606580"/>
                <a:gd name="connsiteY44" fmla="*/ 17522 h 569322"/>
                <a:gd name="connsiteX45" fmla="*/ 361232 w 606580"/>
                <a:gd name="connsiteY45" fmla="*/ 36619 h 569322"/>
                <a:gd name="connsiteX46" fmla="*/ 382492 w 606580"/>
                <a:gd name="connsiteY46" fmla="*/ 78893 h 569322"/>
                <a:gd name="connsiteX47" fmla="*/ 337744 w 606580"/>
                <a:gd name="connsiteY47" fmla="*/ 84734 h 569322"/>
                <a:gd name="connsiteX48" fmla="*/ 316484 w 606580"/>
                <a:gd name="connsiteY48" fmla="*/ 56458 h 569322"/>
                <a:gd name="connsiteX49" fmla="*/ 316484 w 606580"/>
                <a:gd name="connsiteY49" fmla="*/ 125525 h 569322"/>
                <a:gd name="connsiteX50" fmla="*/ 374322 w 606580"/>
                <a:gd name="connsiteY50" fmla="*/ 155283 h 569322"/>
                <a:gd name="connsiteX51" fmla="*/ 389733 w 606580"/>
                <a:gd name="connsiteY51" fmla="*/ 202193 h 569322"/>
                <a:gd name="connsiteX52" fmla="*/ 370330 w 606580"/>
                <a:gd name="connsiteY52" fmla="*/ 255963 h 569322"/>
                <a:gd name="connsiteX53" fmla="*/ 316484 w 606580"/>
                <a:gd name="connsiteY53" fmla="*/ 282755 h 569322"/>
                <a:gd name="connsiteX54" fmla="*/ 316484 w 606580"/>
                <a:gd name="connsiteY54" fmla="*/ 315851 h 569322"/>
                <a:gd name="connsiteX55" fmla="*/ 290861 w 606580"/>
                <a:gd name="connsiteY55" fmla="*/ 315851 h 569322"/>
                <a:gd name="connsiteX56" fmla="*/ 290861 w 606580"/>
                <a:gd name="connsiteY56" fmla="*/ 283682 h 569322"/>
                <a:gd name="connsiteX57" fmla="*/ 241193 w 606580"/>
                <a:gd name="connsiteY57" fmla="*/ 260876 h 569322"/>
                <a:gd name="connsiteX58" fmla="*/ 216777 w 606580"/>
                <a:gd name="connsiteY58" fmla="*/ 207106 h 569322"/>
                <a:gd name="connsiteX59" fmla="*/ 262917 w 606580"/>
                <a:gd name="connsiteY59" fmla="*/ 202100 h 569322"/>
                <a:gd name="connsiteX60" fmla="*/ 273593 w 606580"/>
                <a:gd name="connsiteY60" fmla="*/ 226482 h 569322"/>
                <a:gd name="connsiteX61" fmla="*/ 290861 w 606580"/>
                <a:gd name="connsiteY61" fmla="*/ 241315 h 569322"/>
                <a:gd name="connsiteX62" fmla="*/ 290861 w 606580"/>
                <a:gd name="connsiteY62" fmla="*/ 167335 h 569322"/>
                <a:gd name="connsiteX63" fmla="*/ 240079 w 606580"/>
                <a:gd name="connsiteY63" fmla="*/ 137484 h 569322"/>
                <a:gd name="connsiteX64" fmla="*/ 223833 w 606580"/>
                <a:gd name="connsiteY64" fmla="*/ 88813 h 569322"/>
                <a:gd name="connsiteX65" fmla="*/ 242214 w 606580"/>
                <a:gd name="connsiteY65" fmla="*/ 40142 h 569322"/>
                <a:gd name="connsiteX66" fmla="*/ 290861 w 606580"/>
                <a:gd name="connsiteY66" fmla="*/ 17522 h 569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Lst>
              <a:rect l="l" t="t" r="r" b="b"/>
              <a:pathLst>
                <a:path w="606580" h="569322">
                  <a:moveTo>
                    <a:pt x="171677" y="318744"/>
                  </a:moveTo>
                  <a:cubicBezTo>
                    <a:pt x="203060" y="318744"/>
                    <a:pt x="228500" y="344145"/>
                    <a:pt x="228500" y="375386"/>
                  </a:cubicBezTo>
                  <a:cubicBezTo>
                    <a:pt x="228500" y="379650"/>
                    <a:pt x="227943" y="383729"/>
                    <a:pt x="227108" y="387623"/>
                  </a:cubicBezTo>
                  <a:lnTo>
                    <a:pt x="356167" y="468739"/>
                  </a:lnTo>
                  <a:cubicBezTo>
                    <a:pt x="365916" y="460859"/>
                    <a:pt x="378172" y="455945"/>
                    <a:pt x="391728" y="455945"/>
                  </a:cubicBezTo>
                  <a:cubicBezTo>
                    <a:pt x="401849" y="455945"/>
                    <a:pt x="411227" y="458819"/>
                    <a:pt x="419490" y="463454"/>
                  </a:cubicBezTo>
                  <a:lnTo>
                    <a:pt x="497019" y="395874"/>
                  </a:lnTo>
                  <a:cubicBezTo>
                    <a:pt x="494512" y="389570"/>
                    <a:pt x="493026" y="382617"/>
                    <a:pt x="493026" y="375386"/>
                  </a:cubicBezTo>
                  <a:cubicBezTo>
                    <a:pt x="493026" y="344052"/>
                    <a:pt x="518467" y="318744"/>
                    <a:pt x="549849" y="318744"/>
                  </a:cubicBezTo>
                  <a:cubicBezTo>
                    <a:pt x="581232" y="318744"/>
                    <a:pt x="606580" y="344052"/>
                    <a:pt x="606580" y="375386"/>
                  </a:cubicBezTo>
                  <a:cubicBezTo>
                    <a:pt x="606580" y="406720"/>
                    <a:pt x="581232" y="432121"/>
                    <a:pt x="549849" y="432121"/>
                  </a:cubicBezTo>
                  <a:cubicBezTo>
                    <a:pt x="539636" y="432121"/>
                    <a:pt x="530166" y="429154"/>
                    <a:pt x="521809" y="424519"/>
                  </a:cubicBezTo>
                  <a:lnTo>
                    <a:pt x="444466" y="491915"/>
                  </a:lnTo>
                  <a:cubicBezTo>
                    <a:pt x="446973" y="498311"/>
                    <a:pt x="448459" y="505264"/>
                    <a:pt x="448459" y="512587"/>
                  </a:cubicBezTo>
                  <a:cubicBezTo>
                    <a:pt x="448459" y="543921"/>
                    <a:pt x="423111" y="569322"/>
                    <a:pt x="391728" y="569322"/>
                  </a:cubicBezTo>
                  <a:cubicBezTo>
                    <a:pt x="360345" y="569322"/>
                    <a:pt x="334905" y="543921"/>
                    <a:pt x="334905" y="512587"/>
                  </a:cubicBezTo>
                  <a:cubicBezTo>
                    <a:pt x="334905" y="508601"/>
                    <a:pt x="335369" y="504708"/>
                    <a:pt x="336112" y="500907"/>
                  </a:cubicBezTo>
                  <a:lnTo>
                    <a:pt x="206867" y="419606"/>
                  </a:lnTo>
                  <a:cubicBezTo>
                    <a:pt x="197118" y="427300"/>
                    <a:pt x="185047" y="432121"/>
                    <a:pt x="171677" y="432121"/>
                  </a:cubicBezTo>
                  <a:cubicBezTo>
                    <a:pt x="164992" y="432121"/>
                    <a:pt x="158678" y="430730"/>
                    <a:pt x="152736" y="428598"/>
                  </a:cubicBezTo>
                  <a:lnTo>
                    <a:pt x="105847" y="484498"/>
                  </a:lnTo>
                  <a:cubicBezTo>
                    <a:pt x="110676" y="492842"/>
                    <a:pt x="113554" y="502390"/>
                    <a:pt x="113554" y="512587"/>
                  </a:cubicBezTo>
                  <a:cubicBezTo>
                    <a:pt x="113554" y="543921"/>
                    <a:pt x="88206" y="569322"/>
                    <a:pt x="56823" y="569322"/>
                  </a:cubicBezTo>
                  <a:cubicBezTo>
                    <a:pt x="25441" y="569322"/>
                    <a:pt x="0" y="543921"/>
                    <a:pt x="0" y="512587"/>
                  </a:cubicBezTo>
                  <a:cubicBezTo>
                    <a:pt x="0" y="481346"/>
                    <a:pt x="25441" y="455945"/>
                    <a:pt x="56823" y="455945"/>
                  </a:cubicBezTo>
                  <a:cubicBezTo>
                    <a:pt x="63973" y="455945"/>
                    <a:pt x="70843" y="457429"/>
                    <a:pt x="77157" y="459839"/>
                  </a:cubicBezTo>
                  <a:lnTo>
                    <a:pt x="123303" y="404773"/>
                  </a:lnTo>
                  <a:cubicBezTo>
                    <a:pt x="118103" y="396152"/>
                    <a:pt x="114854" y="386232"/>
                    <a:pt x="114854" y="375386"/>
                  </a:cubicBezTo>
                  <a:cubicBezTo>
                    <a:pt x="114854" y="344145"/>
                    <a:pt x="140294" y="318744"/>
                    <a:pt x="171677" y="318744"/>
                  </a:cubicBezTo>
                  <a:close/>
                  <a:moveTo>
                    <a:pt x="316484" y="174937"/>
                  </a:moveTo>
                  <a:lnTo>
                    <a:pt x="316577" y="174991"/>
                  </a:lnTo>
                  <a:lnTo>
                    <a:pt x="316577" y="243818"/>
                  </a:lnTo>
                  <a:cubicBezTo>
                    <a:pt x="325397" y="242149"/>
                    <a:pt x="332545" y="238070"/>
                    <a:pt x="338115" y="231488"/>
                  </a:cubicBezTo>
                  <a:cubicBezTo>
                    <a:pt x="343593" y="224999"/>
                    <a:pt x="346378" y="217304"/>
                    <a:pt x="346378" y="208497"/>
                  </a:cubicBezTo>
                  <a:cubicBezTo>
                    <a:pt x="346378" y="200617"/>
                    <a:pt x="344057" y="193757"/>
                    <a:pt x="339415" y="188102"/>
                  </a:cubicBezTo>
                  <a:lnTo>
                    <a:pt x="316577" y="174991"/>
                  </a:lnTo>
                  <a:lnTo>
                    <a:pt x="316577" y="174937"/>
                  </a:lnTo>
                  <a:close/>
                  <a:moveTo>
                    <a:pt x="290954" y="55995"/>
                  </a:moveTo>
                  <a:cubicBezTo>
                    <a:pt x="283991" y="58312"/>
                    <a:pt x="278421" y="62299"/>
                    <a:pt x="274243" y="67954"/>
                  </a:cubicBezTo>
                  <a:cubicBezTo>
                    <a:pt x="270158" y="73609"/>
                    <a:pt x="268116" y="79913"/>
                    <a:pt x="268116" y="86681"/>
                  </a:cubicBezTo>
                  <a:cubicBezTo>
                    <a:pt x="268116" y="92892"/>
                    <a:pt x="269973" y="98732"/>
                    <a:pt x="273779" y="104109"/>
                  </a:cubicBezTo>
                  <a:cubicBezTo>
                    <a:pt x="277493" y="109394"/>
                    <a:pt x="283249" y="113751"/>
                    <a:pt x="290954" y="117088"/>
                  </a:cubicBezTo>
                  <a:close/>
                  <a:moveTo>
                    <a:pt x="290861" y="0"/>
                  </a:moveTo>
                  <a:lnTo>
                    <a:pt x="316484" y="0"/>
                  </a:lnTo>
                  <a:lnTo>
                    <a:pt x="316484" y="17522"/>
                  </a:lnTo>
                  <a:cubicBezTo>
                    <a:pt x="335237" y="19747"/>
                    <a:pt x="350184" y="26143"/>
                    <a:pt x="361232" y="36619"/>
                  </a:cubicBezTo>
                  <a:cubicBezTo>
                    <a:pt x="372280" y="47188"/>
                    <a:pt x="379428" y="61279"/>
                    <a:pt x="382492" y="78893"/>
                  </a:cubicBezTo>
                  <a:lnTo>
                    <a:pt x="337744" y="84734"/>
                  </a:lnTo>
                  <a:cubicBezTo>
                    <a:pt x="335052" y="70828"/>
                    <a:pt x="327903" y="61464"/>
                    <a:pt x="316484" y="56458"/>
                  </a:cubicBezTo>
                  <a:lnTo>
                    <a:pt x="316484" y="125525"/>
                  </a:lnTo>
                  <a:cubicBezTo>
                    <a:pt x="344800" y="133219"/>
                    <a:pt x="364110" y="143139"/>
                    <a:pt x="374322" y="155283"/>
                  </a:cubicBezTo>
                  <a:cubicBezTo>
                    <a:pt x="384534" y="167428"/>
                    <a:pt x="389733" y="183095"/>
                    <a:pt x="389733" y="202193"/>
                  </a:cubicBezTo>
                  <a:cubicBezTo>
                    <a:pt x="389733" y="223423"/>
                    <a:pt x="383234" y="241408"/>
                    <a:pt x="370330" y="255963"/>
                  </a:cubicBezTo>
                  <a:cubicBezTo>
                    <a:pt x="357426" y="270610"/>
                    <a:pt x="339508" y="279510"/>
                    <a:pt x="316484" y="282755"/>
                  </a:cubicBezTo>
                  <a:lnTo>
                    <a:pt x="316484" y="315851"/>
                  </a:lnTo>
                  <a:lnTo>
                    <a:pt x="290861" y="315851"/>
                  </a:lnTo>
                  <a:lnTo>
                    <a:pt x="290861" y="283682"/>
                  </a:lnTo>
                  <a:cubicBezTo>
                    <a:pt x="270530" y="281179"/>
                    <a:pt x="253912" y="273577"/>
                    <a:pt x="241193" y="260876"/>
                  </a:cubicBezTo>
                  <a:cubicBezTo>
                    <a:pt x="228475" y="248175"/>
                    <a:pt x="220398" y="230283"/>
                    <a:pt x="216777" y="207106"/>
                  </a:cubicBezTo>
                  <a:lnTo>
                    <a:pt x="262917" y="202100"/>
                  </a:lnTo>
                  <a:cubicBezTo>
                    <a:pt x="264867" y="211556"/>
                    <a:pt x="268395" y="219714"/>
                    <a:pt x="273593" y="226482"/>
                  </a:cubicBezTo>
                  <a:cubicBezTo>
                    <a:pt x="278792" y="233342"/>
                    <a:pt x="284548" y="238256"/>
                    <a:pt x="290861" y="241315"/>
                  </a:cubicBezTo>
                  <a:lnTo>
                    <a:pt x="290861" y="167335"/>
                  </a:lnTo>
                  <a:cubicBezTo>
                    <a:pt x="267745" y="160753"/>
                    <a:pt x="250848" y="150834"/>
                    <a:pt x="240079" y="137484"/>
                  </a:cubicBezTo>
                  <a:cubicBezTo>
                    <a:pt x="229310" y="124041"/>
                    <a:pt x="223833" y="107910"/>
                    <a:pt x="223833" y="88813"/>
                  </a:cubicBezTo>
                  <a:cubicBezTo>
                    <a:pt x="223833" y="69530"/>
                    <a:pt x="229960" y="53306"/>
                    <a:pt x="242214" y="40142"/>
                  </a:cubicBezTo>
                  <a:cubicBezTo>
                    <a:pt x="254376" y="27070"/>
                    <a:pt x="270623" y="19468"/>
                    <a:pt x="290861" y="17522"/>
                  </a:cubicBezTo>
                  <a:close/>
                </a:path>
              </a:pathLst>
            </a:custGeom>
            <a:solidFill>
              <a:schemeClr val="bg1"/>
            </a:solidFill>
            <a:ln>
              <a:noFill/>
            </a:ln>
            <a:effec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9" name="ïŝḷíḍé">
              <a:extLst>
                <a:ext uri="{FF2B5EF4-FFF2-40B4-BE49-F238E27FC236}">
                  <a16:creationId xmlns:a16="http://schemas.microsoft.com/office/drawing/2014/main" id="{1893A705-F307-4DAA-AA34-D1444593A926}"/>
                </a:ext>
              </a:extLst>
            </p:cNvPr>
            <p:cNvSpPr/>
            <p:nvPr/>
          </p:nvSpPr>
          <p:spPr>
            <a:xfrm>
              <a:off x="7692521" y="2257250"/>
              <a:ext cx="3827967" cy="1114060"/>
            </a:xfrm>
            <a:prstGeom prst="rect">
              <a:avLst/>
            </a:prstGeom>
          </p:spPr>
          <p:txBody>
            <a:bodyPr wrap="square" lIns="91440" tIns="45720" rIns="91440" bIns="45720" anchor="t">
              <a:noAutofit/>
            </a:bodyPr>
            <a:lstStyle/>
            <a:p>
              <a:pPr>
                <a:lnSpc>
                  <a:spcPct val="120000"/>
                </a:lnSpc>
              </a:pPr>
              <a:r>
                <a:rPr lang="en-US" altLang="zh-CN" sz="1100" dirty="0"/>
                <a:t>Supporting text here</a:t>
              </a:r>
            </a:p>
            <a:p>
              <a:pPr>
                <a:lnSpc>
                  <a:spcPct val="120000"/>
                </a:lnSpc>
              </a:pPr>
              <a:r>
                <a:rPr lang="en-US" altLang="zh-CN" sz="1100" dirty="0"/>
                <a:t>Supporting text here</a:t>
              </a:r>
            </a:p>
            <a:p>
              <a:pPr>
                <a:lnSpc>
                  <a:spcPct val="120000"/>
                </a:lnSpc>
              </a:pPr>
              <a:r>
                <a:rPr lang="en-US" altLang="zh-CN" sz="1100" dirty="0"/>
                <a:t>…</a:t>
              </a:r>
            </a:p>
          </p:txBody>
        </p:sp>
        <p:grpSp>
          <p:nvGrpSpPr>
            <p:cNvPr id="20" name="ïšlîḑè">
              <a:extLst>
                <a:ext uri="{FF2B5EF4-FFF2-40B4-BE49-F238E27FC236}">
                  <a16:creationId xmlns:a16="http://schemas.microsoft.com/office/drawing/2014/main" id="{5A644EC1-8029-4CB4-AEEC-AB85788FC677}"/>
                </a:ext>
              </a:extLst>
            </p:cNvPr>
            <p:cNvGrpSpPr/>
            <p:nvPr/>
          </p:nvGrpSpPr>
          <p:grpSpPr>
            <a:xfrm>
              <a:off x="1129466" y="4844260"/>
              <a:ext cx="2507299" cy="1107160"/>
              <a:chOff x="487363" y="2937695"/>
              <a:chExt cx="2507299" cy="1107160"/>
            </a:xfrm>
          </p:grpSpPr>
          <p:sp>
            <p:nvSpPr>
              <p:cNvPr id="24" name="ïsḷidé">
                <a:extLst>
                  <a:ext uri="{FF2B5EF4-FFF2-40B4-BE49-F238E27FC236}">
                    <a16:creationId xmlns:a16="http://schemas.microsoft.com/office/drawing/2014/main" id="{F411F893-7535-41C8-BBB8-B2FE3DC9FDCC}"/>
                  </a:ext>
                </a:extLst>
              </p:cNvPr>
              <p:cNvSpPr txBox="1"/>
              <p:nvPr/>
            </p:nvSpPr>
            <p:spPr>
              <a:xfrm>
                <a:off x="487363" y="3304444"/>
                <a:ext cx="2507299" cy="740411"/>
              </a:xfrm>
              <a:prstGeom prst="rect">
                <a:avLst/>
              </a:prstGeom>
              <a:noFill/>
            </p:spPr>
            <p:txBody>
              <a:bodyPr wrap="square" lIns="91440" tIns="45720" rIns="91440" bIns="45720" anchor="t">
                <a:noAutofit/>
              </a:bodyPr>
              <a:lstStyle/>
              <a:p>
                <a:pPr algn="r" defTabSz="914378">
                  <a:lnSpc>
                    <a:spcPct val="120000"/>
                  </a:lnSpc>
                  <a:spcBef>
                    <a:spcPct val="0"/>
                  </a:spcBef>
                  <a:defRPr/>
                </a:pPr>
                <a:r>
                  <a:rPr lang="en-US" altLang="zh-CN" sz="1100" dirty="0"/>
                  <a:t>Supporting text here</a:t>
                </a:r>
                <a:br>
                  <a:rPr lang="zh-CN" altLang="en-US" sz="1100" dirty="0"/>
                </a:br>
                <a:r>
                  <a:rPr lang="en-US" altLang="zh-CN" sz="1100" dirty="0"/>
                  <a:t>Supporting text here</a:t>
                </a:r>
                <a:br>
                  <a:rPr lang="zh-CN" altLang="en-US" sz="1100" dirty="0"/>
                </a:br>
                <a:endParaRPr lang="zh-CN" altLang="en-US" sz="1100" dirty="0"/>
              </a:p>
            </p:txBody>
          </p:sp>
          <p:sp>
            <p:nvSpPr>
              <p:cNvPr id="25" name="iṥlíḋé">
                <a:extLst>
                  <a:ext uri="{FF2B5EF4-FFF2-40B4-BE49-F238E27FC236}">
                    <a16:creationId xmlns:a16="http://schemas.microsoft.com/office/drawing/2014/main" id="{3C0C88B5-74E7-4AC9-AE5F-521A9B0D2E32}"/>
                  </a:ext>
                </a:extLst>
              </p:cNvPr>
              <p:cNvSpPr/>
              <p:nvPr/>
            </p:nvSpPr>
            <p:spPr>
              <a:xfrm>
                <a:off x="487363" y="2937695"/>
                <a:ext cx="2507299" cy="366749"/>
              </a:xfrm>
              <a:prstGeom prst="rect">
                <a:avLst/>
              </a:prstGeom>
            </p:spPr>
            <p:txBody>
              <a:bodyPr wrap="square" lIns="91440" tIns="45720" rIns="91440" bIns="45720" anchor="b">
                <a:noAutofit/>
              </a:bodyPr>
              <a:lstStyle/>
              <a:p>
                <a:pPr lvl="0" algn="r" defTabSz="914378">
                  <a:spcBef>
                    <a:spcPct val="0"/>
                  </a:spcBef>
                  <a:defRPr/>
                </a:pPr>
                <a:r>
                  <a:rPr lang="en-US" altLang="zh-CN" sz="1600" b="1" dirty="0"/>
                  <a:t>Text Here</a:t>
                </a:r>
                <a:endParaRPr lang="zh-CN" altLang="en-US" sz="1600" b="1" dirty="0"/>
              </a:p>
            </p:txBody>
          </p:sp>
        </p:grpSp>
        <p:grpSp>
          <p:nvGrpSpPr>
            <p:cNvPr id="21" name="îṧḻiḋe">
              <a:extLst>
                <a:ext uri="{FF2B5EF4-FFF2-40B4-BE49-F238E27FC236}">
                  <a16:creationId xmlns:a16="http://schemas.microsoft.com/office/drawing/2014/main" id="{825DB21C-74D9-4457-BBA9-A0DE608086E9}"/>
                </a:ext>
              </a:extLst>
            </p:cNvPr>
            <p:cNvGrpSpPr/>
            <p:nvPr/>
          </p:nvGrpSpPr>
          <p:grpSpPr>
            <a:xfrm>
              <a:off x="8006717" y="4332676"/>
              <a:ext cx="2507299" cy="1107160"/>
              <a:chOff x="487363" y="2937695"/>
              <a:chExt cx="2507299" cy="1107160"/>
            </a:xfrm>
          </p:grpSpPr>
          <p:sp>
            <p:nvSpPr>
              <p:cNvPr id="22" name="ïślïḑe">
                <a:extLst>
                  <a:ext uri="{FF2B5EF4-FFF2-40B4-BE49-F238E27FC236}">
                    <a16:creationId xmlns:a16="http://schemas.microsoft.com/office/drawing/2014/main" id="{A28985C3-31E8-4822-A538-57C565D5CDA8}"/>
                  </a:ext>
                </a:extLst>
              </p:cNvPr>
              <p:cNvSpPr txBox="1"/>
              <p:nvPr/>
            </p:nvSpPr>
            <p:spPr>
              <a:xfrm>
                <a:off x="487363" y="3304444"/>
                <a:ext cx="2507299" cy="740411"/>
              </a:xfrm>
              <a:prstGeom prst="rect">
                <a:avLst/>
              </a:prstGeom>
              <a:noFill/>
            </p:spPr>
            <p:txBody>
              <a:bodyPr wrap="square" lIns="91440" tIns="45720" rIns="91440" bIns="45720" anchor="t">
                <a:noAutofit/>
              </a:bodyPr>
              <a:lstStyle/>
              <a:p>
                <a:pPr defTabSz="914378">
                  <a:lnSpc>
                    <a:spcPct val="120000"/>
                  </a:lnSpc>
                  <a:spcBef>
                    <a:spcPct val="0"/>
                  </a:spcBef>
                  <a:defRPr/>
                </a:pPr>
                <a:r>
                  <a:rPr lang="en-US" altLang="zh-CN" sz="1100" dirty="0"/>
                  <a:t>Supporting text here</a:t>
                </a:r>
                <a:br>
                  <a:rPr lang="zh-CN" altLang="en-US" sz="1100" dirty="0"/>
                </a:br>
                <a:r>
                  <a:rPr lang="en-US" altLang="zh-CN" sz="1100" dirty="0"/>
                  <a:t>Supporting text here</a:t>
                </a:r>
                <a:br>
                  <a:rPr lang="zh-CN" altLang="en-US" sz="1100" dirty="0"/>
                </a:br>
                <a:endParaRPr lang="zh-CN" altLang="en-US" sz="1100" dirty="0"/>
              </a:p>
            </p:txBody>
          </p:sp>
          <p:sp>
            <p:nvSpPr>
              <p:cNvPr id="23" name="ïşlíďé">
                <a:extLst>
                  <a:ext uri="{FF2B5EF4-FFF2-40B4-BE49-F238E27FC236}">
                    <a16:creationId xmlns:a16="http://schemas.microsoft.com/office/drawing/2014/main" id="{E083D102-4F6C-4A84-A563-132BAF3C10AC}"/>
                  </a:ext>
                </a:extLst>
              </p:cNvPr>
              <p:cNvSpPr/>
              <p:nvPr/>
            </p:nvSpPr>
            <p:spPr>
              <a:xfrm>
                <a:off x="487363" y="2937695"/>
                <a:ext cx="2507299" cy="366749"/>
              </a:xfrm>
              <a:prstGeom prst="rect">
                <a:avLst/>
              </a:prstGeom>
            </p:spPr>
            <p:txBody>
              <a:bodyPr wrap="square" lIns="91440" tIns="45720" rIns="91440" bIns="45720" anchor="b">
                <a:noAutofit/>
              </a:bodyPr>
              <a:lstStyle/>
              <a:p>
                <a:pPr lvl="0" defTabSz="914378">
                  <a:spcBef>
                    <a:spcPct val="0"/>
                  </a:spcBef>
                  <a:defRPr/>
                </a:pPr>
                <a:r>
                  <a:rPr lang="en-US" altLang="zh-CN" sz="1600" b="1" dirty="0"/>
                  <a:t>Text Here</a:t>
                </a:r>
                <a:endParaRPr lang="zh-CN" altLang="en-US" sz="1600" b="1" dirty="0"/>
              </a:p>
            </p:txBody>
          </p:sp>
        </p:grpSp>
      </p:grpSp>
    </p:spTree>
    <p:extLst>
      <p:ext uri="{BB962C8B-B14F-4D97-AF65-F5344CB8AC3E}">
        <p14:creationId xmlns:p14="http://schemas.microsoft.com/office/powerpoint/2010/main" val="25730552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50FE470-48E6-45B0-B976-863BEA73023C}"/>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4A870FB9-7D20-4878-AACF-A9C67EB0A9A7}"/>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F7343374-642A-4FCE-9E0F-7FF50D532559}"/>
              </a:ext>
            </a:extLst>
          </p:cNvPr>
          <p:cNvSpPr>
            <a:spLocks noGrp="1"/>
          </p:cNvSpPr>
          <p:nvPr>
            <p:ph type="sldNum" sz="quarter" idx="12"/>
          </p:nvPr>
        </p:nvSpPr>
        <p:spPr/>
        <p:txBody>
          <a:bodyPr/>
          <a:lstStyle/>
          <a:p>
            <a:fld id="{5DD3DB80-B894-403A-B48E-6FDC1A72010E}" type="slidenum">
              <a:rPr lang="zh-CN" altLang="en-US" smtClean="0"/>
              <a:pPr/>
              <a:t>18</a:t>
            </a:fld>
            <a:endParaRPr lang="zh-CN" altLang="en-US"/>
          </a:p>
        </p:txBody>
      </p:sp>
      <p:grpSp>
        <p:nvGrpSpPr>
          <p:cNvPr id="5" name="28201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12AFA01-EF22-43A6-A33A-939F8DEE196F}"/>
              </a:ext>
            </a:extLst>
          </p:cNvPr>
          <p:cNvGrpSpPr>
            <a:grpSpLocks noChangeAspect="1"/>
          </p:cNvGrpSpPr>
          <p:nvPr/>
        </p:nvGrpSpPr>
        <p:grpSpPr>
          <a:xfrm>
            <a:off x="660400" y="1845302"/>
            <a:ext cx="10858500" cy="3573797"/>
            <a:chOff x="660400" y="1845300"/>
            <a:chExt cx="10858500" cy="3573797"/>
          </a:xfrm>
        </p:grpSpPr>
        <p:grpSp>
          <p:nvGrpSpPr>
            <p:cNvPr id="6" name="işḻiḓé">
              <a:extLst>
                <a:ext uri="{FF2B5EF4-FFF2-40B4-BE49-F238E27FC236}">
                  <a16:creationId xmlns:a16="http://schemas.microsoft.com/office/drawing/2014/main" id="{FDEF2739-11BC-47B2-BB76-3BCFC9B55A82}"/>
                </a:ext>
              </a:extLst>
            </p:cNvPr>
            <p:cNvGrpSpPr/>
            <p:nvPr/>
          </p:nvGrpSpPr>
          <p:grpSpPr>
            <a:xfrm>
              <a:off x="4273549" y="1845300"/>
              <a:ext cx="3632199" cy="3573797"/>
              <a:chOff x="4168775" y="1840299"/>
              <a:chExt cx="3583239" cy="3525624"/>
            </a:xfrm>
            <a:solidFill>
              <a:schemeClr val="bg1">
                <a:lumMod val="95000"/>
              </a:schemeClr>
            </a:solidFill>
          </p:grpSpPr>
          <p:sp>
            <p:nvSpPr>
              <p:cNvPr id="18" name="íS1íḋê">
                <a:extLst>
                  <a:ext uri="{FF2B5EF4-FFF2-40B4-BE49-F238E27FC236}">
                    <a16:creationId xmlns:a16="http://schemas.microsoft.com/office/drawing/2014/main" id="{9938920C-35D0-460F-856B-1D568771765C}"/>
                  </a:ext>
                </a:extLst>
              </p:cNvPr>
              <p:cNvSpPr/>
              <p:nvPr/>
            </p:nvSpPr>
            <p:spPr bwMode="auto">
              <a:xfrm>
                <a:off x="6417592" y="4884564"/>
                <a:ext cx="721108" cy="477642"/>
              </a:xfrm>
              <a:custGeom>
                <a:avLst/>
                <a:gdLst>
                  <a:gd name="T0" fmla="*/ 1544 w 1710"/>
                  <a:gd name="T1" fmla="*/ 0 h 1133"/>
                  <a:gd name="T2" fmla="*/ 297 w 1710"/>
                  <a:gd name="T3" fmla="*/ 735 h 1133"/>
                  <a:gd name="T4" fmla="*/ 380 w 1710"/>
                  <a:gd name="T5" fmla="*/ 581 h 1133"/>
                  <a:gd name="T6" fmla="*/ 173 w 1710"/>
                  <a:gd name="T7" fmla="*/ 642 h 1133"/>
                  <a:gd name="T8" fmla="*/ 0 w 1710"/>
                  <a:gd name="T9" fmla="*/ 960 h 1133"/>
                  <a:gd name="T10" fmla="*/ 317 w 1710"/>
                  <a:gd name="T11" fmla="*/ 1132 h 1133"/>
                  <a:gd name="T12" fmla="*/ 525 w 1710"/>
                  <a:gd name="T13" fmla="*/ 1071 h 1133"/>
                  <a:gd name="T14" fmla="*/ 358 w 1710"/>
                  <a:gd name="T15" fmla="*/ 980 h 1133"/>
                  <a:gd name="T16" fmla="*/ 1709 w 1710"/>
                  <a:gd name="T17" fmla="*/ 189 h 1133"/>
                  <a:gd name="T18" fmla="*/ 1544 w 1710"/>
                  <a:gd name="T19" fmla="*/ 0 h 1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10" h="1133">
                    <a:moveTo>
                      <a:pt x="1544" y="0"/>
                    </a:moveTo>
                    <a:cubicBezTo>
                      <a:pt x="1180" y="318"/>
                      <a:pt x="752" y="570"/>
                      <a:pt x="297" y="735"/>
                    </a:cubicBezTo>
                    <a:lnTo>
                      <a:pt x="380" y="581"/>
                    </a:lnTo>
                    <a:lnTo>
                      <a:pt x="173" y="642"/>
                    </a:lnTo>
                    <a:lnTo>
                      <a:pt x="0" y="960"/>
                    </a:lnTo>
                    <a:lnTo>
                      <a:pt x="317" y="1132"/>
                    </a:lnTo>
                    <a:lnTo>
                      <a:pt x="525" y="1071"/>
                    </a:lnTo>
                    <a:lnTo>
                      <a:pt x="358" y="980"/>
                    </a:lnTo>
                    <a:cubicBezTo>
                      <a:pt x="851" y="804"/>
                      <a:pt x="1316" y="533"/>
                      <a:pt x="1709" y="189"/>
                    </a:cubicBezTo>
                    <a:lnTo>
                      <a:pt x="1544" y="0"/>
                    </a:lnTo>
                  </a:path>
                </a:pathLst>
              </a:custGeom>
              <a:grp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en-US"/>
                </a:defPPr>
                <a:lvl1pPr marL="0" algn="l" defTabSz="457233" rtl="0" eaLnBrk="1" latinLnBrk="0" hangingPunct="1">
                  <a:defRPr sz="1700" kern="1200">
                    <a:solidFill>
                      <a:schemeClr val="tx1"/>
                    </a:solidFill>
                  </a:defRPr>
                </a:lvl1pPr>
                <a:lvl2pPr marL="457233" algn="l" defTabSz="457233" rtl="0" eaLnBrk="1" latinLnBrk="0" hangingPunct="1">
                  <a:defRPr sz="1700" kern="1200">
                    <a:solidFill>
                      <a:schemeClr val="tx1"/>
                    </a:solidFill>
                  </a:defRPr>
                </a:lvl2pPr>
                <a:lvl3pPr marL="914465" algn="l" defTabSz="457233" rtl="0" eaLnBrk="1" latinLnBrk="0" hangingPunct="1">
                  <a:defRPr sz="1700" kern="1200">
                    <a:solidFill>
                      <a:schemeClr val="tx1"/>
                    </a:solidFill>
                  </a:defRPr>
                </a:lvl3pPr>
                <a:lvl4pPr marL="1371699" algn="l" defTabSz="457233" rtl="0" eaLnBrk="1" latinLnBrk="0" hangingPunct="1">
                  <a:defRPr sz="1700" kern="1200">
                    <a:solidFill>
                      <a:schemeClr val="tx1"/>
                    </a:solidFill>
                  </a:defRPr>
                </a:lvl4pPr>
                <a:lvl5pPr marL="1828929" algn="l" defTabSz="457233" rtl="0" eaLnBrk="1" latinLnBrk="0" hangingPunct="1">
                  <a:defRPr sz="1700" kern="1200">
                    <a:solidFill>
                      <a:schemeClr val="tx1"/>
                    </a:solidFill>
                  </a:defRPr>
                </a:lvl5pPr>
                <a:lvl6pPr marL="2286162" algn="l" defTabSz="457233" rtl="0" eaLnBrk="1" latinLnBrk="0" hangingPunct="1">
                  <a:defRPr sz="1700" kern="1200">
                    <a:solidFill>
                      <a:schemeClr val="tx1"/>
                    </a:solidFill>
                  </a:defRPr>
                </a:lvl6pPr>
                <a:lvl7pPr marL="2743395" algn="l" defTabSz="457233" rtl="0" eaLnBrk="1" latinLnBrk="0" hangingPunct="1">
                  <a:defRPr sz="1700" kern="1200">
                    <a:solidFill>
                      <a:schemeClr val="tx1"/>
                    </a:solidFill>
                  </a:defRPr>
                </a:lvl7pPr>
                <a:lvl8pPr marL="3200628" algn="l" defTabSz="457233" rtl="0" eaLnBrk="1" latinLnBrk="0" hangingPunct="1">
                  <a:defRPr sz="1700" kern="1200">
                    <a:solidFill>
                      <a:schemeClr val="tx1"/>
                    </a:solidFill>
                  </a:defRPr>
                </a:lvl8pPr>
                <a:lvl9pPr marL="3657861" algn="l" defTabSz="457233" rtl="0" eaLnBrk="1" latinLnBrk="0" hangingPunct="1">
                  <a:defRPr sz="1700" kern="1200">
                    <a:solidFill>
                      <a:schemeClr val="tx1"/>
                    </a:solidFill>
                  </a:defRPr>
                </a:lvl9pPr>
              </a:lstStyle>
              <a:p>
                <a:endParaRPr lang="en-US"/>
              </a:p>
            </p:txBody>
          </p:sp>
          <p:sp>
            <p:nvSpPr>
              <p:cNvPr id="19" name="is1îḑè">
                <a:extLst>
                  <a:ext uri="{FF2B5EF4-FFF2-40B4-BE49-F238E27FC236}">
                    <a16:creationId xmlns:a16="http://schemas.microsoft.com/office/drawing/2014/main" id="{3A2CE2AB-C472-498B-BFF8-6E5134F4ED35}"/>
                  </a:ext>
                </a:extLst>
              </p:cNvPr>
              <p:cNvSpPr/>
              <p:nvPr/>
            </p:nvSpPr>
            <p:spPr bwMode="auto">
              <a:xfrm>
                <a:off x="4936347" y="4966339"/>
                <a:ext cx="717391" cy="399584"/>
              </a:xfrm>
              <a:custGeom>
                <a:avLst/>
                <a:gdLst>
                  <a:gd name="T0" fmla="*/ 531 w 1700"/>
                  <a:gd name="T1" fmla="*/ 127 h 946"/>
                  <a:gd name="T2" fmla="*/ 356 w 1700"/>
                  <a:gd name="T3" fmla="*/ 0 h 946"/>
                  <a:gd name="T4" fmla="*/ 0 w 1700"/>
                  <a:gd name="T5" fmla="*/ 56 h 946"/>
                  <a:gd name="T6" fmla="*/ 56 w 1700"/>
                  <a:gd name="T7" fmla="*/ 413 h 946"/>
                  <a:gd name="T8" fmla="*/ 231 w 1700"/>
                  <a:gd name="T9" fmla="*/ 540 h 946"/>
                  <a:gd name="T10" fmla="*/ 201 w 1700"/>
                  <a:gd name="T11" fmla="*/ 352 h 946"/>
                  <a:gd name="T12" fmla="*/ 1650 w 1700"/>
                  <a:gd name="T13" fmla="*/ 945 h 946"/>
                  <a:gd name="T14" fmla="*/ 1699 w 1700"/>
                  <a:gd name="T15" fmla="*/ 699 h 946"/>
                  <a:gd name="T16" fmla="*/ 358 w 1700"/>
                  <a:gd name="T17" fmla="*/ 155 h 946"/>
                  <a:gd name="T18" fmla="*/ 531 w 1700"/>
                  <a:gd name="T19" fmla="*/ 127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00" h="946">
                    <a:moveTo>
                      <a:pt x="531" y="127"/>
                    </a:moveTo>
                    <a:lnTo>
                      <a:pt x="356" y="0"/>
                    </a:lnTo>
                    <a:lnTo>
                      <a:pt x="0" y="56"/>
                    </a:lnTo>
                    <a:lnTo>
                      <a:pt x="56" y="413"/>
                    </a:lnTo>
                    <a:lnTo>
                      <a:pt x="231" y="540"/>
                    </a:lnTo>
                    <a:lnTo>
                      <a:pt x="201" y="352"/>
                    </a:lnTo>
                    <a:cubicBezTo>
                      <a:pt x="642" y="638"/>
                      <a:pt x="1139" y="842"/>
                      <a:pt x="1650" y="945"/>
                    </a:cubicBezTo>
                    <a:lnTo>
                      <a:pt x="1699" y="699"/>
                    </a:lnTo>
                    <a:cubicBezTo>
                      <a:pt x="1227" y="604"/>
                      <a:pt x="767" y="417"/>
                      <a:pt x="358" y="155"/>
                    </a:cubicBezTo>
                    <a:lnTo>
                      <a:pt x="531" y="127"/>
                    </a:lnTo>
                  </a:path>
                </a:pathLst>
              </a:custGeom>
              <a:grp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en-US"/>
                </a:defPPr>
                <a:lvl1pPr marL="0" algn="l" defTabSz="457233" rtl="0" eaLnBrk="1" latinLnBrk="0" hangingPunct="1">
                  <a:defRPr sz="1700" kern="1200">
                    <a:solidFill>
                      <a:schemeClr val="tx1"/>
                    </a:solidFill>
                  </a:defRPr>
                </a:lvl1pPr>
                <a:lvl2pPr marL="457233" algn="l" defTabSz="457233" rtl="0" eaLnBrk="1" latinLnBrk="0" hangingPunct="1">
                  <a:defRPr sz="1700" kern="1200">
                    <a:solidFill>
                      <a:schemeClr val="tx1"/>
                    </a:solidFill>
                  </a:defRPr>
                </a:lvl2pPr>
                <a:lvl3pPr marL="914465" algn="l" defTabSz="457233" rtl="0" eaLnBrk="1" latinLnBrk="0" hangingPunct="1">
                  <a:defRPr sz="1700" kern="1200">
                    <a:solidFill>
                      <a:schemeClr val="tx1"/>
                    </a:solidFill>
                  </a:defRPr>
                </a:lvl3pPr>
                <a:lvl4pPr marL="1371699" algn="l" defTabSz="457233" rtl="0" eaLnBrk="1" latinLnBrk="0" hangingPunct="1">
                  <a:defRPr sz="1700" kern="1200">
                    <a:solidFill>
                      <a:schemeClr val="tx1"/>
                    </a:solidFill>
                  </a:defRPr>
                </a:lvl4pPr>
                <a:lvl5pPr marL="1828929" algn="l" defTabSz="457233" rtl="0" eaLnBrk="1" latinLnBrk="0" hangingPunct="1">
                  <a:defRPr sz="1700" kern="1200">
                    <a:solidFill>
                      <a:schemeClr val="tx1"/>
                    </a:solidFill>
                  </a:defRPr>
                </a:lvl5pPr>
                <a:lvl6pPr marL="2286162" algn="l" defTabSz="457233" rtl="0" eaLnBrk="1" latinLnBrk="0" hangingPunct="1">
                  <a:defRPr sz="1700" kern="1200">
                    <a:solidFill>
                      <a:schemeClr val="tx1"/>
                    </a:solidFill>
                  </a:defRPr>
                </a:lvl6pPr>
                <a:lvl7pPr marL="2743395" algn="l" defTabSz="457233" rtl="0" eaLnBrk="1" latinLnBrk="0" hangingPunct="1">
                  <a:defRPr sz="1700" kern="1200">
                    <a:solidFill>
                      <a:schemeClr val="tx1"/>
                    </a:solidFill>
                  </a:defRPr>
                </a:lvl7pPr>
                <a:lvl8pPr marL="3200628" algn="l" defTabSz="457233" rtl="0" eaLnBrk="1" latinLnBrk="0" hangingPunct="1">
                  <a:defRPr sz="1700" kern="1200">
                    <a:solidFill>
                      <a:schemeClr val="tx1"/>
                    </a:solidFill>
                  </a:defRPr>
                </a:lvl8pPr>
                <a:lvl9pPr marL="3657861" algn="l" defTabSz="457233" rtl="0" eaLnBrk="1" latinLnBrk="0" hangingPunct="1">
                  <a:defRPr sz="1700" kern="1200">
                    <a:solidFill>
                      <a:schemeClr val="tx1"/>
                    </a:solidFill>
                  </a:defRPr>
                </a:lvl9pPr>
              </a:lstStyle>
              <a:p>
                <a:endParaRPr lang="en-US"/>
              </a:p>
            </p:txBody>
          </p:sp>
          <p:sp>
            <p:nvSpPr>
              <p:cNvPr id="20" name="íṣliḓé">
                <a:extLst>
                  <a:ext uri="{FF2B5EF4-FFF2-40B4-BE49-F238E27FC236}">
                    <a16:creationId xmlns:a16="http://schemas.microsoft.com/office/drawing/2014/main" id="{3B6DCFF2-9E78-4ABB-AD06-25B5C066202E}"/>
                  </a:ext>
                </a:extLst>
              </p:cNvPr>
              <p:cNvSpPr/>
              <p:nvPr/>
            </p:nvSpPr>
            <p:spPr bwMode="auto">
              <a:xfrm>
                <a:off x="7495537" y="3525982"/>
                <a:ext cx="256477" cy="769429"/>
              </a:xfrm>
              <a:custGeom>
                <a:avLst/>
                <a:gdLst>
                  <a:gd name="T0" fmla="*/ 323 w 609"/>
                  <a:gd name="T1" fmla="*/ 16 h 1826"/>
                  <a:gd name="T2" fmla="*/ 149 w 609"/>
                  <a:gd name="T3" fmla="*/ 1454 h 1826"/>
                  <a:gd name="T4" fmla="*/ 77 w 609"/>
                  <a:gd name="T5" fmla="*/ 1293 h 1826"/>
                  <a:gd name="T6" fmla="*/ 0 w 609"/>
                  <a:gd name="T7" fmla="*/ 1495 h 1826"/>
                  <a:gd name="T8" fmla="*/ 146 w 609"/>
                  <a:gd name="T9" fmla="*/ 1825 h 1826"/>
                  <a:gd name="T10" fmla="*/ 476 w 609"/>
                  <a:gd name="T11" fmla="*/ 1678 h 1826"/>
                  <a:gd name="T12" fmla="*/ 554 w 609"/>
                  <a:gd name="T13" fmla="*/ 1476 h 1826"/>
                  <a:gd name="T14" fmla="*/ 380 w 609"/>
                  <a:gd name="T15" fmla="*/ 1553 h 1826"/>
                  <a:gd name="T16" fmla="*/ 574 w 609"/>
                  <a:gd name="T17" fmla="*/ 0 h 1826"/>
                  <a:gd name="T18" fmla="*/ 323 w 609"/>
                  <a:gd name="T19" fmla="*/ 16 h 18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9" h="1826">
                    <a:moveTo>
                      <a:pt x="323" y="16"/>
                    </a:moveTo>
                    <a:cubicBezTo>
                      <a:pt x="355" y="509"/>
                      <a:pt x="296" y="992"/>
                      <a:pt x="149" y="1454"/>
                    </a:cubicBezTo>
                    <a:lnTo>
                      <a:pt x="77" y="1293"/>
                    </a:lnTo>
                    <a:lnTo>
                      <a:pt x="0" y="1495"/>
                    </a:lnTo>
                    <a:lnTo>
                      <a:pt x="146" y="1825"/>
                    </a:lnTo>
                    <a:lnTo>
                      <a:pt x="476" y="1678"/>
                    </a:lnTo>
                    <a:lnTo>
                      <a:pt x="554" y="1476"/>
                    </a:lnTo>
                    <a:lnTo>
                      <a:pt x="380" y="1553"/>
                    </a:lnTo>
                    <a:cubicBezTo>
                      <a:pt x="543" y="1054"/>
                      <a:pt x="608" y="533"/>
                      <a:pt x="574" y="0"/>
                    </a:cubicBezTo>
                    <a:lnTo>
                      <a:pt x="323" y="16"/>
                    </a:lnTo>
                  </a:path>
                </a:pathLst>
              </a:custGeom>
              <a:grp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en-US"/>
                </a:defPPr>
                <a:lvl1pPr marL="0" algn="l" defTabSz="457233" rtl="0" eaLnBrk="1" latinLnBrk="0" hangingPunct="1">
                  <a:defRPr sz="1700" kern="1200">
                    <a:solidFill>
                      <a:schemeClr val="tx1"/>
                    </a:solidFill>
                  </a:defRPr>
                </a:lvl1pPr>
                <a:lvl2pPr marL="457233" algn="l" defTabSz="457233" rtl="0" eaLnBrk="1" latinLnBrk="0" hangingPunct="1">
                  <a:defRPr sz="1700" kern="1200">
                    <a:solidFill>
                      <a:schemeClr val="tx1"/>
                    </a:solidFill>
                  </a:defRPr>
                </a:lvl2pPr>
                <a:lvl3pPr marL="914465" algn="l" defTabSz="457233" rtl="0" eaLnBrk="1" latinLnBrk="0" hangingPunct="1">
                  <a:defRPr sz="1700" kern="1200">
                    <a:solidFill>
                      <a:schemeClr val="tx1"/>
                    </a:solidFill>
                  </a:defRPr>
                </a:lvl3pPr>
                <a:lvl4pPr marL="1371699" algn="l" defTabSz="457233" rtl="0" eaLnBrk="1" latinLnBrk="0" hangingPunct="1">
                  <a:defRPr sz="1700" kern="1200">
                    <a:solidFill>
                      <a:schemeClr val="tx1"/>
                    </a:solidFill>
                  </a:defRPr>
                </a:lvl4pPr>
                <a:lvl5pPr marL="1828929" algn="l" defTabSz="457233" rtl="0" eaLnBrk="1" latinLnBrk="0" hangingPunct="1">
                  <a:defRPr sz="1700" kern="1200">
                    <a:solidFill>
                      <a:schemeClr val="tx1"/>
                    </a:solidFill>
                  </a:defRPr>
                </a:lvl5pPr>
                <a:lvl6pPr marL="2286162" algn="l" defTabSz="457233" rtl="0" eaLnBrk="1" latinLnBrk="0" hangingPunct="1">
                  <a:defRPr sz="1700" kern="1200">
                    <a:solidFill>
                      <a:schemeClr val="tx1"/>
                    </a:solidFill>
                  </a:defRPr>
                </a:lvl6pPr>
                <a:lvl7pPr marL="2743395" algn="l" defTabSz="457233" rtl="0" eaLnBrk="1" latinLnBrk="0" hangingPunct="1">
                  <a:defRPr sz="1700" kern="1200">
                    <a:solidFill>
                      <a:schemeClr val="tx1"/>
                    </a:solidFill>
                  </a:defRPr>
                </a:lvl7pPr>
                <a:lvl8pPr marL="3200628" algn="l" defTabSz="457233" rtl="0" eaLnBrk="1" latinLnBrk="0" hangingPunct="1">
                  <a:defRPr sz="1700" kern="1200">
                    <a:solidFill>
                      <a:schemeClr val="tx1"/>
                    </a:solidFill>
                  </a:defRPr>
                </a:lvl8pPr>
                <a:lvl9pPr marL="3657861" algn="l" defTabSz="457233" rtl="0" eaLnBrk="1" latinLnBrk="0" hangingPunct="1">
                  <a:defRPr sz="1700" kern="1200">
                    <a:solidFill>
                      <a:schemeClr val="tx1"/>
                    </a:solidFill>
                  </a:defRPr>
                </a:lvl9pPr>
              </a:lstStyle>
              <a:p>
                <a:endParaRPr lang="en-US"/>
              </a:p>
            </p:txBody>
          </p:sp>
          <p:sp>
            <p:nvSpPr>
              <p:cNvPr id="21" name="ïšļïḍè">
                <a:extLst>
                  <a:ext uri="{FF2B5EF4-FFF2-40B4-BE49-F238E27FC236}">
                    <a16:creationId xmlns:a16="http://schemas.microsoft.com/office/drawing/2014/main" id="{729D7A96-1907-467E-B977-0FBED4FA7DF7}"/>
                  </a:ext>
                </a:extLst>
              </p:cNvPr>
              <p:cNvSpPr/>
              <p:nvPr/>
            </p:nvSpPr>
            <p:spPr bwMode="auto">
              <a:xfrm>
                <a:off x="4168775" y="3631918"/>
                <a:ext cx="325243" cy="780581"/>
              </a:xfrm>
              <a:custGeom>
                <a:avLst/>
                <a:gdLst>
                  <a:gd name="T0" fmla="*/ 517 w 771"/>
                  <a:gd name="T1" fmla="*/ 464 h 1851"/>
                  <a:gd name="T2" fmla="*/ 510 w 771"/>
                  <a:gd name="T3" fmla="*/ 248 h 1851"/>
                  <a:gd name="T4" fmla="*/ 247 w 771"/>
                  <a:gd name="T5" fmla="*/ 0 h 1851"/>
                  <a:gd name="T6" fmla="*/ 0 w 771"/>
                  <a:gd name="T7" fmla="*/ 263 h 1851"/>
                  <a:gd name="T8" fmla="*/ 6 w 771"/>
                  <a:gd name="T9" fmla="*/ 480 h 1851"/>
                  <a:gd name="T10" fmla="*/ 135 w 771"/>
                  <a:gd name="T11" fmla="*/ 343 h 1851"/>
                  <a:gd name="T12" fmla="*/ 545 w 771"/>
                  <a:gd name="T13" fmla="*/ 1850 h 1851"/>
                  <a:gd name="T14" fmla="*/ 770 w 771"/>
                  <a:gd name="T15" fmla="*/ 1740 h 1851"/>
                  <a:gd name="T16" fmla="*/ 386 w 771"/>
                  <a:gd name="T17" fmla="*/ 342 h 1851"/>
                  <a:gd name="T18" fmla="*/ 517 w 771"/>
                  <a:gd name="T19" fmla="*/ 464 h 1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1" h="1851">
                    <a:moveTo>
                      <a:pt x="517" y="464"/>
                    </a:moveTo>
                    <a:lnTo>
                      <a:pt x="510" y="248"/>
                    </a:lnTo>
                    <a:lnTo>
                      <a:pt x="247" y="0"/>
                    </a:lnTo>
                    <a:lnTo>
                      <a:pt x="0" y="263"/>
                    </a:lnTo>
                    <a:lnTo>
                      <a:pt x="6" y="480"/>
                    </a:lnTo>
                    <a:lnTo>
                      <a:pt x="135" y="343"/>
                    </a:lnTo>
                    <a:cubicBezTo>
                      <a:pt x="176" y="871"/>
                      <a:pt x="314" y="1378"/>
                      <a:pt x="545" y="1850"/>
                    </a:cubicBezTo>
                    <a:lnTo>
                      <a:pt x="770" y="1740"/>
                    </a:lnTo>
                    <a:cubicBezTo>
                      <a:pt x="556" y="1301"/>
                      <a:pt x="427" y="831"/>
                      <a:pt x="386" y="342"/>
                    </a:cubicBezTo>
                    <a:lnTo>
                      <a:pt x="517" y="464"/>
                    </a:lnTo>
                  </a:path>
                </a:pathLst>
              </a:custGeom>
              <a:grp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en-US"/>
                </a:defPPr>
                <a:lvl1pPr marL="0" algn="l" defTabSz="457233" rtl="0" eaLnBrk="1" latinLnBrk="0" hangingPunct="1">
                  <a:defRPr sz="1700" kern="1200">
                    <a:solidFill>
                      <a:schemeClr val="tx1"/>
                    </a:solidFill>
                  </a:defRPr>
                </a:lvl1pPr>
                <a:lvl2pPr marL="457233" algn="l" defTabSz="457233" rtl="0" eaLnBrk="1" latinLnBrk="0" hangingPunct="1">
                  <a:defRPr sz="1700" kern="1200">
                    <a:solidFill>
                      <a:schemeClr val="tx1"/>
                    </a:solidFill>
                  </a:defRPr>
                </a:lvl2pPr>
                <a:lvl3pPr marL="914465" algn="l" defTabSz="457233" rtl="0" eaLnBrk="1" latinLnBrk="0" hangingPunct="1">
                  <a:defRPr sz="1700" kern="1200">
                    <a:solidFill>
                      <a:schemeClr val="tx1"/>
                    </a:solidFill>
                  </a:defRPr>
                </a:lvl3pPr>
                <a:lvl4pPr marL="1371699" algn="l" defTabSz="457233" rtl="0" eaLnBrk="1" latinLnBrk="0" hangingPunct="1">
                  <a:defRPr sz="1700" kern="1200">
                    <a:solidFill>
                      <a:schemeClr val="tx1"/>
                    </a:solidFill>
                  </a:defRPr>
                </a:lvl4pPr>
                <a:lvl5pPr marL="1828929" algn="l" defTabSz="457233" rtl="0" eaLnBrk="1" latinLnBrk="0" hangingPunct="1">
                  <a:defRPr sz="1700" kern="1200">
                    <a:solidFill>
                      <a:schemeClr val="tx1"/>
                    </a:solidFill>
                  </a:defRPr>
                </a:lvl5pPr>
                <a:lvl6pPr marL="2286162" algn="l" defTabSz="457233" rtl="0" eaLnBrk="1" latinLnBrk="0" hangingPunct="1">
                  <a:defRPr sz="1700" kern="1200">
                    <a:solidFill>
                      <a:schemeClr val="tx1"/>
                    </a:solidFill>
                  </a:defRPr>
                </a:lvl6pPr>
                <a:lvl7pPr marL="2743395" algn="l" defTabSz="457233" rtl="0" eaLnBrk="1" latinLnBrk="0" hangingPunct="1">
                  <a:defRPr sz="1700" kern="1200">
                    <a:solidFill>
                      <a:schemeClr val="tx1"/>
                    </a:solidFill>
                  </a:defRPr>
                </a:lvl7pPr>
                <a:lvl8pPr marL="3200628" algn="l" defTabSz="457233" rtl="0" eaLnBrk="1" latinLnBrk="0" hangingPunct="1">
                  <a:defRPr sz="1700" kern="1200">
                    <a:solidFill>
                      <a:schemeClr val="tx1"/>
                    </a:solidFill>
                  </a:defRPr>
                </a:lvl8pPr>
                <a:lvl9pPr marL="3657861" algn="l" defTabSz="457233" rtl="0" eaLnBrk="1" latinLnBrk="0" hangingPunct="1">
                  <a:defRPr sz="1700" kern="1200">
                    <a:solidFill>
                      <a:schemeClr val="tx1"/>
                    </a:solidFill>
                  </a:defRPr>
                </a:lvl9pPr>
              </a:lstStyle>
              <a:p>
                <a:endParaRPr lang="en-US"/>
              </a:p>
            </p:txBody>
          </p:sp>
          <p:sp>
            <p:nvSpPr>
              <p:cNvPr id="22" name="ísḷïḋé">
                <a:extLst>
                  <a:ext uri="{FF2B5EF4-FFF2-40B4-BE49-F238E27FC236}">
                    <a16:creationId xmlns:a16="http://schemas.microsoft.com/office/drawing/2014/main" id="{C2003DD4-1671-4E70-A9E9-6A1E45E444FB}"/>
                  </a:ext>
                </a:extLst>
              </p:cNvPr>
              <p:cNvSpPr/>
              <p:nvPr/>
            </p:nvSpPr>
            <p:spPr bwMode="auto">
              <a:xfrm>
                <a:off x="7079227" y="2323515"/>
                <a:ext cx="538973" cy="672786"/>
              </a:xfrm>
              <a:custGeom>
                <a:avLst/>
                <a:gdLst>
                  <a:gd name="T0" fmla="*/ 810 w 1279"/>
                  <a:gd name="T1" fmla="*/ 1465 h 1596"/>
                  <a:gd name="T2" fmla="*/ 1147 w 1279"/>
                  <a:gd name="T3" fmla="*/ 1595 h 1596"/>
                  <a:gd name="T4" fmla="*/ 1278 w 1279"/>
                  <a:gd name="T5" fmla="*/ 1259 h 1596"/>
                  <a:gd name="T6" fmla="*/ 1190 w 1279"/>
                  <a:gd name="T7" fmla="*/ 1060 h 1596"/>
                  <a:gd name="T8" fmla="*/ 1121 w 1279"/>
                  <a:gd name="T9" fmla="*/ 1238 h 1596"/>
                  <a:gd name="T10" fmla="*/ 166 w 1279"/>
                  <a:gd name="T11" fmla="*/ 0 h 1596"/>
                  <a:gd name="T12" fmla="*/ 0 w 1279"/>
                  <a:gd name="T13" fmla="*/ 186 h 1596"/>
                  <a:gd name="T14" fmla="*/ 887 w 1279"/>
                  <a:gd name="T15" fmla="*/ 1330 h 1596"/>
                  <a:gd name="T16" fmla="*/ 723 w 1279"/>
                  <a:gd name="T17" fmla="*/ 1266 h 1596"/>
                  <a:gd name="T18" fmla="*/ 810 w 1279"/>
                  <a:gd name="T19" fmla="*/ 1465 h 15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79" h="1596">
                    <a:moveTo>
                      <a:pt x="810" y="1465"/>
                    </a:moveTo>
                    <a:lnTo>
                      <a:pt x="1147" y="1595"/>
                    </a:lnTo>
                    <a:lnTo>
                      <a:pt x="1278" y="1259"/>
                    </a:lnTo>
                    <a:lnTo>
                      <a:pt x="1190" y="1060"/>
                    </a:lnTo>
                    <a:lnTo>
                      <a:pt x="1121" y="1238"/>
                    </a:lnTo>
                    <a:cubicBezTo>
                      <a:pt x="885" y="771"/>
                      <a:pt x="557" y="345"/>
                      <a:pt x="166" y="0"/>
                    </a:cubicBezTo>
                    <a:lnTo>
                      <a:pt x="0" y="186"/>
                    </a:lnTo>
                    <a:cubicBezTo>
                      <a:pt x="361" y="507"/>
                      <a:pt x="665" y="900"/>
                      <a:pt x="887" y="1330"/>
                    </a:cubicBezTo>
                    <a:lnTo>
                      <a:pt x="723" y="1266"/>
                    </a:lnTo>
                    <a:lnTo>
                      <a:pt x="810" y="1465"/>
                    </a:lnTo>
                  </a:path>
                </a:pathLst>
              </a:custGeom>
              <a:grp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en-US"/>
                </a:defPPr>
                <a:lvl1pPr marL="0" algn="l" defTabSz="457233" rtl="0" eaLnBrk="1" latinLnBrk="0" hangingPunct="1">
                  <a:defRPr sz="1700" kern="1200">
                    <a:solidFill>
                      <a:schemeClr val="tx1"/>
                    </a:solidFill>
                  </a:defRPr>
                </a:lvl1pPr>
                <a:lvl2pPr marL="457233" algn="l" defTabSz="457233" rtl="0" eaLnBrk="1" latinLnBrk="0" hangingPunct="1">
                  <a:defRPr sz="1700" kern="1200">
                    <a:solidFill>
                      <a:schemeClr val="tx1"/>
                    </a:solidFill>
                  </a:defRPr>
                </a:lvl2pPr>
                <a:lvl3pPr marL="914465" algn="l" defTabSz="457233" rtl="0" eaLnBrk="1" latinLnBrk="0" hangingPunct="1">
                  <a:defRPr sz="1700" kern="1200">
                    <a:solidFill>
                      <a:schemeClr val="tx1"/>
                    </a:solidFill>
                  </a:defRPr>
                </a:lvl3pPr>
                <a:lvl4pPr marL="1371699" algn="l" defTabSz="457233" rtl="0" eaLnBrk="1" latinLnBrk="0" hangingPunct="1">
                  <a:defRPr sz="1700" kern="1200">
                    <a:solidFill>
                      <a:schemeClr val="tx1"/>
                    </a:solidFill>
                  </a:defRPr>
                </a:lvl4pPr>
                <a:lvl5pPr marL="1828929" algn="l" defTabSz="457233" rtl="0" eaLnBrk="1" latinLnBrk="0" hangingPunct="1">
                  <a:defRPr sz="1700" kern="1200">
                    <a:solidFill>
                      <a:schemeClr val="tx1"/>
                    </a:solidFill>
                  </a:defRPr>
                </a:lvl5pPr>
                <a:lvl6pPr marL="2286162" algn="l" defTabSz="457233" rtl="0" eaLnBrk="1" latinLnBrk="0" hangingPunct="1">
                  <a:defRPr sz="1700" kern="1200">
                    <a:solidFill>
                      <a:schemeClr val="tx1"/>
                    </a:solidFill>
                  </a:defRPr>
                </a:lvl6pPr>
                <a:lvl7pPr marL="2743395" algn="l" defTabSz="457233" rtl="0" eaLnBrk="1" latinLnBrk="0" hangingPunct="1">
                  <a:defRPr sz="1700" kern="1200">
                    <a:solidFill>
                      <a:schemeClr val="tx1"/>
                    </a:solidFill>
                  </a:defRPr>
                </a:lvl7pPr>
                <a:lvl8pPr marL="3200628" algn="l" defTabSz="457233" rtl="0" eaLnBrk="1" latinLnBrk="0" hangingPunct="1">
                  <a:defRPr sz="1700" kern="1200">
                    <a:solidFill>
                      <a:schemeClr val="tx1"/>
                    </a:solidFill>
                  </a:defRPr>
                </a:lvl8pPr>
                <a:lvl9pPr marL="3657861" algn="l" defTabSz="457233" rtl="0" eaLnBrk="1" latinLnBrk="0" hangingPunct="1">
                  <a:defRPr sz="1700" kern="1200">
                    <a:solidFill>
                      <a:schemeClr val="tx1"/>
                    </a:solidFill>
                  </a:defRPr>
                </a:lvl9pPr>
              </a:lstStyle>
              <a:p>
                <a:endParaRPr lang="en-US"/>
              </a:p>
            </p:txBody>
          </p:sp>
          <p:sp>
            <p:nvSpPr>
              <p:cNvPr id="23" name="iŝļiḓê">
                <a:extLst>
                  <a:ext uri="{FF2B5EF4-FFF2-40B4-BE49-F238E27FC236}">
                    <a16:creationId xmlns:a16="http://schemas.microsoft.com/office/drawing/2014/main" id="{66C78DBE-1A4E-440D-85B7-93A65C318F7E}"/>
                  </a:ext>
                </a:extLst>
              </p:cNvPr>
              <p:cNvSpPr/>
              <p:nvPr/>
            </p:nvSpPr>
            <p:spPr bwMode="auto">
              <a:xfrm>
                <a:off x="4404808" y="2264043"/>
                <a:ext cx="542690" cy="637475"/>
              </a:xfrm>
              <a:custGeom>
                <a:avLst/>
                <a:gdLst>
                  <a:gd name="T0" fmla="*/ 1080 w 1288"/>
                  <a:gd name="T1" fmla="*/ 532 h 1512"/>
                  <a:gd name="T2" fmla="*/ 1249 w 1288"/>
                  <a:gd name="T3" fmla="*/ 396 h 1512"/>
                  <a:gd name="T4" fmla="*/ 1287 w 1288"/>
                  <a:gd name="T5" fmla="*/ 38 h 1512"/>
                  <a:gd name="T6" fmla="*/ 928 w 1288"/>
                  <a:gd name="T7" fmla="*/ 0 h 1512"/>
                  <a:gd name="T8" fmla="*/ 760 w 1288"/>
                  <a:gd name="T9" fmla="*/ 136 h 1512"/>
                  <a:gd name="T10" fmla="*/ 949 w 1288"/>
                  <a:gd name="T11" fmla="*/ 156 h 1512"/>
                  <a:gd name="T12" fmla="*/ 0 w 1288"/>
                  <a:gd name="T13" fmla="*/ 1399 h 1512"/>
                  <a:gd name="T14" fmla="*/ 224 w 1288"/>
                  <a:gd name="T15" fmla="*/ 1511 h 1512"/>
                  <a:gd name="T16" fmla="*/ 1099 w 1288"/>
                  <a:gd name="T17" fmla="*/ 357 h 1512"/>
                  <a:gd name="T18" fmla="*/ 1080 w 1288"/>
                  <a:gd name="T19" fmla="*/ 532 h 1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88" h="1512">
                    <a:moveTo>
                      <a:pt x="1080" y="532"/>
                    </a:moveTo>
                    <a:lnTo>
                      <a:pt x="1249" y="396"/>
                    </a:lnTo>
                    <a:lnTo>
                      <a:pt x="1287" y="38"/>
                    </a:lnTo>
                    <a:lnTo>
                      <a:pt x="928" y="0"/>
                    </a:lnTo>
                    <a:lnTo>
                      <a:pt x="760" y="136"/>
                    </a:lnTo>
                    <a:lnTo>
                      <a:pt x="949" y="156"/>
                    </a:lnTo>
                    <a:cubicBezTo>
                      <a:pt x="559" y="506"/>
                      <a:pt x="233" y="933"/>
                      <a:pt x="0" y="1399"/>
                    </a:cubicBezTo>
                    <a:lnTo>
                      <a:pt x="224" y="1511"/>
                    </a:lnTo>
                    <a:cubicBezTo>
                      <a:pt x="440" y="1080"/>
                      <a:pt x="740" y="684"/>
                      <a:pt x="1099" y="357"/>
                    </a:cubicBezTo>
                    <a:lnTo>
                      <a:pt x="1080" y="532"/>
                    </a:lnTo>
                  </a:path>
                </a:pathLst>
              </a:custGeom>
              <a:grp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wrap="square" lIns="91440" tIns="45720" rIns="91440" bIns="45720" anchor="ctr">
                <a:normAutofit/>
              </a:bodyPr>
              <a:lstStyle>
                <a:defPPr>
                  <a:defRPr lang="en-US"/>
                </a:defPPr>
                <a:lvl1pPr marL="0" algn="l" defTabSz="457233" rtl="0" eaLnBrk="1" latinLnBrk="0" hangingPunct="1">
                  <a:defRPr sz="1700" kern="1200">
                    <a:solidFill>
                      <a:schemeClr val="tx1"/>
                    </a:solidFill>
                  </a:defRPr>
                </a:lvl1pPr>
                <a:lvl2pPr marL="457233" algn="l" defTabSz="457233" rtl="0" eaLnBrk="1" latinLnBrk="0" hangingPunct="1">
                  <a:defRPr sz="1700" kern="1200">
                    <a:solidFill>
                      <a:schemeClr val="tx1"/>
                    </a:solidFill>
                  </a:defRPr>
                </a:lvl2pPr>
                <a:lvl3pPr marL="914465" algn="l" defTabSz="457233" rtl="0" eaLnBrk="1" latinLnBrk="0" hangingPunct="1">
                  <a:defRPr sz="1700" kern="1200">
                    <a:solidFill>
                      <a:schemeClr val="tx1"/>
                    </a:solidFill>
                  </a:defRPr>
                </a:lvl3pPr>
                <a:lvl4pPr marL="1371699" algn="l" defTabSz="457233" rtl="0" eaLnBrk="1" latinLnBrk="0" hangingPunct="1">
                  <a:defRPr sz="1700" kern="1200">
                    <a:solidFill>
                      <a:schemeClr val="tx1"/>
                    </a:solidFill>
                  </a:defRPr>
                </a:lvl4pPr>
                <a:lvl5pPr marL="1828929" algn="l" defTabSz="457233" rtl="0" eaLnBrk="1" latinLnBrk="0" hangingPunct="1">
                  <a:defRPr sz="1700" kern="1200">
                    <a:solidFill>
                      <a:schemeClr val="tx1"/>
                    </a:solidFill>
                  </a:defRPr>
                </a:lvl5pPr>
                <a:lvl6pPr marL="2286162" algn="l" defTabSz="457233" rtl="0" eaLnBrk="1" latinLnBrk="0" hangingPunct="1">
                  <a:defRPr sz="1700" kern="1200">
                    <a:solidFill>
                      <a:schemeClr val="tx1"/>
                    </a:solidFill>
                  </a:defRPr>
                </a:lvl6pPr>
                <a:lvl7pPr marL="2743395" algn="l" defTabSz="457233" rtl="0" eaLnBrk="1" latinLnBrk="0" hangingPunct="1">
                  <a:defRPr sz="1700" kern="1200">
                    <a:solidFill>
                      <a:schemeClr val="tx1"/>
                    </a:solidFill>
                  </a:defRPr>
                </a:lvl7pPr>
                <a:lvl8pPr marL="3200628" algn="l" defTabSz="457233" rtl="0" eaLnBrk="1" latinLnBrk="0" hangingPunct="1">
                  <a:defRPr sz="1700" kern="1200">
                    <a:solidFill>
                      <a:schemeClr val="tx1"/>
                    </a:solidFill>
                  </a:defRPr>
                </a:lvl8pPr>
                <a:lvl9pPr marL="3657861" algn="l" defTabSz="457233" rtl="0" eaLnBrk="1" latinLnBrk="0" hangingPunct="1">
                  <a:defRPr sz="1700" kern="1200">
                    <a:solidFill>
                      <a:schemeClr val="tx1"/>
                    </a:solidFill>
                  </a:defRPr>
                </a:lvl9pPr>
              </a:lstStyle>
              <a:p>
                <a:endParaRPr lang="en-US" dirty="0"/>
              </a:p>
            </p:txBody>
          </p:sp>
          <p:sp>
            <p:nvSpPr>
              <p:cNvPr id="24" name="îşlïďê">
                <a:extLst>
                  <a:ext uri="{FF2B5EF4-FFF2-40B4-BE49-F238E27FC236}">
                    <a16:creationId xmlns:a16="http://schemas.microsoft.com/office/drawing/2014/main" id="{9DB45263-146E-423E-B5F9-367CA28E9279}"/>
                  </a:ext>
                </a:extLst>
              </p:cNvPr>
              <p:cNvSpPr/>
              <p:nvPr/>
            </p:nvSpPr>
            <p:spPr bwMode="auto">
              <a:xfrm>
                <a:off x="5646304" y="1840299"/>
                <a:ext cx="786156" cy="230457"/>
              </a:xfrm>
              <a:custGeom>
                <a:avLst/>
                <a:gdLst>
                  <a:gd name="T0" fmla="*/ 1343 w 1864"/>
                  <a:gd name="T1" fmla="*/ 496 h 549"/>
                  <a:gd name="T2" fmla="*/ 1554 w 1864"/>
                  <a:gd name="T3" fmla="*/ 548 h 549"/>
                  <a:gd name="T4" fmla="*/ 1863 w 1864"/>
                  <a:gd name="T5" fmla="*/ 362 h 549"/>
                  <a:gd name="T6" fmla="*/ 1677 w 1864"/>
                  <a:gd name="T7" fmla="*/ 53 h 549"/>
                  <a:gd name="T8" fmla="*/ 1467 w 1864"/>
                  <a:gd name="T9" fmla="*/ 0 h 549"/>
                  <a:gd name="T10" fmla="*/ 1566 w 1864"/>
                  <a:gd name="T11" fmla="*/ 165 h 549"/>
                  <a:gd name="T12" fmla="*/ 525 w 1864"/>
                  <a:gd name="T13" fmla="*/ 102 h 549"/>
                  <a:gd name="T14" fmla="*/ 0 w 1864"/>
                  <a:gd name="T15" fmla="*/ 169 h 549"/>
                  <a:gd name="T16" fmla="*/ 47 w 1864"/>
                  <a:gd name="T17" fmla="*/ 416 h 549"/>
                  <a:gd name="T18" fmla="*/ 542 w 1864"/>
                  <a:gd name="T19" fmla="*/ 353 h 549"/>
                  <a:gd name="T20" fmla="*/ 1492 w 1864"/>
                  <a:gd name="T21" fmla="*/ 407 h 549"/>
                  <a:gd name="T22" fmla="*/ 1343 w 1864"/>
                  <a:gd name="T23" fmla="*/ 496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64" h="549">
                    <a:moveTo>
                      <a:pt x="1343" y="496"/>
                    </a:moveTo>
                    <a:lnTo>
                      <a:pt x="1554" y="548"/>
                    </a:lnTo>
                    <a:lnTo>
                      <a:pt x="1863" y="362"/>
                    </a:lnTo>
                    <a:lnTo>
                      <a:pt x="1677" y="53"/>
                    </a:lnTo>
                    <a:lnTo>
                      <a:pt x="1467" y="0"/>
                    </a:lnTo>
                    <a:lnTo>
                      <a:pt x="1566" y="165"/>
                    </a:lnTo>
                    <a:cubicBezTo>
                      <a:pt x="1224" y="101"/>
                      <a:pt x="875" y="80"/>
                      <a:pt x="525" y="102"/>
                    </a:cubicBezTo>
                    <a:cubicBezTo>
                      <a:pt x="349" y="113"/>
                      <a:pt x="172" y="136"/>
                      <a:pt x="0" y="169"/>
                    </a:cubicBezTo>
                    <a:lnTo>
                      <a:pt x="47" y="416"/>
                    </a:lnTo>
                    <a:cubicBezTo>
                      <a:pt x="210" y="384"/>
                      <a:pt x="376" y="363"/>
                      <a:pt x="542" y="353"/>
                    </a:cubicBezTo>
                    <a:cubicBezTo>
                      <a:pt x="860" y="332"/>
                      <a:pt x="1179" y="351"/>
                      <a:pt x="1492" y="407"/>
                    </a:cubicBezTo>
                    <a:lnTo>
                      <a:pt x="1343" y="496"/>
                    </a:lnTo>
                  </a:path>
                </a:pathLst>
              </a:custGeom>
              <a:grpFill/>
              <a:ln>
                <a:noFill/>
              </a:ln>
              <a:effectLst/>
              <a:extLst>
                <a:ext uri="{91240B29-F687-4f45-9708-019B960494DF}">
                  <a14:hiddenLine xmlns:a16="http://schemas.microsoft.com/office/drawing/2014/main" xmlns:p14="http://schemas.microsoft.com/office/powerpoint/2010/main" xmlns:a14="http://schemas.microsoft.com/office/drawing/2010/main" xmlns:lc="http://schemas.openxmlformats.org/drawingml/2006/lockedCanvas" xmlns="" w="9525" cap="flat">
                    <a:solidFill>
                      <a:srgbClr val="808080"/>
                    </a:solidFill>
                    <a:bevel/>
                    <a:headEnd/>
                    <a:tailEnd/>
                  </a14:hiddenLine>
                </a:ext>
                <a:ext uri="{AF507438-7753-43e0-B8FC-AC1667EBCBE1}">
                  <a14:hiddenEffects xmlns:a16="http://schemas.microsoft.com/office/drawing/2014/main" xmlns:p14="http://schemas.microsoft.com/office/powerpoint/2010/main" xmlns:a14="http://schemas.microsoft.com/office/drawing/2010/main" xmlns:lc="http://schemas.openxmlformats.org/drawingml/2006/lockedCanvas" xmlns="">
                    <a:effectLst>
                      <a:outerShdw blurRad="63500" dist="38099" dir="2700000" algn="ctr" rotWithShape="0">
                        <a:srgbClr val="000000">
                          <a:alpha val="74998"/>
                        </a:srgbClr>
                      </a:outerShdw>
                    </a:effectLst>
                  </a14:hiddenEffects>
                </a:ext>
              </a:extLst>
            </p:spPr>
            <p:txBody>
              <a:bodyPr wrap="square" lIns="91440" tIns="45720" rIns="91440" bIns="45720" anchor="ctr">
                <a:normAutofit fontScale="62500" lnSpcReduction="20000"/>
              </a:bodyPr>
              <a:lstStyle>
                <a:defPPr>
                  <a:defRPr lang="en-US"/>
                </a:defPPr>
                <a:lvl1pPr marL="0" algn="l" defTabSz="457233" rtl="0" eaLnBrk="1" latinLnBrk="0" hangingPunct="1">
                  <a:defRPr sz="1700" kern="1200">
                    <a:solidFill>
                      <a:schemeClr val="tx1"/>
                    </a:solidFill>
                  </a:defRPr>
                </a:lvl1pPr>
                <a:lvl2pPr marL="457233" algn="l" defTabSz="457233" rtl="0" eaLnBrk="1" latinLnBrk="0" hangingPunct="1">
                  <a:defRPr sz="1700" kern="1200">
                    <a:solidFill>
                      <a:schemeClr val="tx1"/>
                    </a:solidFill>
                  </a:defRPr>
                </a:lvl2pPr>
                <a:lvl3pPr marL="914465" algn="l" defTabSz="457233" rtl="0" eaLnBrk="1" latinLnBrk="0" hangingPunct="1">
                  <a:defRPr sz="1700" kern="1200">
                    <a:solidFill>
                      <a:schemeClr val="tx1"/>
                    </a:solidFill>
                  </a:defRPr>
                </a:lvl3pPr>
                <a:lvl4pPr marL="1371699" algn="l" defTabSz="457233" rtl="0" eaLnBrk="1" latinLnBrk="0" hangingPunct="1">
                  <a:defRPr sz="1700" kern="1200">
                    <a:solidFill>
                      <a:schemeClr val="tx1"/>
                    </a:solidFill>
                  </a:defRPr>
                </a:lvl4pPr>
                <a:lvl5pPr marL="1828929" algn="l" defTabSz="457233" rtl="0" eaLnBrk="1" latinLnBrk="0" hangingPunct="1">
                  <a:defRPr sz="1700" kern="1200">
                    <a:solidFill>
                      <a:schemeClr val="tx1"/>
                    </a:solidFill>
                  </a:defRPr>
                </a:lvl5pPr>
                <a:lvl6pPr marL="2286162" algn="l" defTabSz="457233" rtl="0" eaLnBrk="1" latinLnBrk="0" hangingPunct="1">
                  <a:defRPr sz="1700" kern="1200">
                    <a:solidFill>
                      <a:schemeClr val="tx1"/>
                    </a:solidFill>
                  </a:defRPr>
                </a:lvl6pPr>
                <a:lvl7pPr marL="2743395" algn="l" defTabSz="457233" rtl="0" eaLnBrk="1" latinLnBrk="0" hangingPunct="1">
                  <a:defRPr sz="1700" kern="1200">
                    <a:solidFill>
                      <a:schemeClr val="tx1"/>
                    </a:solidFill>
                  </a:defRPr>
                </a:lvl7pPr>
                <a:lvl8pPr marL="3200628" algn="l" defTabSz="457233" rtl="0" eaLnBrk="1" latinLnBrk="0" hangingPunct="1">
                  <a:defRPr sz="1700" kern="1200">
                    <a:solidFill>
                      <a:schemeClr val="tx1"/>
                    </a:solidFill>
                  </a:defRPr>
                </a:lvl8pPr>
                <a:lvl9pPr marL="3657861" algn="l" defTabSz="457233" rtl="0" eaLnBrk="1" latinLnBrk="0" hangingPunct="1">
                  <a:defRPr sz="1700" kern="1200">
                    <a:solidFill>
                      <a:schemeClr val="tx1"/>
                    </a:solidFill>
                  </a:defRPr>
                </a:lvl9pPr>
              </a:lstStyle>
              <a:p>
                <a:endParaRPr lang="en-US"/>
              </a:p>
            </p:txBody>
          </p:sp>
        </p:grpSp>
        <p:grpSp>
          <p:nvGrpSpPr>
            <p:cNvPr id="7" name="ïŝļíďe">
              <a:extLst>
                <a:ext uri="{FF2B5EF4-FFF2-40B4-BE49-F238E27FC236}">
                  <a16:creationId xmlns:a16="http://schemas.microsoft.com/office/drawing/2014/main" id="{9B957538-D536-48E0-8F33-956430AAF6F1}"/>
                </a:ext>
              </a:extLst>
            </p:cNvPr>
            <p:cNvGrpSpPr/>
            <p:nvPr/>
          </p:nvGrpSpPr>
          <p:grpSpPr>
            <a:xfrm>
              <a:off x="4715556" y="2334612"/>
              <a:ext cx="2748189" cy="2595177"/>
              <a:chOff x="4715556" y="2334612"/>
              <a:chExt cx="2748189" cy="2595177"/>
            </a:xfrm>
          </p:grpSpPr>
          <p:sp>
            <p:nvSpPr>
              <p:cNvPr id="14" name="islîḋê">
                <a:extLst>
                  <a:ext uri="{FF2B5EF4-FFF2-40B4-BE49-F238E27FC236}">
                    <a16:creationId xmlns:a16="http://schemas.microsoft.com/office/drawing/2014/main" id="{DCF86EEE-1FD1-47CC-9EF7-7F282435DAC1}"/>
                  </a:ext>
                </a:extLst>
              </p:cNvPr>
              <p:cNvSpPr/>
              <p:nvPr/>
            </p:nvSpPr>
            <p:spPr>
              <a:xfrm>
                <a:off x="5062037" y="3674349"/>
                <a:ext cx="2055227" cy="601062"/>
              </a:xfrm>
              <a:custGeom>
                <a:avLst/>
                <a:gdLst/>
                <a:ahLst/>
                <a:cxnLst/>
                <a:rect l="l" t="t" r="r" b="b"/>
                <a:pathLst>
                  <a:path w="3514050" h="1027434">
                    <a:moveTo>
                      <a:pt x="2971783" y="0"/>
                    </a:moveTo>
                    <a:lnTo>
                      <a:pt x="542266" y="0"/>
                    </a:lnTo>
                    <a:lnTo>
                      <a:pt x="0" y="1027434"/>
                    </a:lnTo>
                    <a:lnTo>
                      <a:pt x="3514050" y="1027434"/>
                    </a:lnTo>
                    <a:lnTo>
                      <a:pt x="2971783" y="0"/>
                    </a:lnTo>
                    <a:close/>
                  </a:path>
                </a:pathLst>
              </a:custGeom>
              <a:solidFill>
                <a:schemeClr val="accent2"/>
              </a:solidFill>
            </p:spPr>
            <p:txBody>
              <a:bodyPr wrap="square" lIns="91440" tIns="45720" rIns="91440" bIns="45720" rtlCol="0" anchor="ctr" anchorCtr="0">
                <a:normAutofit/>
              </a:bodyPr>
              <a:lstStyle>
                <a:defPPr>
                  <a:defRPr lang="en-US"/>
                </a:defPPr>
                <a:lvl1pPr marL="0" algn="l" defTabSz="457233" rtl="0" eaLnBrk="1" latinLnBrk="0" hangingPunct="1">
                  <a:defRPr sz="1700" kern="1200">
                    <a:solidFill>
                      <a:schemeClr val="tx1"/>
                    </a:solidFill>
                  </a:defRPr>
                </a:lvl1pPr>
                <a:lvl2pPr marL="457233" algn="l" defTabSz="457233" rtl="0" eaLnBrk="1" latinLnBrk="0" hangingPunct="1">
                  <a:defRPr sz="1700" kern="1200">
                    <a:solidFill>
                      <a:schemeClr val="tx1"/>
                    </a:solidFill>
                  </a:defRPr>
                </a:lvl2pPr>
                <a:lvl3pPr marL="914465" algn="l" defTabSz="457233" rtl="0" eaLnBrk="1" latinLnBrk="0" hangingPunct="1">
                  <a:defRPr sz="1700" kern="1200">
                    <a:solidFill>
                      <a:schemeClr val="tx1"/>
                    </a:solidFill>
                  </a:defRPr>
                </a:lvl3pPr>
                <a:lvl4pPr marL="1371699" algn="l" defTabSz="457233" rtl="0" eaLnBrk="1" latinLnBrk="0" hangingPunct="1">
                  <a:defRPr sz="1700" kern="1200">
                    <a:solidFill>
                      <a:schemeClr val="tx1"/>
                    </a:solidFill>
                  </a:defRPr>
                </a:lvl4pPr>
                <a:lvl5pPr marL="1828929" algn="l" defTabSz="457233" rtl="0" eaLnBrk="1" latinLnBrk="0" hangingPunct="1">
                  <a:defRPr sz="1700" kern="1200">
                    <a:solidFill>
                      <a:schemeClr val="tx1"/>
                    </a:solidFill>
                  </a:defRPr>
                </a:lvl5pPr>
                <a:lvl6pPr marL="2286162" algn="l" defTabSz="457233" rtl="0" eaLnBrk="1" latinLnBrk="0" hangingPunct="1">
                  <a:defRPr sz="1700" kern="1200">
                    <a:solidFill>
                      <a:schemeClr val="tx1"/>
                    </a:solidFill>
                  </a:defRPr>
                </a:lvl6pPr>
                <a:lvl7pPr marL="2743395" algn="l" defTabSz="457233" rtl="0" eaLnBrk="1" latinLnBrk="0" hangingPunct="1">
                  <a:defRPr sz="1700" kern="1200">
                    <a:solidFill>
                      <a:schemeClr val="tx1"/>
                    </a:solidFill>
                  </a:defRPr>
                </a:lvl7pPr>
                <a:lvl8pPr marL="3200628" algn="l" defTabSz="457233" rtl="0" eaLnBrk="1" latinLnBrk="0" hangingPunct="1">
                  <a:defRPr sz="1700" kern="1200">
                    <a:solidFill>
                      <a:schemeClr val="tx1"/>
                    </a:solidFill>
                  </a:defRPr>
                </a:lvl8pPr>
                <a:lvl9pPr marL="3657861" algn="l" defTabSz="457233" rtl="0" eaLnBrk="1" latinLnBrk="0" hangingPunct="1">
                  <a:defRPr sz="1700" kern="1200">
                    <a:solidFill>
                      <a:schemeClr val="tx1"/>
                    </a:solidFill>
                  </a:defRPr>
                </a:lvl9pPr>
              </a:lstStyle>
              <a:p>
                <a:pPr algn="ctr"/>
                <a:r>
                  <a:rPr lang="en-US" altLang="zh-CN" sz="1400" dirty="0">
                    <a:solidFill>
                      <a:schemeClr val="bg1"/>
                    </a:solidFill>
                  </a:rPr>
                  <a:t>…text</a:t>
                </a:r>
                <a:endParaRPr lang="en-US" altLang="zh-CN" sz="1600" dirty="0">
                  <a:solidFill>
                    <a:schemeClr val="bg1"/>
                  </a:solidFill>
                </a:endParaRPr>
              </a:p>
            </p:txBody>
          </p:sp>
          <p:sp>
            <p:nvSpPr>
              <p:cNvPr id="15" name="iṥ1íḋè">
                <a:extLst>
                  <a:ext uri="{FF2B5EF4-FFF2-40B4-BE49-F238E27FC236}">
                    <a16:creationId xmlns:a16="http://schemas.microsoft.com/office/drawing/2014/main" id="{E85177AC-560A-44F6-8BA3-E589B1EC86A1}"/>
                  </a:ext>
                </a:extLst>
              </p:cNvPr>
              <p:cNvSpPr/>
              <p:nvPr/>
            </p:nvSpPr>
            <p:spPr>
              <a:xfrm>
                <a:off x="5755001" y="2334612"/>
                <a:ext cx="669298" cy="632035"/>
              </a:xfrm>
              <a:custGeom>
                <a:avLst/>
                <a:gdLst/>
                <a:ahLst/>
                <a:cxnLst/>
                <a:rect l="l" t="t" r="r" b="b"/>
                <a:pathLst>
                  <a:path w="1144373" h="1080375">
                    <a:moveTo>
                      <a:pt x="572181" y="0"/>
                    </a:moveTo>
                    <a:lnTo>
                      <a:pt x="0" y="1080375"/>
                    </a:lnTo>
                    <a:lnTo>
                      <a:pt x="1144373" y="1080375"/>
                    </a:lnTo>
                    <a:lnTo>
                      <a:pt x="572181" y="0"/>
                    </a:lnTo>
                    <a:close/>
                  </a:path>
                </a:pathLst>
              </a:custGeom>
              <a:solidFill>
                <a:schemeClr val="bg1">
                  <a:lumMod val="85000"/>
                </a:schemeClr>
              </a:solidFill>
            </p:spPr>
            <p:txBody>
              <a:bodyPr wrap="square" lIns="91440" tIns="45720" rIns="91440" bIns="45720" rtlCol="0" anchor="b" anchorCtr="0">
                <a:normAutofit/>
              </a:bodyPr>
              <a:lstStyle/>
              <a:p>
                <a:pPr algn="ctr"/>
                <a:r>
                  <a:rPr lang="en-US" altLang="zh-CN" sz="1100" dirty="0">
                    <a:solidFill>
                      <a:schemeClr val="bg1"/>
                    </a:solidFill>
                  </a:rPr>
                  <a:t>…text</a:t>
                </a:r>
              </a:p>
            </p:txBody>
          </p:sp>
          <p:sp>
            <p:nvSpPr>
              <p:cNvPr id="16" name="îṥļîde">
                <a:extLst>
                  <a:ext uri="{FF2B5EF4-FFF2-40B4-BE49-F238E27FC236}">
                    <a16:creationId xmlns:a16="http://schemas.microsoft.com/office/drawing/2014/main" id="{A4C655B5-6D20-411A-AFC0-417A6977CD23}"/>
                  </a:ext>
                </a:extLst>
              </p:cNvPr>
              <p:cNvSpPr/>
              <p:nvPr/>
            </p:nvSpPr>
            <p:spPr>
              <a:xfrm>
                <a:off x="4715556" y="4328732"/>
                <a:ext cx="2748189" cy="601057"/>
              </a:xfrm>
              <a:custGeom>
                <a:avLst/>
                <a:gdLst/>
                <a:ahLst/>
                <a:cxnLst/>
                <a:rect l="l" t="t" r="r" b="b"/>
                <a:pathLst>
                  <a:path w="4698883" h="1027424">
                    <a:moveTo>
                      <a:pt x="4157067" y="0"/>
                    </a:moveTo>
                    <a:lnTo>
                      <a:pt x="541815" y="0"/>
                    </a:lnTo>
                    <a:lnTo>
                      <a:pt x="0" y="1027424"/>
                    </a:lnTo>
                    <a:lnTo>
                      <a:pt x="4698883" y="1027424"/>
                    </a:lnTo>
                    <a:lnTo>
                      <a:pt x="4157067" y="0"/>
                    </a:lnTo>
                    <a:close/>
                  </a:path>
                </a:pathLst>
              </a:custGeom>
              <a:solidFill>
                <a:schemeClr val="accent1"/>
              </a:solidFill>
            </p:spPr>
            <p:txBody>
              <a:bodyPr wrap="square" lIns="91440" tIns="45720" rIns="91440" bIns="45720" rtlCol="0" anchor="ctr" anchorCtr="0">
                <a:normAutofit/>
              </a:bodyPr>
              <a:lstStyle>
                <a:defPPr>
                  <a:defRPr lang="en-US"/>
                </a:defPPr>
                <a:lvl1pPr marL="0" algn="l" defTabSz="457233" rtl="0" eaLnBrk="1" latinLnBrk="0" hangingPunct="1">
                  <a:defRPr sz="1700" kern="1200">
                    <a:solidFill>
                      <a:schemeClr val="tx1"/>
                    </a:solidFill>
                  </a:defRPr>
                </a:lvl1pPr>
                <a:lvl2pPr marL="457233" algn="l" defTabSz="457233" rtl="0" eaLnBrk="1" latinLnBrk="0" hangingPunct="1">
                  <a:defRPr sz="1700" kern="1200">
                    <a:solidFill>
                      <a:schemeClr val="tx1"/>
                    </a:solidFill>
                  </a:defRPr>
                </a:lvl2pPr>
                <a:lvl3pPr marL="914465" algn="l" defTabSz="457233" rtl="0" eaLnBrk="1" latinLnBrk="0" hangingPunct="1">
                  <a:defRPr sz="1700" kern="1200">
                    <a:solidFill>
                      <a:schemeClr val="tx1"/>
                    </a:solidFill>
                  </a:defRPr>
                </a:lvl3pPr>
                <a:lvl4pPr marL="1371699" algn="l" defTabSz="457233" rtl="0" eaLnBrk="1" latinLnBrk="0" hangingPunct="1">
                  <a:defRPr sz="1700" kern="1200">
                    <a:solidFill>
                      <a:schemeClr val="tx1"/>
                    </a:solidFill>
                  </a:defRPr>
                </a:lvl4pPr>
                <a:lvl5pPr marL="1828929" algn="l" defTabSz="457233" rtl="0" eaLnBrk="1" latinLnBrk="0" hangingPunct="1">
                  <a:defRPr sz="1700" kern="1200">
                    <a:solidFill>
                      <a:schemeClr val="tx1"/>
                    </a:solidFill>
                  </a:defRPr>
                </a:lvl5pPr>
                <a:lvl6pPr marL="2286162" algn="l" defTabSz="457233" rtl="0" eaLnBrk="1" latinLnBrk="0" hangingPunct="1">
                  <a:defRPr sz="1700" kern="1200">
                    <a:solidFill>
                      <a:schemeClr val="tx1"/>
                    </a:solidFill>
                  </a:defRPr>
                </a:lvl6pPr>
                <a:lvl7pPr marL="2743395" algn="l" defTabSz="457233" rtl="0" eaLnBrk="1" latinLnBrk="0" hangingPunct="1">
                  <a:defRPr sz="1700" kern="1200">
                    <a:solidFill>
                      <a:schemeClr val="tx1"/>
                    </a:solidFill>
                  </a:defRPr>
                </a:lvl7pPr>
                <a:lvl8pPr marL="3200628" algn="l" defTabSz="457233" rtl="0" eaLnBrk="1" latinLnBrk="0" hangingPunct="1">
                  <a:defRPr sz="1700" kern="1200">
                    <a:solidFill>
                      <a:schemeClr val="tx1"/>
                    </a:solidFill>
                  </a:defRPr>
                </a:lvl8pPr>
                <a:lvl9pPr marL="3657861" algn="l" defTabSz="457233" rtl="0" eaLnBrk="1" latinLnBrk="0" hangingPunct="1">
                  <a:defRPr sz="1700" kern="1200">
                    <a:solidFill>
                      <a:schemeClr val="tx1"/>
                    </a:solidFill>
                  </a:defRPr>
                </a:lvl9pPr>
              </a:lstStyle>
              <a:p>
                <a:pPr algn="ctr"/>
                <a:r>
                  <a:rPr lang="en-US" altLang="zh-CN" sz="1600" dirty="0">
                    <a:solidFill>
                      <a:schemeClr val="bg1"/>
                    </a:solidFill>
                  </a:rPr>
                  <a:t>…text</a:t>
                </a:r>
                <a:endParaRPr lang="en-US" sz="1600" dirty="0">
                  <a:solidFill>
                    <a:schemeClr val="bg1"/>
                  </a:solidFill>
                </a:endParaRPr>
              </a:p>
            </p:txBody>
          </p:sp>
          <p:sp>
            <p:nvSpPr>
              <p:cNvPr id="17" name="iśḻíḍê">
                <a:extLst>
                  <a:ext uri="{FF2B5EF4-FFF2-40B4-BE49-F238E27FC236}">
                    <a16:creationId xmlns:a16="http://schemas.microsoft.com/office/drawing/2014/main" id="{39CE5176-226F-4734-A331-6C3B1D6F8879}"/>
                  </a:ext>
                </a:extLst>
              </p:cNvPr>
              <p:cNvSpPr/>
              <p:nvPr/>
            </p:nvSpPr>
            <p:spPr>
              <a:xfrm>
                <a:off x="5408524" y="3019967"/>
                <a:ext cx="1362253" cy="601062"/>
              </a:xfrm>
              <a:custGeom>
                <a:avLst/>
                <a:gdLst/>
                <a:ahLst/>
                <a:cxnLst/>
                <a:rect l="l" t="t" r="r" b="b"/>
                <a:pathLst>
                  <a:path w="2329196" h="1027434">
                    <a:moveTo>
                      <a:pt x="1786039" y="0"/>
                    </a:moveTo>
                    <a:lnTo>
                      <a:pt x="543166" y="0"/>
                    </a:lnTo>
                    <a:lnTo>
                      <a:pt x="0" y="1027434"/>
                    </a:lnTo>
                    <a:lnTo>
                      <a:pt x="2329196" y="1027434"/>
                    </a:lnTo>
                    <a:lnTo>
                      <a:pt x="1786039" y="0"/>
                    </a:lnTo>
                    <a:close/>
                  </a:path>
                </a:pathLst>
              </a:custGeom>
              <a:solidFill>
                <a:schemeClr val="bg1">
                  <a:lumMod val="65000"/>
                </a:schemeClr>
              </a:solidFill>
            </p:spPr>
            <p:txBody>
              <a:bodyPr wrap="square" lIns="91440" tIns="45720" rIns="91440" bIns="45720" rtlCol="0" anchor="ctr" anchorCtr="0">
                <a:normAutofit/>
              </a:bodyPr>
              <a:lstStyle/>
              <a:p>
                <a:pPr algn="ctr"/>
                <a:r>
                  <a:rPr lang="en-US" altLang="zh-CN" sz="1200" dirty="0">
                    <a:solidFill>
                      <a:schemeClr val="bg1"/>
                    </a:solidFill>
                  </a:rPr>
                  <a:t>…text</a:t>
                </a:r>
              </a:p>
            </p:txBody>
          </p:sp>
        </p:grpSp>
        <p:grpSp>
          <p:nvGrpSpPr>
            <p:cNvPr id="8" name="iṥḻíďè">
              <a:extLst>
                <a:ext uri="{FF2B5EF4-FFF2-40B4-BE49-F238E27FC236}">
                  <a16:creationId xmlns:a16="http://schemas.microsoft.com/office/drawing/2014/main" id="{DC931937-6422-459C-907A-18FA53773948}"/>
                </a:ext>
              </a:extLst>
            </p:cNvPr>
            <p:cNvGrpSpPr/>
            <p:nvPr/>
          </p:nvGrpSpPr>
          <p:grpSpPr>
            <a:xfrm>
              <a:off x="660400" y="2031365"/>
              <a:ext cx="3084646" cy="3201670"/>
              <a:chOff x="8512822" y="1733692"/>
              <a:chExt cx="3006078" cy="3201670"/>
            </a:xfrm>
          </p:grpSpPr>
          <p:sp>
            <p:nvSpPr>
              <p:cNvPr id="12" name="ï$ḻîḑê">
                <a:extLst>
                  <a:ext uri="{FF2B5EF4-FFF2-40B4-BE49-F238E27FC236}">
                    <a16:creationId xmlns:a16="http://schemas.microsoft.com/office/drawing/2014/main" id="{921D2456-A6A6-43F5-AD86-0A010D24A2F0}"/>
                  </a:ext>
                </a:extLst>
              </p:cNvPr>
              <p:cNvSpPr txBox="1"/>
              <p:nvPr/>
            </p:nvSpPr>
            <p:spPr>
              <a:xfrm>
                <a:off x="8512822" y="1733692"/>
                <a:ext cx="3006078" cy="417624"/>
              </a:xfrm>
              <a:prstGeom prst="rect">
                <a:avLst/>
              </a:prstGeom>
              <a:noFill/>
            </p:spPr>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dirty="0"/>
                  <a:t>Text here</a:t>
                </a:r>
                <a:endParaRPr lang="id-ID" sz="1600" b="1" dirty="0"/>
              </a:p>
            </p:txBody>
          </p:sp>
          <p:sp>
            <p:nvSpPr>
              <p:cNvPr id="13" name="íşḻîḓè">
                <a:extLst>
                  <a:ext uri="{FF2B5EF4-FFF2-40B4-BE49-F238E27FC236}">
                    <a16:creationId xmlns:a16="http://schemas.microsoft.com/office/drawing/2014/main" id="{F8E07573-A8E5-42F7-B445-E2E8E3B47ABD}"/>
                  </a:ext>
                </a:extLst>
              </p:cNvPr>
              <p:cNvSpPr/>
              <p:nvPr/>
            </p:nvSpPr>
            <p:spPr bwMode="auto">
              <a:xfrm>
                <a:off x="8512822" y="2151317"/>
                <a:ext cx="3006078" cy="2784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text.</a:t>
                </a:r>
              </a:p>
              <a:p>
                <a:pPr algn="ctr">
                  <a:lnSpc>
                    <a:spcPct val="150000"/>
                  </a:lnSpc>
                </a:pPr>
                <a:endParaRPr lang="en-US" altLang="zh-CN" sz="1100" dirty="0"/>
              </a:p>
              <a:p>
                <a:pPr algn="ctr">
                  <a:lnSpc>
                    <a:spcPct val="150000"/>
                  </a:lnSpc>
                </a:pPr>
                <a:r>
                  <a:rPr lang="en-US" altLang="zh-CN" sz="1100" dirty="0"/>
                  <a:t>……</a:t>
                </a:r>
              </a:p>
              <a:p>
                <a:pPr algn="ctr">
                  <a:lnSpc>
                    <a:spcPct val="150000"/>
                  </a:lnSpc>
                </a:pPr>
                <a:endParaRPr lang="en-US" altLang="zh-CN" sz="1100" dirty="0"/>
              </a:p>
              <a:p>
                <a:pPr algn="ctr">
                  <a:lnSpc>
                    <a:spcPct val="150000"/>
                  </a:lnSpc>
                </a:pPr>
                <a:endParaRPr lang="en-US" altLang="zh-CN" sz="1100" dirty="0"/>
              </a:p>
              <a:p>
                <a:pPr algn="ctr">
                  <a:lnSpc>
                    <a:spcPct val="150000"/>
                  </a:lnSpc>
                </a:pPr>
                <a:r>
                  <a:rPr lang="en-US" altLang="zh-CN" sz="1100" dirty="0"/>
                  <a:t>Copy paste fonts. Choose the only option to retain text.</a:t>
                </a:r>
              </a:p>
              <a:p>
                <a:pPr algn="ctr">
                  <a:lnSpc>
                    <a:spcPct val="150000"/>
                  </a:lnSpc>
                </a:pPr>
                <a:endParaRPr lang="en-US" altLang="zh-CN" sz="1100" dirty="0"/>
              </a:p>
              <a:p>
                <a:pPr algn="ctr">
                  <a:lnSpc>
                    <a:spcPct val="150000"/>
                  </a:lnSpc>
                </a:pPr>
                <a:r>
                  <a:rPr lang="en-US" altLang="zh-CN" sz="1100" dirty="0"/>
                  <a:t>……</a:t>
                </a:r>
              </a:p>
            </p:txBody>
          </p:sp>
        </p:grpSp>
        <p:grpSp>
          <p:nvGrpSpPr>
            <p:cNvPr id="9" name="îṧḷíḑè">
              <a:extLst>
                <a:ext uri="{FF2B5EF4-FFF2-40B4-BE49-F238E27FC236}">
                  <a16:creationId xmlns:a16="http://schemas.microsoft.com/office/drawing/2014/main" id="{8AB9BD10-AFE5-466A-B6D6-E96A640871F0}"/>
                </a:ext>
              </a:extLst>
            </p:cNvPr>
            <p:cNvGrpSpPr/>
            <p:nvPr/>
          </p:nvGrpSpPr>
          <p:grpSpPr>
            <a:xfrm>
              <a:off x="8434254" y="2031365"/>
              <a:ext cx="3084646" cy="3201670"/>
              <a:chOff x="8512822" y="1733692"/>
              <a:chExt cx="3006078" cy="3201670"/>
            </a:xfrm>
          </p:grpSpPr>
          <p:sp>
            <p:nvSpPr>
              <p:cNvPr id="10" name="iŝḻïďé">
                <a:extLst>
                  <a:ext uri="{FF2B5EF4-FFF2-40B4-BE49-F238E27FC236}">
                    <a16:creationId xmlns:a16="http://schemas.microsoft.com/office/drawing/2014/main" id="{921D2456-A6A6-43F5-AD86-0A010D24A2F0}"/>
                  </a:ext>
                </a:extLst>
              </p:cNvPr>
              <p:cNvSpPr txBox="1"/>
              <p:nvPr/>
            </p:nvSpPr>
            <p:spPr>
              <a:xfrm>
                <a:off x="8512822" y="1733692"/>
                <a:ext cx="3006078" cy="417624"/>
              </a:xfrm>
              <a:prstGeom prst="rect">
                <a:avLst/>
              </a:prstGeom>
              <a:noFill/>
            </p:spPr>
            <p:txBody>
              <a:bodyPr wrap="square" lIns="91440" tIns="45720" rIns="91440" bIns="45720" rtlCol="0" anchor="b"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r>
                  <a:rPr lang="en-US" altLang="zh-CN" sz="1600" b="1" dirty="0"/>
                  <a:t>Text here</a:t>
                </a:r>
                <a:endParaRPr lang="id-ID" sz="1600" b="1" dirty="0"/>
              </a:p>
            </p:txBody>
          </p:sp>
          <p:sp>
            <p:nvSpPr>
              <p:cNvPr id="11" name="îşľiḓè">
                <a:extLst>
                  <a:ext uri="{FF2B5EF4-FFF2-40B4-BE49-F238E27FC236}">
                    <a16:creationId xmlns:a16="http://schemas.microsoft.com/office/drawing/2014/main" id="{F8E07573-A8E5-42F7-B445-E2E8E3B47ABD}"/>
                  </a:ext>
                </a:extLst>
              </p:cNvPr>
              <p:cNvSpPr/>
              <p:nvPr/>
            </p:nvSpPr>
            <p:spPr bwMode="auto">
              <a:xfrm>
                <a:off x="8512822" y="2151317"/>
                <a:ext cx="3006078" cy="2784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text.</a:t>
                </a:r>
              </a:p>
              <a:p>
                <a:pPr algn="ctr">
                  <a:lnSpc>
                    <a:spcPct val="150000"/>
                  </a:lnSpc>
                </a:pPr>
                <a:endParaRPr lang="en-US" altLang="zh-CN" sz="1100" dirty="0"/>
              </a:p>
              <a:p>
                <a:pPr algn="ctr">
                  <a:lnSpc>
                    <a:spcPct val="150000"/>
                  </a:lnSpc>
                </a:pPr>
                <a:r>
                  <a:rPr lang="en-US" altLang="zh-CN" sz="1100" dirty="0"/>
                  <a:t>……</a:t>
                </a:r>
              </a:p>
              <a:p>
                <a:pPr algn="ctr">
                  <a:lnSpc>
                    <a:spcPct val="150000"/>
                  </a:lnSpc>
                </a:pPr>
                <a:endParaRPr lang="en-US" altLang="zh-CN" sz="1100" dirty="0"/>
              </a:p>
              <a:p>
                <a:pPr algn="ctr">
                  <a:lnSpc>
                    <a:spcPct val="150000"/>
                  </a:lnSpc>
                </a:pPr>
                <a:endParaRPr lang="en-US" altLang="zh-CN" sz="1100" dirty="0"/>
              </a:p>
              <a:p>
                <a:pPr algn="ctr">
                  <a:lnSpc>
                    <a:spcPct val="150000"/>
                  </a:lnSpc>
                </a:pPr>
                <a:r>
                  <a:rPr lang="en-US" altLang="zh-CN" sz="1100" dirty="0"/>
                  <a:t>Copy paste fonts. Choose the only option to retain text.</a:t>
                </a:r>
              </a:p>
              <a:p>
                <a:pPr algn="ctr">
                  <a:lnSpc>
                    <a:spcPct val="150000"/>
                  </a:lnSpc>
                </a:pPr>
                <a:endParaRPr lang="en-US" altLang="zh-CN" sz="1100" dirty="0"/>
              </a:p>
              <a:p>
                <a:pPr algn="ctr">
                  <a:lnSpc>
                    <a:spcPct val="150000"/>
                  </a:lnSpc>
                </a:pPr>
                <a:r>
                  <a:rPr lang="en-US" altLang="zh-CN" sz="1100" dirty="0"/>
                  <a:t>……</a:t>
                </a:r>
              </a:p>
            </p:txBody>
          </p:sp>
        </p:grpSp>
      </p:grpSp>
    </p:spTree>
    <p:extLst>
      <p:ext uri="{BB962C8B-B14F-4D97-AF65-F5344CB8AC3E}">
        <p14:creationId xmlns:p14="http://schemas.microsoft.com/office/powerpoint/2010/main" val="40124636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CFE4CF2-BD2B-4DA8-B559-DA4E16CCBF0B}"/>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DB1848EC-6894-4965-A8E7-2809727F674F}"/>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01EF22CC-9DD8-4B6B-A4D7-B72C3946036C}"/>
              </a:ext>
            </a:extLst>
          </p:cNvPr>
          <p:cNvSpPr>
            <a:spLocks noGrp="1"/>
          </p:cNvSpPr>
          <p:nvPr>
            <p:ph type="sldNum" sz="quarter" idx="12"/>
          </p:nvPr>
        </p:nvSpPr>
        <p:spPr/>
        <p:txBody>
          <a:bodyPr/>
          <a:lstStyle/>
          <a:p>
            <a:fld id="{5DD3DB80-B894-403A-B48E-6FDC1A72010E}" type="slidenum">
              <a:rPr lang="zh-CN" altLang="en-US" smtClean="0"/>
              <a:pPr/>
              <a:t>19</a:t>
            </a:fld>
            <a:endParaRPr lang="zh-CN" altLang="en-US"/>
          </a:p>
        </p:txBody>
      </p:sp>
      <p:grpSp>
        <p:nvGrpSpPr>
          <p:cNvPr id="5" name="21919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7540FC6-DA87-41F8-BB70-184B998B86DC}"/>
              </a:ext>
            </a:extLst>
          </p:cNvPr>
          <p:cNvGrpSpPr>
            <a:grpSpLocks noChangeAspect="1"/>
          </p:cNvGrpSpPr>
          <p:nvPr/>
        </p:nvGrpSpPr>
        <p:grpSpPr>
          <a:xfrm>
            <a:off x="660400" y="1153748"/>
            <a:ext cx="10858500" cy="4956906"/>
            <a:chOff x="660400" y="1153748"/>
            <a:chExt cx="10858500" cy="4956906"/>
          </a:xfrm>
        </p:grpSpPr>
        <p:sp>
          <p:nvSpPr>
            <p:cNvPr id="6" name="íṡľíḓé">
              <a:extLst>
                <a:ext uri="{FF2B5EF4-FFF2-40B4-BE49-F238E27FC236}">
                  <a16:creationId xmlns:a16="http://schemas.microsoft.com/office/drawing/2014/main" id="{93234EA0-894F-44D1-8C78-110A1A1F517A}"/>
                </a:ext>
              </a:extLst>
            </p:cNvPr>
            <p:cNvSpPr/>
            <p:nvPr/>
          </p:nvSpPr>
          <p:spPr>
            <a:xfrm>
              <a:off x="5037038" y="1153748"/>
              <a:ext cx="2872804" cy="4956906"/>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3523" y="10800"/>
                  </a:lnTo>
                  <a:lnTo>
                    <a:pt x="0" y="21600"/>
                  </a:lnTo>
                  <a:lnTo>
                    <a:pt x="8079" y="21600"/>
                  </a:lnTo>
                  <a:lnTo>
                    <a:pt x="21600" y="10800"/>
                  </a:lnTo>
                  <a:lnTo>
                    <a:pt x="8079" y="0"/>
                  </a:lnTo>
                  <a:lnTo>
                    <a:pt x="0" y="0"/>
                  </a:lnTo>
                  <a:close/>
                </a:path>
              </a:pathLst>
            </a:custGeom>
            <a:solidFill>
              <a:schemeClr val="bg1">
                <a:lumMod val="85000"/>
              </a:schemeClr>
            </a:solid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a:solidFill>
                  <a:schemeClr val="lt1"/>
                </a:solidFill>
              </a:endParaRPr>
            </a:p>
          </p:txBody>
        </p:sp>
        <p:sp>
          <p:nvSpPr>
            <p:cNvPr id="7" name="íṣľîḋé">
              <a:extLst>
                <a:ext uri="{FF2B5EF4-FFF2-40B4-BE49-F238E27FC236}">
                  <a16:creationId xmlns:a16="http://schemas.microsoft.com/office/drawing/2014/main" id="{C947D3D2-EBC5-49F9-98AD-6A0862943C2C}"/>
                </a:ext>
              </a:extLst>
            </p:cNvPr>
            <p:cNvSpPr/>
            <p:nvPr/>
          </p:nvSpPr>
          <p:spPr>
            <a:xfrm>
              <a:off x="660400" y="4205372"/>
              <a:ext cx="5672548" cy="8076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9368" y="21600"/>
                  </a:lnTo>
                  <a:lnTo>
                    <a:pt x="21600" y="0"/>
                  </a:lnTo>
                  <a:lnTo>
                    <a:pt x="0" y="0"/>
                  </a:lnTo>
                  <a:close/>
                </a:path>
              </a:pathLst>
            </a:custGeom>
            <a:solidFill>
              <a:schemeClr val="bg1">
                <a:lumMod val="95000"/>
              </a:schemeClr>
            </a:solidFill>
            <a:ln w="12700" cap="flat">
              <a:noFill/>
              <a:miter lim="400000"/>
            </a:ln>
            <a:effectLst/>
          </p:spPr>
          <p:txBody>
            <a:bodyPr wrap="square" lIns="91440" tIns="45720" rIns="91440" bIns="45720" numCol="1" anchor="t">
              <a:normAutofit/>
            </a:bodyPr>
            <a:lstStyle/>
            <a:p>
              <a:endParaRPr/>
            </a:p>
          </p:txBody>
        </p:sp>
        <p:sp>
          <p:nvSpPr>
            <p:cNvPr id="8" name="ïṡ1iḓe">
              <a:extLst>
                <a:ext uri="{FF2B5EF4-FFF2-40B4-BE49-F238E27FC236}">
                  <a16:creationId xmlns:a16="http://schemas.microsoft.com/office/drawing/2014/main" id="{007C67B5-6087-4E3F-ADF5-885C9C72AD99}"/>
                </a:ext>
              </a:extLst>
            </p:cNvPr>
            <p:cNvSpPr/>
            <p:nvPr/>
          </p:nvSpPr>
          <p:spPr>
            <a:xfrm>
              <a:off x="660400" y="5182344"/>
              <a:ext cx="4963374" cy="8076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19049" y="21600"/>
                  </a:lnTo>
                  <a:lnTo>
                    <a:pt x="21600" y="0"/>
                  </a:lnTo>
                  <a:lnTo>
                    <a:pt x="0" y="0"/>
                  </a:lnTo>
                  <a:close/>
                </a:path>
              </a:pathLst>
            </a:custGeom>
            <a:solidFill>
              <a:schemeClr val="bg1">
                <a:lumMod val="95000"/>
              </a:schemeClr>
            </a:solidFill>
            <a:ln w="12700" cap="flat">
              <a:noFill/>
              <a:miter lim="400000"/>
            </a:ln>
            <a:effectLst/>
          </p:spPr>
          <p:txBody>
            <a:bodyPr wrap="square" lIns="91440" tIns="45720" rIns="91440" bIns="45720" numCol="1" anchor="t">
              <a:normAutofit/>
            </a:bodyPr>
            <a:lstStyle/>
            <a:p>
              <a:endParaRPr/>
            </a:p>
          </p:txBody>
        </p:sp>
        <p:sp>
          <p:nvSpPr>
            <p:cNvPr id="9" name="îṣḷïḓè">
              <a:extLst>
                <a:ext uri="{FF2B5EF4-FFF2-40B4-BE49-F238E27FC236}">
                  <a16:creationId xmlns:a16="http://schemas.microsoft.com/office/drawing/2014/main" id="{61CCF152-9334-4ACC-BEB1-2DE25945E508}"/>
                </a:ext>
              </a:extLst>
            </p:cNvPr>
            <p:cNvSpPr/>
            <p:nvPr/>
          </p:nvSpPr>
          <p:spPr>
            <a:xfrm>
              <a:off x="660400" y="3228401"/>
              <a:ext cx="6088404" cy="8076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0560" y="21600"/>
                  </a:lnTo>
                  <a:lnTo>
                    <a:pt x="21600" y="10800"/>
                  </a:lnTo>
                  <a:lnTo>
                    <a:pt x="20560" y="0"/>
                  </a:lnTo>
                  <a:lnTo>
                    <a:pt x="0" y="0"/>
                  </a:lnTo>
                  <a:close/>
                </a:path>
              </a:pathLst>
            </a:custGeom>
            <a:solidFill>
              <a:schemeClr val="bg1">
                <a:lumMod val="95000"/>
              </a:schemeClr>
            </a:solidFill>
            <a:ln w="12700" cap="flat">
              <a:noFill/>
              <a:miter lim="400000"/>
            </a:ln>
            <a:effectLst/>
          </p:spPr>
          <p:txBody>
            <a:bodyPr wrap="square" lIns="91440" tIns="45720" rIns="91440" bIns="45720" numCol="1" anchor="t">
              <a:normAutofit/>
            </a:bodyPr>
            <a:lstStyle/>
            <a:p>
              <a:endParaRPr/>
            </a:p>
          </p:txBody>
        </p:sp>
        <p:sp>
          <p:nvSpPr>
            <p:cNvPr id="10" name="îṡ1iḑê">
              <a:extLst>
                <a:ext uri="{FF2B5EF4-FFF2-40B4-BE49-F238E27FC236}">
                  <a16:creationId xmlns:a16="http://schemas.microsoft.com/office/drawing/2014/main" id="{279579C5-D8C1-4A23-8F5A-95BFCF498327}"/>
                </a:ext>
              </a:extLst>
            </p:cNvPr>
            <p:cNvSpPr/>
            <p:nvPr/>
          </p:nvSpPr>
          <p:spPr>
            <a:xfrm>
              <a:off x="660400" y="2252651"/>
              <a:ext cx="5672548" cy="807601"/>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19368" y="0"/>
                  </a:lnTo>
                  <a:lnTo>
                    <a:pt x="0" y="0"/>
                  </a:lnTo>
                  <a:close/>
                </a:path>
              </a:pathLst>
            </a:custGeom>
            <a:solidFill>
              <a:schemeClr val="bg1">
                <a:lumMod val="95000"/>
              </a:schemeClr>
            </a:solidFill>
            <a:ln w="12700" cap="flat">
              <a:noFill/>
              <a:miter lim="400000"/>
            </a:ln>
            <a:effectLst/>
          </p:spPr>
          <p:txBody>
            <a:bodyPr wrap="square" lIns="91440" tIns="45720" rIns="91440" bIns="45720" numCol="1" anchor="t">
              <a:normAutofit/>
            </a:bodyPr>
            <a:lstStyle/>
            <a:p>
              <a:endParaRPr/>
            </a:p>
          </p:txBody>
        </p:sp>
        <p:sp>
          <p:nvSpPr>
            <p:cNvPr id="11" name="íşľîḓè">
              <a:extLst>
                <a:ext uri="{FF2B5EF4-FFF2-40B4-BE49-F238E27FC236}">
                  <a16:creationId xmlns:a16="http://schemas.microsoft.com/office/drawing/2014/main" id="{5B585B44-635C-438B-8EED-B3531D40D196}"/>
                </a:ext>
              </a:extLst>
            </p:cNvPr>
            <p:cNvSpPr/>
            <p:nvPr/>
          </p:nvSpPr>
          <p:spPr>
            <a:xfrm>
              <a:off x="660400" y="1274458"/>
              <a:ext cx="4963374" cy="807600"/>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0" y="21600"/>
                  </a:lnTo>
                  <a:lnTo>
                    <a:pt x="21600" y="21600"/>
                  </a:lnTo>
                  <a:lnTo>
                    <a:pt x="19049" y="0"/>
                  </a:lnTo>
                  <a:lnTo>
                    <a:pt x="0" y="0"/>
                  </a:lnTo>
                  <a:close/>
                </a:path>
              </a:pathLst>
            </a:custGeom>
            <a:solidFill>
              <a:schemeClr val="bg1">
                <a:lumMod val="95000"/>
              </a:schemeClr>
            </a:solidFill>
            <a:ln w="12700" cap="flat">
              <a:noFill/>
              <a:miter lim="400000"/>
            </a:ln>
            <a:effectLst/>
          </p:spPr>
          <p:txBody>
            <a:bodyPr wrap="square" lIns="91440" tIns="45720" rIns="91440" bIns="45720" numCol="1" anchor="t">
              <a:normAutofit/>
            </a:bodyPr>
            <a:lstStyle/>
            <a:p>
              <a:endParaRPr dirty="0"/>
            </a:p>
          </p:txBody>
        </p:sp>
        <p:sp>
          <p:nvSpPr>
            <p:cNvPr id="12" name="iṣḻidè">
              <a:extLst>
                <a:ext uri="{FF2B5EF4-FFF2-40B4-BE49-F238E27FC236}">
                  <a16:creationId xmlns:a16="http://schemas.microsoft.com/office/drawing/2014/main" id="{9E9A2684-8FFE-4709-90ED-8131EF38AC9D}"/>
                </a:ext>
              </a:extLst>
            </p:cNvPr>
            <p:cNvSpPr/>
            <p:nvPr/>
          </p:nvSpPr>
          <p:spPr>
            <a:xfrm>
              <a:off x="8067792" y="3151853"/>
              <a:ext cx="3451108" cy="141863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wrap="square" lIns="91440" tIns="45720" rIns="91440" bIns="45720" anchor="t" anchorCtr="0">
              <a:normAutofit/>
            </a:bodyPr>
            <a:lstStyle/>
            <a:p>
              <a:pPr algn="r">
                <a:lnSpc>
                  <a:spcPct val="150000"/>
                </a:lnSpc>
                <a:spcBef>
                  <a:spcPct val="0"/>
                </a:spcBef>
              </a:pPr>
              <a:r>
                <a:rPr lang="en-US" altLang="zh-CN" sz="1100" dirty="0"/>
                <a:t>Unified fonts make reading more fluent.</a:t>
              </a:r>
            </a:p>
            <a:p>
              <a:pPr algn="r">
                <a:lnSpc>
                  <a:spcPct val="150000"/>
                </a:lnSpc>
                <a:spcBef>
                  <a:spcPct val="0"/>
                </a:spcBef>
              </a:pPr>
              <a:r>
                <a:rPr lang="en-US" altLang="zh-CN" sz="1100" dirty="0"/>
                <a:t>Theme color makes PPT more convenient to change.</a:t>
              </a:r>
            </a:p>
            <a:p>
              <a:pPr algn="r">
                <a:lnSpc>
                  <a:spcPct val="150000"/>
                </a:lnSpc>
                <a:spcBef>
                  <a:spcPct val="0"/>
                </a:spcBef>
              </a:pPr>
              <a:r>
                <a:rPr lang="en-US" altLang="zh-CN" sz="1100" dirty="0"/>
                <a:t>Adjust the spacing to adapt to Chinese typesetting, use the reference line in PPT.</a:t>
              </a:r>
            </a:p>
          </p:txBody>
        </p:sp>
        <p:sp>
          <p:nvSpPr>
            <p:cNvPr id="13" name="îṩlíḍé">
              <a:extLst>
                <a:ext uri="{FF2B5EF4-FFF2-40B4-BE49-F238E27FC236}">
                  <a16:creationId xmlns:a16="http://schemas.microsoft.com/office/drawing/2014/main" id="{B4AB7E7C-323A-41A9-8AA6-0017E59C7F85}"/>
                </a:ext>
              </a:extLst>
            </p:cNvPr>
            <p:cNvSpPr txBox="1"/>
            <p:nvPr/>
          </p:nvSpPr>
          <p:spPr bwMode="auto">
            <a:xfrm>
              <a:off x="8067792" y="2710048"/>
              <a:ext cx="345110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sz="2000" b="1" dirty="0"/>
                <a:t>Text here</a:t>
              </a:r>
            </a:p>
          </p:txBody>
        </p:sp>
        <p:sp>
          <p:nvSpPr>
            <p:cNvPr id="14" name="iṡ1îḑê">
              <a:extLst>
                <a:ext uri="{FF2B5EF4-FFF2-40B4-BE49-F238E27FC236}">
                  <a16:creationId xmlns:a16="http://schemas.microsoft.com/office/drawing/2014/main" id="{2EBFD118-784B-46B5-A8F7-BA38172B062C}"/>
                </a:ext>
              </a:extLst>
            </p:cNvPr>
            <p:cNvSpPr/>
            <p:nvPr/>
          </p:nvSpPr>
          <p:spPr>
            <a:xfrm>
              <a:off x="5348499" y="1354320"/>
              <a:ext cx="2640318" cy="455576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13523" y="10800"/>
                  </a:lnTo>
                  <a:lnTo>
                    <a:pt x="0" y="21600"/>
                  </a:lnTo>
                  <a:lnTo>
                    <a:pt x="8079" y="21600"/>
                  </a:lnTo>
                  <a:lnTo>
                    <a:pt x="21600" y="10800"/>
                  </a:lnTo>
                  <a:lnTo>
                    <a:pt x="8079" y="0"/>
                  </a:lnTo>
                  <a:lnTo>
                    <a:pt x="0" y="0"/>
                  </a:lnTo>
                  <a:close/>
                </a:path>
              </a:pathLst>
            </a:custGeom>
            <a:solidFill>
              <a:schemeClr val="accent1">
                <a:alpha val="70000"/>
              </a:schemeClr>
            </a:solidFill>
            <a:ln w="1905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a:solidFill>
                  <a:schemeClr val="lt1"/>
                </a:solidFill>
              </a:endParaRPr>
            </a:p>
          </p:txBody>
        </p:sp>
        <p:sp>
          <p:nvSpPr>
            <p:cNvPr id="15" name="îṥļiḑè">
              <a:extLst>
                <a:ext uri="{FF2B5EF4-FFF2-40B4-BE49-F238E27FC236}">
                  <a16:creationId xmlns:a16="http://schemas.microsoft.com/office/drawing/2014/main" id="{6987B6D3-A240-4E55-9F01-F769AF3DBEB8}"/>
                </a:ext>
              </a:extLst>
            </p:cNvPr>
            <p:cNvSpPr/>
            <p:nvPr/>
          </p:nvSpPr>
          <p:spPr bwMode="auto">
            <a:xfrm>
              <a:off x="660400" y="1314389"/>
              <a:ext cx="3759488" cy="72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he only option to retain text.</a:t>
              </a:r>
            </a:p>
            <a:p>
              <a:pPr marL="171450" indent="-171450">
                <a:lnSpc>
                  <a:spcPct val="150000"/>
                </a:lnSpc>
                <a:buFont typeface="Arial" panose="020B0604020202020204" pitchFamily="34" charset="0"/>
                <a:buChar char="•"/>
              </a:pPr>
              <a:r>
                <a:rPr lang="en-US" altLang="zh-CN" sz="1100" dirty="0"/>
                <a:t>……</a:t>
              </a:r>
            </a:p>
          </p:txBody>
        </p:sp>
        <p:sp>
          <p:nvSpPr>
            <p:cNvPr id="16" name="î$1îdè">
              <a:extLst>
                <a:ext uri="{FF2B5EF4-FFF2-40B4-BE49-F238E27FC236}">
                  <a16:creationId xmlns:a16="http://schemas.microsoft.com/office/drawing/2014/main" id="{6987B6D3-A240-4E55-9F01-F769AF3DBEB8}"/>
                </a:ext>
              </a:extLst>
            </p:cNvPr>
            <p:cNvSpPr/>
            <p:nvPr/>
          </p:nvSpPr>
          <p:spPr bwMode="auto">
            <a:xfrm>
              <a:off x="660400" y="2292582"/>
              <a:ext cx="3759488" cy="72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he only option to retain text.</a:t>
              </a:r>
            </a:p>
            <a:p>
              <a:pPr marL="171450" indent="-171450">
                <a:lnSpc>
                  <a:spcPct val="150000"/>
                </a:lnSpc>
                <a:buFont typeface="Arial" panose="020B0604020202020204" pitchFamily="34" charset="0"/>
                <a:buChar char="•"/>
              </a:pPr>
              <a:r>
                <a:rPr lang="en-US" altLang="zh-CN" sz="1100" dirty="0"/>
                <a:t>……</a:t>
              </a:r>
            </a:p>
          </p:txBody>
        </p:sp>
        <p:sp>
          <p:nvSpPr>
            <p:cNvPr id="17" name="ísḷïďe">
              <a:extLst>
                <a:ext uri="{FF2B5EF4-FFF2-40B4-BE49-F238E27FC236}">
                  <a16:creationId xmlns:a16="http://schemas.microsoft.com/office/drawing/2014/main" id="{6987B6D3-A240-4E55-9F01-F769AF3DBEB8}"/>
                </a:ext>
              </a:extLst>
            </p:cNvPr>
            <p:cNvSpPr/>
            <p:nvPr/>
          </p:nvSpPr>
          <p:spPr bwMode="auto">
            <a:xfrm>
              <a:off x="660400" y="4245303"/>
              <a:ext cx="3759488" cy="72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he only option to retain text.</a:t>
              </a:r>
            </a:p>
            <a:p>
              <a:pPr marL="171450" indent="-171450">
                <a:lnSpc>
                  <a:spcPct val="150000"/>
                </a:lnSpc>
                <a:buFont typeface="Arial" panose="020B0604020202020204" pitchFamily="34" charset="0"/>
                <a:buChar char="•"/>
              </a:pPr>
              <a:r>
                <a:rPr lang="en-US" altLang="zh-CN" sz="1100" dirty="0"/>
                <a:t>……</a:t>
              </a:r>
            </a:p>
          </p:txBody>
        </p:sp>
        <p:sp>
          <p:nvSpPr>
            <p:cNvPr id="18" name="iṥļîḋe">
              <a:extLst>
                <a:ext uri="{FF2B5EF4-FFF2-40B4-BE49-F238E27FC236}">
                  <a16:creationId xmlns:a16="http://schemas.microsoft.com/office/drawing/2014/main" id="{6987B6D3-A240-4E55-9F01-F769AF3DBEB8}"/>
                </a:ext>
              </a:extLst>
            </p:cNvPr>
            <p:cNvSpPr/>
            <p:nvPr/>
          </p:nvSpPr>
          <p:spPr bwMode="auto">
            <a:xfrm>
              <a:off x="660400" y="3268332"/>
              <a:ext cx="3759488" cy="72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he only option to retain text.</a:t>
              </a:r>
            </a:p>
            <a:p>
              <a:pPr marL="171450" indent="-171450">
                <a:lnSpc>
                  <a:spcPct val="150000"/>
                </a:lnSpc>
                <a:buFont typeface="Arial" panose="020B0604020202020204" pitchFamily="34" charset="0"/>
                <a:buChar char="•"/>
              </a:pPr>
              <a:r>
                <a:rPr lang="en-US" altLang="zh-CN" sz="1100" dirty="0"/>
                <a:t>……</a:t>
              </a:r>
            </a:p>
          </p:txBody>
        </p:sp>
        <p:sp>
          <p:nvSpPr>
            <p:cNvPr id="19" name="iṩḻíde">
              <a:extLst>
                <a:ext uri="{FF2B5EF4-FFF2-40B4-BE49-F238E27FC236}">
                  <a16:creationId xmlns:a16="http://schemas.microsoft.com/office/drawing/2014/main" id="{6987B6D3-A240-4E55-9F01-F769AF3DBEB8}"/>
                </a:ext>
              </a:extLst>
            </p:cNvPr>
            <p:cNvSpPr/>
            <p:nvPr/>
          </p:nvSpPr>
          <p:spPr bwMode="auto">
            <a:xfrm>
              <a:off x="660400" y="5222275"/>
              <a:ext cx="3759488" cy="727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pPr>
              <a:r>
                <a:rPr lang="en-US" altLang="zh-CN" sz="1100" dirty="0"/>
                <a:t>Copy paste fonts. Choose the only option to retain text.</a:t>
              </a:r>
            </a:p>
            <a:p>
              <a:pPr marL="171450" indent="-171450">
                <a:lnSpc>
                  <a:spcPct val="150000"/>
                </a:lnSpc>
                <a:buFont typeface="Arial" panose="020B0604020202020204" pitchFamily="34" charset="0"/>
                <a:buChar char="•"/>
              </a:pPr>
              <a:r>
                <a:rPr lang="en-US" altLang="zh-CN" sz="1100" dirty="0"/>
                <a:t>……</a:t>
              </a:r>
            </a:p>
          </p:txBody>
        </p:sp>
        <p:sp>
          <p:nvSpPr>
            <p:cNvPr id="20" name="ïšlîde">
              <a:extLst>
                <a:ext uri="{FF2B5EF4-FFF2-40B4-BE49-F238E27FC236}">
                  <a16:creationId xmlns:a16="http://schemas.microsoft.com/office/drawing/2014/main" id="{1914F080-4BA1-4D25-ABC5-F63D36A31475}"/>
                </a:ext>
              </a:extLst>
            </p:cNvPr>
            <p:cNvSpPr/>
            <p:nvPr/>
          </p:nvSpPr>
          <p:spPr>
            <a:xfrm>
              <a:off x="4626832" y="1482587"/>
              <a:ext cx="448302" cy="391342"/>
            </a:xfrm>
            <a:custGeom>
              <a:avLst/>
              <a:gdLst>
                <a:gd name="connsiteX0" fmla="*/ 424975 w 608697"/>
                <a:gd name="connsiteY0" fmla="*/ 168488 h 531358"/>
                <a:gd name="connsiteX1" fmla="*/ 387604 w 608697"/>
                <a:gd name="connsiteY1" fmla="*/ 205806 h 531358"/>
                <a:gd name="connsiteX2" fmla="*/ 424975 w 608697"/>
                <a:gd name="connsiteY2" fmla="*/ 243124 h 531358"/>
                <a:gd name="connsiteX3" fmla="*/ 462346 w 608697"/>
                <a:gd name="connsiteY3" fmla="*/ 205806 h 531358"/>
                <a:gd name="connsiteX4" fmla="*/ 424975 w 608697"/>
                <a:gd name="connsiteY4" fmla="*/ 168488 h 531358"/>
                <a:gd name="connsiteX5" fmla="*/ 287947 w 608697"/>
                <a:gd name="connsiteY5" fmla="*/ 168488 h 531358"/>
                <a:gd name="connsiteX6" fmla="*/ 250576 w 608697"/>
                <a:gd name="connsiteY6" fmla="*/ 205806 h 531358"/>
                <a:gd name="connsiteX7" fmla="*/ 287947 w 608697"/>
                <a:gd name="connsiteY7" fmla="*/ 243124 h 531358"/>
                <a:gd name="connsiteX8" fmla="*/ 325318 w 608697"/>
                <a:gd name="connsiteY8" fmla="*/ 205806 h 531358"/>
                <a:gd name="connsiteX9" fmla="*/ 287947 w 608697"/>
                <a:gd name="connsiteY9" fmla="*/ 168488 h 531358"/>
                <a:gd name="connsiteX10" fmla="*/ 102356 w 608697"/>
                <a:gd name="connsiteY10" fmla="*/ 121231 h 531358"/>
                <a:gd name="connsiteX11" fmla="*/ 98850 w 608697"/>
                <a:gd name="connsiteY11" fmla="*/ 127711 h 531358"/>
                <a:gd name="connsiteX12" fmla="*/ 76842 w 608697"/>
                <a:gd name="connsiteY12" fmla="*/ 217990 h 531358"/>
                <a:gd name="connsiteX13" fmla="*/ 98850 w 608697"/>
                <a:gd name="connsiteY13" fmla="*/ 308194 h 531358"/>
                <a:gd name="connsiteX14" fmla="*/ 157488 w 608697"/>
                <a:gd name="connsiteY14" fmla="*/ 380223 h 531358"/>
                <a:gd name="connsiteX15" fmla="*/ 344668 w 608697"/>
                <a:gd name="connsiteY15" fmla="*/ 444729 h 531358"/>
                <a:gd name="connsiteX16" fmla="*/ 370257 w 608697"/>
                <a:gd name="connsiteY16" fmla="*/ 443687 h 531358"/>
                <a:gd name="connsiteX17" fmla="*/ 236717 w 608697"/>
                <a:gd name="connsiteY17" fmla="*/ 477876 h 531358"/>
                <a:gd name="connsiteX18" fmla="*/ 198072 w 608697"/>
                <a:gd name="connsiteY18" fmla="*/ 475344 h 531358"/>
                <a:gd name="connsiteX19" fmla="*/ 82437 w 608697"/>
                <a:gd name="connsiteY19" fmla="*/ 531284 h 531358"/>
                <a:gd name="connsiteX20" fmla="*/ 81542 w 608697"/>
                <a:gd name="connsiteY20" fmla="*/ 531358 h 531358"/>
                <a:gd name="connsiteX21" fmla="*/ 75051 w 608697"/>
                <a:gd name="connsiteY21" fmla="*/ 527857 h 531358"/>
                <a:gd name="connsiteX22" fmla="*/ 74753 w 608697"/>
                <a:gd name="connsiteY22" fmla="*/ 519738 h 531358"/>
                <a:gd name="connsiteX23" fmla="*/ 88778 w 608697"/>
                <a:gd name="connsiteY23" fmla="*/ 435046 h 531358"/>
                <a:gd name="connsiteX24" fmla="*/ 0 w 608697"/>
                <a:gd name="connsiteY24" fmla="*/ 282198 h 531358"/>
                <a:gd name="connsiteX25" fmla="*/ 102356 w 608697"/>
                <a:gd name="connsiteY25" fmla="*/ 121231 h 531358"/>
                <a:gd name="connsiteX26" fmla="*/ 356424 w 608697"/>
                <a:gd name="connsiteY26" fmla="*/ 0 h 531358"/>
                <a:gd name="connsiteX27" fmla="*/ 608697 w 608697"/>
                <a:gd name="connsiteY27" fmla="*/ 211244 h 531358"/>
                <a:gd name="connsiteX28" fmla="*/ 518290 w 608697"/>
                <a:gd name="connsiteY28" fmla="*/ 373401 h 531358"/>
                <a:gd name="connsiteX29" fmla="*/ 531941 w 608697"/>
                <a:gd name="connsiteY29" fmla="*/ 441109 h 531358"/>
                <a:gd name="connsiteX30" fmla="*/ 531120 w 608697"/>
                <a:gd name="connsiteY30" fmla="*/ 465391 h 531358"/>
                <a:gd name="connsiteX31" fmla="*/ 511577 w 608697"/>
                <a:gd name="connsiteY31" fmla="*/ 475894 h 531358"/>
                <a:gd name="connsiteX32" fmla="*/ 509041 w 608697"/>
                <a:gd name="connsiteY32" fmla="*/ 475745 h 531358"/>
                <a:gd name="connsiteX33" fmla="*/ 391408 w 608697"/>
                <a:gd name="connsiteY33" fmla="*/ 420476 h 531358"/>
                <a:gd name="connsiteX34" fmla="*/ 356424 w 608697"/>
                <a:gd name="connsiteY34" fmla="*/ 422487 h 531358"/>
                <a:gd name="connsiteX35" fmla="*/ 104225 w 608697"/>
                <a:gd name="connsiteY35" fmla="*/ 211244 h 531358"/>
                <a:gd name="connsiteX36" fmla="*/ 356424 w 608697"/>
                <a:gd name="connsiteY36" fmla="*/ 0 h 5313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608697" h="531358">
                  <a:moveTo>
                    <a:pt x="424975" y="168488"/>
                  </a:moveTo>
                  <a:cubicBezTo>
                    <a:pt x="404312" y="168488"/>
                    <a:pt x="387604" y="185248"/>
                    <a:pt x="387604" y="205806"/>
                  </a:cubicBezTo>
                  <a:cubicBezTo>
                    <a:pt x="387604" y="226439"/>
                    <a:pt x="404312" y="243124"/>
                    <a:pt x="424975" y="243124"/>
                  </a:cubicBezTo>
                  <a:cubicBezTo>
                    <a:pt x="445562" y="243124"/>
                    <a:pt x="462346" y="226439"/>
                    <a:pt x="462346" y="205806"/>
                  </a:cubicBezTo>
                  <a:cubicBezTo>
                    <a:pt x="462346" y="185248"/>
                    <a:pt x="445637" y="168488"/>
                    <a:pt x="424975" y="168488"/>
                  </a:cubicBezTo>
                  <a:close/>
                  <a:moveTo>
                    <a:pt x="287947" y="168488"/>
                  </a:moveTo>
                  <a:cubicBezTo>
                    <a:pt x="267285" y="168488"/>
                    <a:pt x="250576" y="185248"/>
                    <a:pt x="250576" y="205806"/>
                  </a:cubicBezTo>
                  <a:cubicBezTo>
                    <a:pt x="250576" y="226439"/>
                    <a:pt x="267285" y="243124"/>
                    <a:pt x="287947" y="243124"/>
                  </a:cubicBezTo>
                  <a:cubicBezTo>
                    <a:pt x="308610" y="243124"/>
                    <a:pt x="325318" y="226439"/>
                    <a:pt x="325318" y="205806"/>
                  </a:cubicBezTo>
                  <a:cubicBezTo>
                    <a:pt x="325318" y="185248"/>
                    <a:pt x="308610" y="168488"/>
                    <a:pt x="287947" y="168488"/>
                  </a:cubicBezTo>
                  <a:close/>
                  <a:moveTo>
                    <a:pt x="102356" y="121231"/>
                  </a:moveTo>
                  <a:cubicBezTo>
                    <a:pt x="101162" y="123317"/>
                    <a:pt x="99969" y="125477"/>
                    <a:pt x="98850" y="127711"/>
                  </a:cubicBezTo>
                  <a:cubicBezTo>
                    <a:pt x="84227" y="156240"/>
                    <a:pt x="76842" y="186631"/>
                    <a:pt x="76842" y="217990"/>
                  </a:cubicBezTo>
                  <a:cubicBezTo>
                    <a:pt x="76842" y="249275"/>
                    <a:pt x="84227" y="279666"/>
                    <a:pt x="98850" y="308194"/>
                  </a:cubicBezTo>
                  <a:cubicBezTo>
                    <a:pt x="112726" y="335308"/>
                    <a:pt x="132496" y="359516"/>
                    <a:pt x="157488" y="380223"/>
                  </a:cubicBezTo>
                  <a:cubicBezTo>
                    <a:pt x="207845" y="421787"/>
                    <a:pt x="274317" y="444729"/>
                    <a:pt x="344668" y="444729"/>
                  </a:cubicBezTo>
                  <a:cubicBezTo>
                    <a:pt x="353173" y="444729"/>
                    <a:pt x="361752" y="444357"/>
                    <a:pt x="370257" y="443687"/>
                  </a:cubicBezTo>
                  <a:cubicBezTo>
                    <a:pt x="332209" y="465288"/>
                    <a:pt x="286254" y="477876"/>
                    <a:pt x="236717" y="477876"/>
                  </a:cubicBezTo>
                  <a:cubicBezTo>
                    <a:pt x="223736" y="477876"/>
                    <a:pt x="210755" y="477057"/>
                    <a:pt x="198072" y="475344"/>
                  </a:cubicBezTo>
                  <a:cubicBezTo>
                    <a:pt x="160397" y="499478"/>
                    <a:pt x="110637" y="528155"/>
                    <a:pt x="82437" y="531284"/>
                  </a:cubicBezTo>
                  <a:cubicBezTo>
                    <a:pt x="82138" y="531358"/>
                    <a:pt x="81840" y="531358"/>
                    <a:pt x="81542" y="531358"/>
                  </a:cubicBezTo>
                  <a:cubicBezTo>
                    <a:pt x="78930" y="531358"/>
                    <a:pt x="76469" y="530017"/>
                    <a:pt x="75051" y="527857"/>
                  </a:cubicBezTo>
                  <a:cubicBezTo>
                    <a:pt x="73410" y="525399"/>
                    <a:pt x="73335" y="522271"/>
                    <a:pt x="74753" y="519738"/>
                  </a:cubicBezTo>
                  <a:cubicBezTo>
                    <a:pt x="75051" y="519291"/>
                    <a:pt x="99223" y="476014"/>
                    <a:pt x="88778" y="435046"/>
                  </a:cubicBezTo>
                  <a:cubicBezTo>
                    <a:pt x="32303" y="397653"/>
                    <a:pt x="0" y="342160"/>
                    <a:pt x="0" y="282198"/>
                  </a:cubicBezTo>
                  <a:cubicBezTo>
                    <a:pt x="0" y="215532"/>
                    <a:pt x="40584" y="156538"/>
                    <a:pt x="102356" y="121231"/>
                  </a:cubicBezTo>
                  <a:close/>
                  <a:moveTo>
                    <a:pt x="356424" y="0"/>
                  </a:moveTo>
                  <a:cubicBezTo>
                    <a:pt x="495540" y="0"/>
                    <a:pt x="608697" y="94747"/>
                    <a:pt x="608697" y="211244"/>
                  </a:cubicBezTo>
                  <a:cubicBezTo>
                    <a:pt x="608697" y="274408"/>
                    <a:pt x="575802" y="333178"/>
                    <a:pt x="518290" y="373401"/>
                  </a:cubicBezTo>
                  <a:cubicBezTo>
                    <a:pt x="512845" y="406324"/>
                    <a:pt x="531717" y="440811"/>
                    <a:pt x="531941" y="441109"/>
                  </a:cubicBezTo>
                  <a:cubicBezTo>
                    <a:pt x="536267" y="448781"/>
                    <a:pt x="535969" y="458092"/>
                    <a:pt x="531120" y="465391"/>
                  </a:cubicBezTo>
                  <a:cubicBezTo>
                    <a:pt x="526794" y="472021"/>
                    <a:pt x="519484" y="475894"/>
                    <a:pt x="511577" y="475894"/>
                  </a:cubicBezTo>
                  <a:cubicBezTo>
                    <a:pt x="510756" y="475894"/>
                    <a:pt x="509936" y="475894"/>
                    <a:pt x="509041" y="475745"/>
                  </a:cubicBezTo>
                  <a:cubicBezTo>
                    <a:pt x="484574" y="473064"/>
                    <a:pt x="444966" y="454442"/>
                    <a:pt x="391408" y="420476"/>
                  </a:cubicBezTo>
                  <a:cubicBezTo>
                    <a:pt x="379920" y="421817"/>
                    <a:pt x="368135" y="422487"/>
                    <a:pt x="356424" y="422487"/>
                  </a:cubicBezTo>
                  <a:cubicBezTo>
                    <a:pt x="217382" y="422487"/>
                    <a:pt x="104225" y="327741"/>
                    <a:pt x="104225" y="211244"/>
                  </a:cubicBezTo>
                  <a:cubicBezTo>
                    <a:pt x="104225" y="94747"/>
                    <a:pt x="217382" y="0"/>
                    <a:pt x="356424" y="0"/>
                  </a:cubicBez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lnSpcReduction="10000"/>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1" name="îs1îḑê">
              <a:extLst>
                <a:ext uri="{FF2B5EF4-FFF2-40B4-BE49-F238E27FC236}">
                  <a16:creationId xmlns:a16="http://schemas.microsoft.com/office/drawing/2014/main" id="{5DB4FBF6-1A32-4CB2-BBA2-04831712163A}"/>
                </a:ext>
              </a:extLst>
            </p:cNvPr>
            <p:cNvSpPr/>
            <p:nvPr/>
          </p:nvSpPr>
          <p:spPr>
            <a:xfrm>
              <a:off x="4628628" y="5384136"/>
              <a:ext cx="446506" cy="404016"/>
            </a:xfrm>
            <a:custGeom>
              <a:avLst/>
              <a:gdLst>
                <a:gd name="connsiteX0" fmla="*/ 407586 w 606580"/>
                <a:gd name="connsiteY0" fmla="*/ 252695 h 548858"/>
                <a:gd name="connsiteX1" fmla="*/ 502285 w 606580"/>
                <a:gd name="connsiteY1" fmla="*/ 252695 h 548858"/>
                <a:gd name="connsiteX2" fmla="*/ 502285 w 606580"/>
                <a:gd name="connsiteY2" fmla="*/ 346759 h 548858"/>
                <a:gd name="connsiteX3" fmla="*/ 407586 w 606580"/>
                <a:gd name="connsiteY3" fmla="*/ 346759 h 548858"/>
                <a:gd name="connsiteX4" fmla="*/ 104296 w 606580"/>
                <a:gd name="connsiteY4" fmla="*/ 205698 h 548858"/>
                <a:gd name="connsiteX5" fmla="*/ 199065 w 606580"/>
                <a:gd name="connsiteY5" fmla="*/ 205698 h 548858"/>
                <a:gd name="connsiteX6" fmla="*/ 199065 w 606580"/>
                <a:gd name="connsiteY6" fmla="*/ 346758 h 548858"/>
                <a:gd name="connsiteX7" fmla="*/ 104296 w 606580"/>
                <a:gd name="connsiteY7" fmla="*/ 346758 h 548858"/>
                <a:gd name="connsiteX8" fmla="*/ 255870 w 606580"/>
                <a:gd name="connsiteY8" fmla="*/ 96040 h 548858"/>
                <a:gd name="connsiteX9" fmla="*/ 350710 w 606580"/>
                <a:gd name="connsiteY9" fmla="*/ 96040 h 548858"/>
                <a:gd name="connsiteX10" fmla="*/ 350710 w 606580"/>
                <a:gd name="connsiteY10" fmla="*/ 346759 h 548858"/>
                <a:gd name="connsiteX11" fmla="*/ 255870 w 606580"/>
                <a:gd name="connsiteY11" fmla="*/ 346759 h 548858"/>
                <a:gd name="connsiteX12" fmla="*/ 37882 w 606580"/>
                <a:gd name="connsiteY12" fmla="*/ 37913 h 548858"/>
                <a:gd name="connsiteX13" fmla="*/ 37882 w 606580"/>
                <a:gd name="connsiteY13" fmla="*/ 405363 h 548858"/>
                <a:gd name="connsiteX14" fmla="*/ 568698 w 606580"/>
                <a:gd name="connsiteY14" fmla="*/ 405363 h 548858"/>
                <a:gd name="connsiteX15" fmla="*/ 568698 w 606580"/>
                <a:gd name="connsiteY15" fmla="*/ 37913 h 548858"/>
                <a:gd name="connsiteX16" fmla="*/ 18941 w 606580"/>
                <a:gd name="connsiteY16" fmla="*/ 0 h 548858"/>
                <a:gd name="connsiteX17" fmla="*/ 587639 w 606580"/>
                <a:gd name="connsiteY17" fmla="*/ 0 h 548858"/>
                <a:gd name="connsiteX18" fmla="*/ 606580 w 606580"/>
                <a:gd name="connsiteY18" fmla="*/ 18910 h 548858"/>
                <a:gd name="connsiteX19" fmla="*/ 606580 w 606580"/>
                <a:gd name="connsiteY19" fmla="*/ 424274 h 548858"/>
                <a:gd name="connsiteX20" fmla="*/ 587639 w 606580"/>
                <a:gd name="connsiteY20" fmla="*/ 443184 h 548858"/>
                <a:gd name="connsiteX21" fmla="*/ 322278 w 606580"/>
                <a:gd name="connsiteY21" fmla="*/ 443184 h 548858"/>
                <a:gd name="connsiteX22" fmla="*/ 322278 w 606580"/>
                <a:gd name="connsiteY22" fmla="*/ 511038 h 548858"/>
                <a:gd name="connsiteX23" fmla="*/ 450223 w 606580"/>
                <a:gd name="connsiteY23" fmla="*/ 511038 h 548858"/>
                <a:gd name="connsiteX24" fmla="*/ 450223 w 606580"/>
                <a:gd name="connsiteY24" fmla="*/ 548858 h 548858"/>
                <a:gd name="connsiteX25" fmla="*/ 156357 w 606580"/>
                <a:gd name="connsiteY25" fmla="*/ 548858 h 548858"/>
                <a:gd name="connsiteX26" fmla="*/ 156357 w 606580"/>
                <a:gd name="connsiteY26" fmla="*/ 511038 h 548858"/>
                <a:gd name="connsiteX27" fmla="*/ 284302 w 606580"/>
                <a:gd name="connsiteY27" fmla="*/ 511038 h 548858"/>
                <a:gd name="connsiteX28" fmla="*/ 284302 w 606580"/>
                <a:gd name="connsiteY28" fmla="*/ 443184 h 548858"/>
                <a:gd name="connsiteX29" fmla="*/ 18941 w 606580"/>
                <a:gd name="connsiteY29" fmla="*/ 443184 h 548858"/>
                <a:gd name="connsiteX30" fmla="*/ 0 w 606580"/>
                <a:gd name="connsiteY30" fmla="*/ 424274 h 548858"/>
                <a:gd name="connsiteX31" fmla="*/ 0 w 606580"/>
                <a:gd name="connsiteY31" fmla="*/ 18910 h 548858"/>
                <a:gd name="connsiteX32" fmla="*/ 18941 w 606580"/>
                <a:gd name="connsiteY32" fmla="*/ 0 h 5488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606580" h="548858">
                  <a:moveTo>
                    <a:pt x="407586" y="252695"/>
                  </a:moveTo>
                  <a:lnTo>
                    <a:pt x="502285" y="252695"/>
                  </a:lnTo>
                  <a:lnTo>
                    <a:pt x="502285" y="346759"/>
                  </a:lnTo>
                  <a:lnTo>
                    <a:pt x="407586" y="346759"/>
                  </a:lnTo>
                  <a:close/>
                  <a:moveTo>
                    <a:pt x="104296" y="205698"/>
                  </a:moveTo>
                  <a:lnTo>
                    <a:pt x="199065" y="205698"/>
                  </a:lnTo>
                  <a:lnTo>
                    <a:pt x="199065" y="346758"/>
                  </a:lnTo>
                  <a:lnTo>
                    <a:pt x="104296" y="346758"/>
                  </a:lnTo>
                  <a:close/>
                  <a:moveTo>
                    <a:pt x="255870" y="96040"/>
                  </a:moveTo>
                  <a:lnTo>
                    <a:pt x="350710" y="96040"/>
                  </a:lnTo>
                  <a:lnTo>
                    <a:pt x="350710" y="346759"/>
                  </a:lnTo>
                  <a:lnTo>
                    <a:pt x="255870" y="346759"/>
                  </a:lnTo>
                  <a:close/>
                  <a:moveTo>
                    <a:pt x="37882" y="37913"/>
                  </a:moveTo>
                  <a:lnTo>
                    <a:pt x="37882" y="405363"/>
                  </a:lnTo>
                  <a:lnTo>
                    <a:pt x="568698" y="405363"/>
                  </a:lnTo>
                  <a:lnTo>
                    <a:pt x="568698" y="37913"/>
                  </a:lnTo>
                  <a:close/>
                  <a:moveTo>
                    <a:pt x="18941" y="0"/>
                  </a:moveTo>
                  <a:lnTo>
                    <a:pt x="587639" y="0"/>
                  </a:lnTo>
                  <a:cubicBezTo>
                    <a:pt x="598038" y="0"/>
                    <a:pt x="606580" y="8528"/>
                    <a:pt x="606580" y="18910"/>
                  </a:cubicBezTo>
                  <a:lnTo>
                    <a:pt x="606580" y="424274"/>
                  </a:lnTo>
                  <a:cubicBezTo>
                    <a:pt x="606580" y="434656"/>
                    <a:pt x="598038" y="443184"/>
                    <a:pt x="587639" y="443184"/>
                  </a:cubicBezTo>
                  <a:lnTo>
                    <a:pt x="322278" y="443184"/>
                  </a:lnTo>
                  <a:lnTo>
                    <a:pt x="322278" y="511038"/>
                  </a:lnTo>
                  <a:lnTo>
                    <a:pt x="450223" y="511038"/>
                  </a:lnTo>
                  <a:lnTo>
                    <a:pt x="450223" y="548858"/>
                  </a:lnTo>
                  <a:lnTo>
                    <a:pt x="156357" y="548858"/>
                  </a:lnTo>
                  <a:lnTo>
                    <a:pt x="156357" y="511038"/>
                  </a:lnTo>
                  <a:lnTo>
                    <a:pt x="284302" y="511038"/>
                  </a:lnTo>
                  <a:lnTo>
                    <a:pt x="284302" y="443184"/>
                  </a:lnTo>
                  <a:lnTo>
                    <a:pt x="18941" y="443184"/>
                  </a:lnTo>
                  <a:cubicBezTo>
                    <a:pt x="8542" y="443184"/>
                    <a:pt x="0" y="434656"/>
                    <a:pt x="0" y="424274"/>
                  </a:cubicBezTo>
                  <a:lnTo>
                    <a:pt x="0" y="18910"/>
                  </a:lnTo>
                  <a:cubicBezTo>
                    <a:pt x="0" y="8528"/>
                    <a:pt x="8542" y="0"/>
                    <a:pt x="18941" y="0"/>
                  </a:cubicBez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2" name="işľïdè">
              <a:extLst>
                <a:ext uri="{FF2B5EF4-FFF2-40B4-BE49-F238E27FC236}">
                  <a16:creationId xmlns:a16="http://schemas.microsoft.com/office/drawing/2014/main" id="{6AB76EF1-B3E5-4CA0-B01E-C662A1B17243}"/>
                </a:ext>
              </a:extLst>
            </p:cNvPr>
            <p:cNvSpPr/>
            <p:nvPr/>
          </p:nvSpPr>
          <p:spPr>
            <a:xfrm>
              <a:off x="5764760" y="3417994"/>
              <a:ext cx="435404" cy="428414"/>
            </a:xfrm>
            <a:custGeom>
              <a:avLst/>
              <a:gdLst>
                <a:gd name="connsiteX0" fmla="*/ 396980 w 599394"/>
                <a:gd name="connsiteY0" fmla="*/ 411566 h 589770"/>
                <a:gd name="connsiteX1" fmla="*/ 485009 w 599394"/>
                <a:gd name="connsiteY1" fmla="*/ 411566 h 589770"/>
                <a:gd name="connsiteX2" fmla="*/ 485009 w 599394"/>
                <a:gd name="connsiteY2" fmla="*/ 499521 h 589770"/>
                <a:gd name="connsiteX3" fmla="*/ 396980 w 599394"/>
                <a:gd name="connsiteY3" fmla="*/ 499521 h 589770"/>
                <a:gd name="connsiteX4" fmla="*/ 255424 w 599394"/>
                <a:gd name="connsiteY4" fmla="*/ 411566 h 589770"/>
                <a:gd name="connsiteX5" fmla="*/ 343453 w 599394"/>
                <a:gd name="connsiteY5" fmla="*/ 411566 h 589770"/>
                <a:gd name="connsiteX6" fmla="*/ 343453 w 599394"/>
                <a:gd name="connsiteY6" fmla="*/ 499521 h 589770"/>
                <a:gd name="connsiteX7" fmla="*/ 255424 w 599394"/>
                <a:gd name="connsiteY7" fmla="*/ 499521 h 589770"/>
                <a:gd name="connsiteX8" fmla="*/ 114311 w 599394"/>
                <a:gd name="connsiteY8" fmla="*/ 411566 h 589770"/>
                <a:gd name="connsiteX9" fmla="*/ 202414 w 599394"/>
                <a:gd name="connsiteY9" fmla="*/ 411566 h 589770"/>
                <a:gd name="connsiteX10" fmla="*/ 202414 w 599394"/>
                <a:gd name="connsiteY10" fmla="*/ 499521 h 589770"/>
                <a:gd name="connsiteX11" fmla="*/ 114311 w 599394"/>
                <a:gd name="connsiteY11" fmla="*/ 499521 h 589770"/>
                <a:gd name="connsiteX12" fmla="*/ 396980 w 599394"/>
                <a:gd name="connsiteY12" fmla="*/ 289110 h 589770"/>
                <a:gd name="connsiteX13" fmla="*/ 485009 w 599394"/>
                <a:gd name="connsiteY13" fmla="*/ 289110 h 589770"/>
                <a:gd name="connsiteX14" fmla="*/ 485009 w 599394"/>
                <a:gd name="connsiteY14" fmla="*/ 377065 h 589770"/>
                <a:gd name="connsiteX15" fmla="*/ 396980 w 599394"/>
                <a:gd name="connsiteY15" fmla="*/ 377065 h 589770"/>
                <a:gd name="connsiteX16" fmla="*/ 255424 w 599394"/>
                <a:gd name="connsiteY16" fmla="*/ 289110 h 589770"/>
                <a:gd name="connsiteX17" fmla="*/ 343453 w 599394"/>
                <a:gd name="connsiteY17" fmla="*/ 289110 h 589770"/>
                <a:gd name="connsiteX18" fmla="*/ 343453 w 599394"/>
                <a:gd name="connsiteY18" fmla="*/ 377065 h 589770"/>
                <a:gd name="connsiteX19" fmla="*/ 255424 w 599394"/>
                <a:gd name="connsiteY19" fmla="*/ 377065 h 589770"/>
                <a:gd name="connsiteX20" fmla="*/ 114311 w 599394"/>
                <a:gd name="connsiteY20" fmla="*/ 289110 h 589770"/>
                <a:gd name="connsiteX21" fmla="*/ 202414 w 599394"/>
                <a:gd name="connsiteY21" fmla="*/ 289110 h 589770"/>
                <a:gd name="connsiteX22" fmla="*/ 202414 w 599394"/>
                <a:gd name="connsiteY22" fmla="*/ 377065 h 589770"/>
                <a:gd name="connsiteX23" fmla="*/ 114311 w 599394"/>
                <a:gd name="connsiteY23" fmla="*/ 377065 h 589770"/>
                <a:gd name="connsiteX24" fmla="*/ 73311 w 599394"/>
                <a:gd name="connsiteY24" fmla="*/ 262427 h 589770"/>
                <a:gd name="connsiteX25" fmla="*/ 64089 w 599394"/>
                <a:gd name="connsiteY25" fmla="*/ 271635 h 589770"/>
                <a:gd name="connsiteX26" fmla="*/ 64089 w 599394"/>
                <a:gd name="connsiteY26" fmla="*/ 517027 h 589770"/>
                <a:gd name="connsiteX27" fmla="*/ 73311 w 599394"/>
                <a:gd name="connsiteY27" fmla="*/ 526235 h 589770"/>
                <a:gd name="connsiteX28" fmla="*/ 526083 w 599394"/>
                <a:gd name="connsiteY28" fmla="*/ 526235 h 589770"/>
                <a:gd name="connsiteX29" fmla="*/ 535305 w 599394"/>
                <a:gd name="connsiteY29" fmla="*/ 517027 h 589770"/>
                <a:gd name="connsiteX30" fmla="*/ 535305 w 599394"/>
                <a:gd name="connsiteY30" fmla="*/ 271635 h 589770"/>
                <a:gd name="connsiteX31" fmla="*/ 526083 w 599394"/>
                <a:gd name="connsiteY31" fmla="*/ 262427 h 589770"/>
                <a:gd name="connsiteX32" fmla="*/ 437558 w 599394"/>
                <a:gd name="connsiteY32" fmla="*/ 35911 h 589770"/>
                <a:gd name="connsiteX33" fmla="*/ 428336 w 599394"/>
                <a:gd name="connsiteY33" fmla="*/ 45119 h 589770"/>
                <a:gd name="connsiteX34" fmla="*/ 428336 w 599394"/>
                <a:gd name="connsiteY34" fmla="*/ 169887 h 589770"/>
                <a:gd name="connsiteX35" fmla="*/ 437558 w 599394"/>
                <a:gd name="connsiteY35" fmla="*/ 179095 h 589770"/>
                <a:gd name="connsiteX36" fmla="*/ 473982 w 599394"/>
                <a:gd name="connsiteY36" fmla="*/ 179095 h 589770"/>
                <a:gd name="connsiteX37" fmla="*/ 483204 w 599394"/>
                <a:gd name="connsiteY37" fmla="*/ 169887 h 589770"/>
                <a:gd name="connsiteX38" fmla="*/ 483204 w 599394"/>
                <a:gd name="connsiteY38" fmla="*/ 45119 h 589770"/>
                <a:gd name="connsiteX39" fmla="*/ 473982 w 599394"/>
                <a:gd name="connsiteY39" fmla="*/ 35911 h 589770"/>
                <a:gd name="connsiteX40" fmla="*/ 125412 w 599394"/>
                <a:gd name="connsiteY40" fmla="*/ 35911 h 589770"/>
                <a:gd name="connsiteX41" fmla="*/ 116190 w 599394"/>
                <a:gd name="connsiteY41" fmla="*/ 45119 h 589770"/>
                <a:gd name="connsiteX42" fmla="*/ 116190 w 599394"/>
                <a:gd name="connsiteY42" fmla="*/ 169887 h 589770"/>
                <a:gd name="connsiteX43" fmla="*/ 125412 w 599394"/>
                <a:gd name="connsiteY43" fmla="*/ 179095 h 589770"/>
                <a:gd name="connsiteX44" fmla="*/ 161836 w 599394"/>
                <a:gd name="connsiteY44" fmla="*/ 179095 h 589770"/>
                <a:gd name="connsiteX45" fmla="*/ 171058 w 599394"/>
                <a:gd name="connsiteY45" fmla="*/ 169887 h 589770"/>
                <a:gd name="connsiteX46" fmla="*/ 171058 w 599394"/>
                <a:gd name="connsiteY46" fmla="*/ 45119 h 589770"/>
                <a:gd name="connsiteX47" fmla="*/ 161836 w 599394"/>
                <a:gd name="connsiteY47" fmla="*/ 35911 h 589770"/>
                <a:gd name="connsiteX48" fmla="*/ 92676 w 599394"/>
                <a:gd name="connsiteY48" fmla="*/ 0 h 589770"/>
                <a:gd name="connsiteX49" fmla="*/ 194573 w 599394"/>
                <a:gd name="connsiteY49" fmla="*/ 0 h 589770"/>
                <a:gd name="connsiteX50" fmla="*/ 207021 w 599394"/>
                <a:gd name="connsiteY50" fmla="*/ 12431 h 589770"/>
                <a:gd name="connsiteX51" fmla="*/ 207021 w 599394"/>
                <a:gd name="connsiteY51" fmla="*/ 84713 h 589770"/>
                <a:gd name="connsiteX52" fmla="*/ 392373 w 599394"/>
                <a:gd name="connsiteY52" fmla="*/ 84713 h 589770"/>
                <a:gd name="connsiteX53" fmla="*/ 392373 w 599394"/>
                <a:gd name="connsiteY53" fmla="*/ 12431 h 589770"/>
                <a:gd name="connsiteX54" fmla="*/ 404360 w 599394"/>
                <a:gd name="connsiteY54" fmla="*/ 0 h 589770"/>
                <a:gd name="connsiteX55" fmla="*/ 506718 w 599394"/>
                <a:gd name="connsiteY55" fmla="*/ 0 h 589770"/>
                <a:gd name="connsiteX56" fmla="*/ 519167 w 599394"/>
                <a:gd name="connsiteY56" fmla="*/ 12431 h 589770"/>
                <a:gd name="connsiteX57" fmla="*/ 519167 w 599394"/>
                <a:gd name="connsiteY57" fmla="*/ 84713 h 589770"/>
                <a:gd name="connsiteX58" fmla="*/ 586945 w 599394"/>
                <a:gd name="connsiteY58" fmla="*/ 84713 h 589770"/>
                <a:gd name="connsiteX59" fmla="*/ 599394 w 599394"/>
                <a:gd name="connsiteY59" fmla="*/ 97144 h 589770"/>
                <a:gd name="connsiteX60" fmla="*/ 599394 w 599394"/>
                <a:gd name="connsiteY60" fmla="*/ 577800 h 589770"/>
                <a:gd name="connsiteX61" fmla="*/ 586945 w 599394"/>
                <a:gd name="connsiteY61" fmla="*/ 589770 h 589770"/>
                <a:gd name="connsiteX62" fmla="*/ 12449 w 599394"/>
                <a:gd name="connsiteY62" fmla="*/ 589770 h 589770"/>
                <a:gd name="connsiteX63" fmla="*/ 0 w 599394"/>
                <a:gd name="connsiteY63" fmla="*/ 577800 h 589770"/>
                <a:gd name="connsiteX64" fmla="*/ 0 w 599394"/>
                <a:gd name="connsiteY64" fmla="*/ 97144 h 589770"/>
                <a:gd name="connsiteX65" fmla="*/ 12449 w 599394"/>
                <a:gd name="connsiteY65" fmla="*/ 84713 h 589770"/>
                <a:gd name="connsiteX66" fmla="*/ 80227 w 599394"/>
                <a:gd name="connsiteY66" fmla="*/ 84713 h 589770"/>
                <a:gd name="connsiteX67" fmla="*/ 80227 w 599394"/>
                <a:gd name="connsiteY67" fmla="*/ 12431 h 589770"/>
                <a:gd name="connsiteX68" fmla="*/ 92676 w 599394"/>
                <a:gd name="connsiteY68" fmla="*/ 0 h 589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Lst>
              <a:rect l="l" t="t" r="r" b="b"/>
              <a:pathLst>
                <a:path w="599394" h="589770">
                  <a:moveTo>
                    <a:pt x="396980" y="411566"/>
                  </a:moveTo>
                  <a:lnTo>
                    <a:pt x="485009" y="411566"/>
                  </a:lnTo>
                  <a:lnTo>
                    <a:pt x="485009" y="499521"/>
                  </a:lnTo>
                  <a:lnTo>
                    <a:pt x="396980" y="499521"/>
                  </a:lnTo>
                  <a:close/>
                  <a:moveTo>
                    <a:pt x="255424" y="411566"/>
                  </a:moveTo>
                  <a:lnTo>
                    <a:pt x="343453" y="411566"/>
                  </a:lnTo>
                  <a:lnTo>
                    <a:pt x="343453" y="499521"/>
                  </a:lnTo>
                  <a:lnTo>
                    <a:pt x="255424" y="499521"/>
                  </a:lnTo>
                  <a:close/>
                  <a:moveTo>
                    <a:pt x="114311" y="411566"/>
                  </a:moveTo>
                  <a:lnTo>
                    <a:pt x="202414" y="411566"/>
                  </a:lnTo>
                  <a:lnTo>
                    <a:pt x="202414" y="499521"/>
                  </a:lnTo>
                  <a:lnTo>
                    <a:pt x="114311" y="499521"/>
                  </a:lnTo>
                  <a:close/>
                  <a:moveTo>
                    <a:pt x="396980" y="289110"/>
                  </a:moveTo>
                  <a:lnTo>
                    <a:pt x="485009" y="289110"/>
                  </a:lnTo>
                  <a:lnTo>
                    <a:pt x="485009" y="377065"/>
                  </a:lnTo>
                  <a:lnTo>
                    <a:pt x="396980" y="377065"/>
                  </a:lnTo>
                  <a:close/>
                  <a:moveTo>
                    <a:pt x="255424" y="289110"/>
                  </a:moveTo>
                  <a:lnTo>
                    <a:pt x="343453" y="289110"/>
                  </a:lnTo>
                  <a:lnTo>
                    <a:pt x="343453" y="377065"/>
                  </a:lnTo>
                  <a:lnTo>
                    <a:pt x="255424" y="377065"/>
                  </a:lnTo>
                  <a:close/>
                  <a:moveTo>
                    <a:pt x="114311" y="289110"/>
                  </a:moveTo>
                  <a:lnTo>
                    <a:pt x="202414" y="289110"/>
                  </a:lnTo>
                  <a:lnTo>
                    <a:pt x="202414" y="377065"/>
                  </a:lnTo>
                  <a:lnTo>
                    <a:pt x="114311" y="377065"/>
                  </a:lnTo>
                  <a:close/>
                  <a:moveTo>
                    <a:pt x="73311" y="262427"/>
                  </a:moveTo>
                  <a:cubicBezTo>
                    <a:pt x="68239" y="262427"/>
                    <a:pt x="64089" y="266570"/>
                    <a:pt x="64089" y="271635"/>
                  </a:cubicBezTo>
                  <a:lnTo>
                    <a:pt x="64089" y="517027"/>
                  </a:lnTo>
                  <a:cubicBezTo>
                    <a:pt x="64089" y="522091"/>
                    <a:pt x="68239" y="526235"/>
                    <a:pt x="73311" y="526235"/>
                  </a:cubicBezTo>
                  <a:lnTo>
                    <a:pt x="526083" y="526235"/>
                  </a:lnTo>
                  <a:cubicBezTo>
                    <a:pt x="531155" y="526235"/>
                    <a:pt x="535305" y="522091"/>
                    <a:pt x="535305" y="517027"/>
                  </a:cubicBezTo>
                  <a:lnTo>
                    <a:pt x="535305" y="271635"/>
                  </a:lnTo>
                  <a:cubicBezTo>
                    <a:pt x="535305" y="266570"/>
                    <a:pt x="531155" y="262427"/>
                    <a:pt x="526083" y="262427"/>
                  </a:cubicBezTo>
                  <a:close/>
                  <a:moveTo>
                    <a:pt x="437558" y="35911"/>
                  </a:moveTo>
                  <a:cubicBezTo>
                    <a:pt x="432486" y="35911"/>
                    <a:pt x="428336" y="40055"/>
                    <a:pt x="428336" y="45119"/>
                  </a:cubicBezTo>
                  <a:lnTo>
                    <a:pt x="428336" y="169887"/>
                  </a:lnTo>
                  <a:cubicBezTo>
                    <a:pt x="428336" y="174951"/>
                    <a:pt x="432486" y="179095"/>
                    <a:pt x="437558" y="179095"/>
                  </a:cubicBezTo>
                  <a:lnTo>
                    <a:pt x="473982" y="179095"/>
                  </a:lnTo>
                  <a:cubicBezTo>
                    <a:pt x="479054" y="179095"/>
                    <a:pt x="483204" y="174951"/>
                    <a:pt x="483204" y="169887"/>
                  </a:cubicBezTo>
                  <a:lnTo>
                    <a:pt x="483204" y="45119"/>
                  </a:lnTo>
                  <a:cubicBezTo>
                    <a:pt x="483204" y="40055"/>
                    <a:pt x="479054" y="35911"/>
                    <a:pt x="473982" y="35911"/>
                  </a:cubicBezTo>
                  <a:close/>
                  <a:moveTo>
                    <a:pt x="125412" y="35911"/>
                  </a:moveTo>
                  <a:cubicBezTo>
                    <a:pt x="120340" y="35911"/>
                    <a:pt x="116190" y="40055"/>
                    <a:pt x="116190" y="45119"/>
                  </a:cubicBezTo>
                  <a:lnTo>
                    <a:pt x="116190" y="169887"/>
                  </a:lnTo>
                  <a:cubicBezTo>
                    <a:pt x="116190" y="174951"/>
                    <a:pt x="120340" y="179095"/>
                    <a:pt x="125412" y="179095"/>
                  </a:cubicBezTo>
                  <a:lnTo>
                    <a:pt x="161836" y="179095"/>
                  </a:lnTo>
                  <a:cubicBezTo>
                    <a:pt x="166908" y="179095"/>
                    <a:pt x="171058" y="174951"/>
                    <a:pt x="171058" y="169887"/>
                  </a:cubicBezTo>
                  <a:lnTo>
                    <a:pt x="171058" y="45119"/>
                  </a:lnTo>
                  <a:cubicBezTo>
                    <a:pt x="171058" y="40055"/>
                    <a:pt x="166908" y="35911"/>
                    <a:pt x="161836" y="35911"/>
                  </a:cubicBezTo>
                  <a:close/>
                  <a:moveTo>
                    <a:pt x="92676" y="0"/>
                  </a:moveTo>
                  <a:lnTo>
                    <a:pt x="194573" y="0"/>
                  </a:lnTo>
                  <a:cubicBezTo>
                    <a:pt x="201489" y="0"/>
                    <a:pt x="207021" y="5525"/>
                    <a:pt x="207021" y="12431"/>
                  </a:cubicBezTo>
                  <a:lnTo>
                    <a:pt x="207021" y="84713"/>
                  </a:lnTo>
                  <a:lnTo>
                    <a:pt x="392373" y="84713"/>
                  </a:lnTo>
                  <a:lnTo>
                    <a:pt x="392373" y="12431"/>
                  </a:lnTo>
                  <a:cubicBezTo>
                    <a:pt x="392373" y="5525"/>
                    <a:pt x="397905" y="0"/>
                    <a:pt x="404360" y="0"/>
                  </a:cubicBezTo>
                  <a:lnTo>
                    <a:pt x="506718" y="0"/>
                  </a:lnTo>
                  <a:cubicBezTo>
                    <a:pt x="513635" y="0"/>
                    <a:pt x="519167" y="5525"/>
                    <a:pt x="519167" y="12431"/>
                  </a:cubicBezTo>
                  <a:lnTo>
                    <a:pt x="519167" y="84713"/>
                  </a:lnTo>
                  <a:lnTo>
                    <a:pt x="586945" y="84713"/>
                  </a:lnTo>
                  <a:cubicBezTo>
                    <a:pt x="593861" y="84713"/>
                    <a:pt x="599394" y="90238"/>
                    <a:pt x="599394" y="97144"/>
                  </a:cubicBezTo>
                  <a:lnTo>
                    <a:pt x="599394" y="577800"/>
                  </a:lnTo>
                  <a:cubicBezTo>
                    <a:pt x="599394" y="584245"/>
                    <a:pt x="593861" y="589770"/>
                    <a:pt x="586945" y="589770"/>
                  </a:cubicBezTo>
                  <a:lnTo>
                    <a:pt x="12449" y="589770"/>
                  </a:lnTo>
                  <a:cubicBezTo>
                    <a:pt x="5533" y="589770"/>
                    <a:pt x="0" y="584245"/>
                    <a:pt x="0" y="577800"/>
                  </a:cubicBezTo>
                  <a:lnTo>
                    <a:pt x="0" y="97144"/>
                  </a:lnTo>
                  <a:cubicBezTo>
                    <a:pt x="0" y="90238"/>
                    <a:pt x="5533" y="84713"/>
                    <a:pt x="12449" y="84713"/>
                  </a:cubicBezTo>
                  <a:lnTo>
                    <a:pt x="80227" y="84713"/>
                  </a:lnTo>
                  <a:lnTo>
                    <a:pt x="80227" y="12431"/>
                  </a:lnTo>
                  <a:cubicBezTo>
                    <a:pt x="80227" y="5525"/>
                    <a:pt x="85759" y="0"/>
                    <a:pt x="92676" y="0"/>
                  </a:cubicBez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3" name="ïṡľïḍe">
              <a:extLst>
                <a:ext uri="{FF2B5EF4-FFF2-40B4-BE49-F238E27FC236}">
                  <a16:creationId xmlns:a16="http://schemas.microsoft.com/office/drawing/2014/main" id="{8B5DD835-08D9-4C00-B6D8-9DEBFF55F514}"/>
                </a:ext>
              </a:extLst>
            </p:cNvPr>
            <p:cNvSpPr/>
            <p:nvPr/>
          </p:nvSpPr>
          <p:spPr>
            <a:xfrm>
              <a:off x="5331972" y="4405222"/>
              <a:ext cx="452336" cy="407900"/>
            </a:xfrm>
            <a:custGeom>
              <a:avLst/>
              <a:gdLst>
                <a:gd name="connsiteX0" fmla="*/ 521432 w 608344"/>
                <a:gd name="connsiteY0" fmla="*/ 370453 h 548582"/>
                <a:gd name="connsiteX1" fmla="*/ 465737 w 608344"/>
                <a:gd name="connsiteY1" fmla="*/ 425787 h 548582"/>
                <a:gd name="connsiteX2" fmla="*/ 442491 w 608344"/>
                <a:gd name="connsiteY2" fmla="*/ 402479 h 548582"/>
                <a:gd name="connsiteX3" fmla="*/ 418201 w 608344"/>
                <a:gd name="connsiteY3" fmla="*/ 426545 h 548582"/>
                <a:gd name="connsiteX4" fmla="*/ 441447 w 608344"/>
                <a:gd name="connsiteY4" fmla="*/ 449948 h 548582"/>
                <a:gd name="connsiteX5" fmla="*/ 465642 w 608344"/>
                <a:gd name="connsiteY5" fmla="*/ 474204 h 548582"/>
                <a:gd name="connsiteX6" fmla="*/ 489932 w 608344"/>
                <a:gd name="connsiteY6" fmla="*/ 450043 h 548582"/>
                <a:gd name="connsiteX7" fmla="*/ 545532 w 608344"/>
                <a:gd name="connsiteY7" fmla="*/ 394709 h 548582"/>
                <a:gd name="connsiteX8" fmla="*/ 481962 w 608344"/>
                <a:gd name="connsiteY8" fmla="*/ 296170 h 548582"/>
                <a:gd name="connsiteX9" fmla="*/ 608344 w 608344"/>
                <a:gd name="connsiteY9" fmla="*/ 422376 h 548582"/>
                <a:gd name="connsiteX10" fmla="*/ 481962 w 608344"/>
                <a:gd name="connsiteY10" fmla="*/ 548582 h 548582"/>
                <a:gd name="connsiteX11" fmla="*/ 355579 w 608344"/>
                <a:gd name="connsiteY11" fmla="*/ 422376 h 548582"/>
                <a:gd name="connsiteX12" fmla="*/ 481962 w 608344"/>
                <a:gd name="connsiteY12" fmla="*/ 296170 h 548582"/>
                <a:gd name="connsiteX13" fmla="*/ 255835 w 608344"/>
                <a:gd name="connsiteY13" fmla="*/ 446 h 548582"/>
                <a:gd name="connsiteX14" fmla="*/ 317801 w 608344"/>
                <a:gd name="connsiteY14" fmla="*/ 13616 h 548582"/>
                <a:gd name="connsiteX15" fmla="*/ 348072 w 608344"/>
                <a:gd name="connsiteY15" fmla="*/ 41661 h 548582"/>
                <a:gd name="connsiteX16" fmla="*/ 381190 w 608344"/>
                <a:gd name="connsiteY16" fmla="*/ 146831 h 548582"/>
                <a:gd name="connsiteX17" fmla="*/ 378913 w 608344"/>
                <a:gd name="connsiteY17" fmla="*/ 156211 h 548582"/>
                <a:gd name="connsiteX18" fmla="*/ 387833 w 608344"/>
                <a:gd name="connsiteY18" fmla="*/ 200458 h 548582"/>
                <a:gd name="connsiteX19" fmla="*/ 366387 w 608344"/>
                <a:gd name="connsiteY19" fmla="*/ 237694 h 548582"/>
                <a:gd name="connsiteX20" fmla="*/ 351393 w 608344"/>
                <a:gd name="connsiteY20" fmla="*/ 278720 h 548582"/>
                <a:gd name="connsiteX21" fmla="*/ 351393 w 608344"/>
                <a:gd name="connsiteY21" fmla="*/ 322873 h 548582"/>
                <a:gd name="connsiteX22" fmla="*/ 317611 w 608344"/>
                <a:gd name="connsiteY22" fmla="*/ 422358 h 548582"/>
                <a:gd name="connsiteX23" fmla="*/ 376635 w 608344"/>
                <a:gd name="connsiteY23" fmla="*/ 548088 h 548582"/>
                <a:gd name="connsiteX24" fmla="*/ 26855 w 608344"/>
                <a:gd name="connsiteY24" fmla="*/ 548088 h 548582"/>
                <a:gd name="connsiteX25" fmla="*/ 0 w 608344"/>
                <a:gd name="connsiteY25" fmla="*/ 521274 h 548582"/>
                <a:gd name="connsiteX26" fmla="*/ 0 w 608344"/>
                <a:gd name="connsiteY26" fmla="*/ 473806 h 548582"/>
                <a:gd name="connsiteX27" fmla="*/ 19453 w 608344"/>
                <a:gd name="connsiteY27" fmla="*/ 432969 h 548582"/>
                <a:gd name="connsiteX28" fmla="*/ 173751 w 608344"/>
                <a:gd name="connsiteY28" fmla="*/ 334242 h 548582"/>
                <a:gd name="connsiteX29" fmla="*/ 176408 w 608344"/>
                <a:gd name="connsiteY29" fmla="*/ 329884 h 548582"/>
                <a:gd name="connsiteX30" fmla="*/ 176408 w 608344"/>
                <a:gd name="connsiteY30" fmla="*/ 278720 h 548582"/>
                <a:gd name="connsiteX31" fmla="*/ 161320 w 608344"/>
                <a:gd name="connsiteY31" fmla="*/ 237694 h 548582"/>
                <a:gd name="connsiteX32" fmla="*/ 139969 w 608344"/>
                <a:gd name="connsiteY32" fmla="*/ 200458 h 548582"/>
                <a:gd name="connsiteX33" fmla="*/ 148320 w 608344"/>
                <a:gd name="connsiteY33" fmla="*/ 156211 h 548582"/>
                <a:gd name="connsiteX34" fmla="*/ 146042 w 608344"/>
                <a:gd name="connsiteY34" fmla="*/ 146736 h 548582"/>
                <a:gd name="connsiteX35" fmla="*/ 145758 w 608344"/>
                <a:gd name="connsiteY35" fmla="*/ 95099 h 548582"/>
                <a:gd name="connsiteX36" fmla="*/ 176029 w 608344"/>
                <a:gd name="connsiteY36" fmla="*/ 42135 h 548582"/>
                <a:gd name="connsiteX37" fmla="*/ 203928 w 608344"/>
                <a:gd name="connsiteY37" fmla="*/ 19017 h 548582"/>
                <a:gd name="connsiteX38" fmla="*/ 231162 w 608344"/>
                <a:gd name="connsiteY38" fmla="*/ 5089 h 548582"/>
                <a:gd name="connsiteX39" fmla="*/ 255835 w 608344"/>
                <a:gd name="connsiteY39" fmla="*/ 446 h 5485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608344" h="548582">
                  <a:moveTo>
                    <a:pt x="521432" y="370453"/>
                  </a:moveTo>
                  <a:lnTo>
                    <a:pt x="465737" y="425787"/>
                  </a:lnTo>
                  <a:lnTo>
                    <a:pt x="442491" y="402479"/>
                  </a:lnTo>
                  <a:lnTo>
                    <a:pt x="418201" y="426545"/>
                  </a:lnTo>
                  <a:lnTo>
                    <a:pt x="441447" y="449948"/>
                  </a:lnTo>
                  <a:lnTo>
                    <a:pt x="465642" y="474204"/>
                  </a:lnTo>
                  <a:lnTo>
                    <a:pt x="489932" y="450043"/>
                  </a:lnTo>
                  <a:lnTo>
                    <a:pt x="545532" y="394709"/>
                  </a:lnTo>
                  <a:close/>
                  <a:moveTo>
                    <a:pt x="481962" y="296170"/>
                  </a:moveTo>
                  <a:cubicBezTo>
                    <a:pt x="551795" y="296170"/>
                    <a:pt x="608344" y="352641"/>
                    <a:pt x="608344" y="422376"/>
                  </a:cubicBezTo>
                  <a:cubicBezTo>
                    <a:pt x="608344" y="492111"/>
                    <a:pt x="551795" y="548582"/>
                    <a:pt x="481962" y="548582"/>
                  </a:cubicBezTo>
                  <a:cubicBezTo>
                    <a:pt x="412129" y="548582"/>
                    <a:pt x="355579" y="492111"/>
                    <a:pt x="355579" y="422376"/>
                  </a:cubicBezTo>
                  <a:cubicBezTo>
                    <a:pt x="355579" y="352641"/>
                    <a:pt x="412129" y="296170"/>
                    <a:pt x="481962" y="296170"/>
                  </a:cubicBezTo>
                  <a:close/>
                  <a:moveTo>
                    <a:pt x="255835" y="446"/>
                  </a:moveTo>
                  <a:cubicBezTo>
                    <a:pt x="282785" y="-1828"/>
                    <a:pt x="303187" y="4899"/>
                    <a:pt x="317801" y="13616"/>
                  </a:cubicBezTo>
                  <a:cubicBezTo>
                    <a:pt x="339721" y="25744"/>
                    <a:pt x="348072" y="41661"/>
                    <a:pt x="348072" y="41661"/>
                  </a:cubicBezTo>
                  <a:cubicBezTo>
                    <a:pt x="348072" y="41661"/>
                    <a:pt x="398176" y="45167"/>
                    <a:pt x="381190" y="146831"/>
                  </a:cubicBezTo>
                  <a:cubicBezTo>
                    <a:pt x="380621" y="149863"/>
                    <a:pt x="379862" y="153085"/>
                    <a:pt x="378913" y="156211"/>
                  </a:cubicBezTo>
                  <a:cubicBezTo>
                    <a:pt x="388592" y="156211"/>
                    <a:pt x="398271" y="163507"/>
                    <a:pt x="387833" y="200458"/>
                  </a:cubicBezTo>
                  <a:cubicBezTo>
                    <a:pt x="379672" y="229262"/>
                    <a:pt x="372080" y="237221"/>
                    <a:pt x="366387" y="237694"/>
                  </a:cubicBezTo>
                  <a:cubicBezTo>
                    <a:pt x="364394" y="250675"/>
                    <a:pt x="359175" y="265076"/>
                    <a:pt x="351393" y="278720"/>
                  </a:cubicBezTo>
                  <a:lnTo>
                    <a:pt x="351393" y="322873"/>
                  </a:lnTo>
                  <a:cubicBezTo>
                    <a:pt x="330232" y="350539"/>
                    <a:pt x="317611" y="385027"/>
                    <a:pt x="317611" y="422358"/>
                  </a:cubicBezTo>
                  <a:cubicBezTo>
                    <a:pt x="317611" y="472764"/>
                    <a:pt x="340480" y="518053"/>
                    <a:pt x="376635" y="548088"/>
                  </a:cubicBezTo>
                  <a:lnTo>
                    <a:pt x="26855" y="548088"/>
                  </a:lnTo>
                  <a:cubicBezTo>
                    <a:pt x="12052" y="548088"/>
                    <a:pt x="0" y="536055"/>
                    <a:pt x="0" y="521274"/>
                  </a:cubicBezTo>
                  <a:lnTo>
                    <a:pt x="0" y="473806"/>
                  </a:lnTo>
                  <a:cubicBezTo>
                    <a:pt x="0" y="457983"/>
                    <a:pt x="7212" y="443013"/>
                    <a:pt x="19453" y="432969"/>
                  </a:cubicBezTo>
                  <a:cubicBezTo>
                    <a:pt x="86638" y="377921"/>
                    <a:pt x="159043" y="341443"/>
                    <a:pt x="173751" y="334242"/>
                  </a:cubicBezTo>
                  <a:cubicBezTo>
                    <a:pt x="175365" y="333484"/>
                    <a:pt x="176408" y="331779"/>
                    <a:pt x="176408" y="329884"/>
                  </a:cubicBezTo>
                  <a:lnTo>
                    <a:pt x="176408" y="278720"/>
                  </a:lnTo>
                  <a:cubicBezTo>
                    <a:pt x="168437" y="265076"/>
                    <a:pt x="163313" y="250675"/>
                    <a:pt x="161320" y="237694"/>
                  </a:cubicBezTo>
                  <a:cubicBezTo>
                    <a:pt x="155627" y="237221"/>
                    <a:pt x="148035" y="229072"/>
                    <a:pt x="139969" y="200458"/>
                  </a:cubicBezTo>
                  <a:cubicBezTo>
                    <a:pt x="129531" y="164170"/>
                    <a:pt x="138925" y="156496"/>
                    <a:pt x="148320" y="156211"/>
                  </a:cubicBezTo>
                  <a:cubicBezTo>
                    <a:pt x="147371" y="153085"/>
                    <a:pt x="146612" y="149863"/>
                    <a:pt x="146042" y="146736"/>
                  </a:cubicBezTo>
                  <a:cubicBezTo>
                    <a:pt x="142436" y="128450"/>
                    <a:pt x="141487" y="111396"/>
                    <a:pt x="145758" y="95099"/>
                  </a:cubicBezTo>
                  <a:cubicBezTo>
                    <a:pt x="150787" y="73212"/>
                    <a:pt x="162744" y="55684"/>
                    <a:pt x="176029" y="42135"/>
                  </a:cubicBezTo>
                  <a:cubicBezTo>
                    <a:pt x="184379" y="33134"/>
                    <a:pt x="193869" y="25459"/>
                    <a:pt x="203928" y="19017"/>
                  </a:cubicBezTo>
                  <a:cubicBezTo>
                    <a:pt x="212183" y="13332"/>
                    <a:pt x="221293" y="8405"/>
                    <a:pt x="231162" y="5089"/>
                  </a:cubicBezTo>
                  <a:cubicBezTo>
                    <a:pt x="238849" y="2625"/>
                    <a:pt x="247105" y="825"/>
                    <a:pt x="255835" y="446"/>
                  </a:cubicBez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sp>
          <p:nvSpPr>
            <p:cNvPr id="24" name="íşlíde">
              <a:extLst>
                <a:ext uri="{FF2B5EF4-FFF2-40B4-BE49-F238E27FC236}">
                  <a16:creationId xmlns:a16="http://schemas.microsoft.com/office/drawing/2014/main" id="{E326F17C-EC10-4BEB-AE07-E6964392F390}"/>
                </a:ext>
              </a:extLst>
            </p:cNvPr>
            <p:cNvSpPr/>
            <p:nvPr/>
          </p:nvSpPr>
          <p:spPr>
            <a:xfrm>
              <a:off x="5318204" y="2381951"/>
              <a:ext cx="466104" cy="549000"/>
            </a:xfrm>
            <a:custGeom>
              <a:avLst/>
              <a:gdLst>
                <a:gd name="T0" fmla="*/ 94 w 294"/>
                <a:gd name="T1" fmla="*/ 150 h 347"/>
                <a:gd name="T2" fmla="*/ 94 w 294"/>
                <a:gd name="T3" fmla="*/ 277 h 347"/>
                <a:gd name="T4" fmla="*/ 85 w 294"/>
                <a:gd name="T5" fmla="*/ 290 h 347"/>
                <a:gd name="T6" fmla="*/ 58 w 294"/>
                <a:gd name="T7" fmla="*/ 294 h 347"/>
                <a:gd name="T8" fmla="*/ 58 w 294"/>
                <a:gd name="T9" fmla="*/ 294 h 347"/>
                <a:gd name="T10" fmla="*/ 1 w 294"/>
                <a:gd name="T11" fmla="*/ 257 h 347"/>
                <a:gd name="T12" fmla="*/ 1 w 294"/>
                <a:gd name="T13" fmla="*/ 94 h 347"/>
                <a:gd name="T14" fmla="*/ 23 w 294"/>
                <a:gd name="T15" fmla="*/ 52 h 347"/>
                <a:gd name="T16" fmla="*/ 100 w 294"/>
                <a:gd name="T17" fmla="*/ 3 h 347"/>
                <a:gd name="T18" fmla="*/ 114 w 294"/>
                <a:gd name="T19" fmla="*/ 3 h 347"/>
                <a:gd name="T20" fmla="*/ 121 w 294"/>
                <a:gd name="T21" fmla="*/ 14 h 347"/>
                <a:gd name="T22" fmla="*/ 121 w 294"/>
                <a:gd name="T23" fmla="*/ 34 h 347"/>
                <a:gd name="T24" fmla="*/ 107 w 294"/>
                <a:gd name="T25" fmla="*/ 47 h 347"/>
                <a:gd name="T26" fmla="*/ 95 w 294"/>
                <a:gd name="T27" fmla="*/ 38 h 347"/>
                <a:gd name="T28" fmla="*/ 36 w 294"/>
                <a:gd name="T29" fmla="*/ 76 h 347"/>
                <a:gd name="T30" fmla="*/ 27 w 294"/>
                <a:gd name="T31" fmla="*/ 90 h 347"/>
                <a:gd name="T32" fmla="*/ 30 w 294"/>
                <a:gd name="T33" fmla="*/ 100 h 347"/>
                <a:gd name="T34" fmla="*/ 68 w 294"/>
                <a:gd name="T35" fmla="*/ 92 h 347"/>
                <a:gd name="T36" fmla="*/ 166 w 294"/>
                <a:gd name="T37" fmla="*/ 27 h 347"/>
                <a:gd name="T38" fmla="*/ 180 w 294"/>
                <a:gd name="T39" fmla="*/ 26 h 347"/>
                <a:gd name="T40" fmla="*/ 187 w 294"/>
                <a:gd name="T41" fmla="*/ 38 h 347"/>
                <a:gd name="T42" fmla="*/ 187 w 294"/>
                <a:gd name="T43" fmla="*/ 40 h 347"/>
                <a:gd name="T44" fmla="*/ 181 w 294"/>
                <a:gd name="T45" fmla="*/ 51 h 347"/>
                <a:gd name="T46" fmla="*/ 120 w 294"/>
                <a:gd name="T47" fmla="*/ 92 h 347"/>
                <a:gd name="T48" fmla="*/ 94 w 294"/>
                <a:gd name="T49" fmla="*/ 150 h 347"/>
                <a:gd name="T50" fmla="*/ 294 w 294"/>
                <a:gd name="T51" fmla="*/ 85 h 347"/>
                <a:gd name="T52" fmla="*/ 294 w 294"/>
                <a:gd name="T53" fmla="*/ 258 h 347"/>
                <a:gd name="T54" fmla="*/ 288 w 294"/>
                <a:gd name="T55" fmla="*/ 270 h 347"/>
                <a:gd name="T56" fmla="*/ 194 w 294"/>
                <a:gd name="T57" fmla="*/ 340 h 347"/>
                <a:gd name="T58" fmla="*/ 164 w 294"/>
                <a:gd name="T59" fmla="*/ 347 h 347"/>
                <a:gd name="T60" fmla="*/ 107 w 294"/>
                <a:gd name="T61" fmla="*/ 307 h 347"/>
                <a:gd name="T62" fmla="*/ 107 w 294"/>
                <a:gd name="T63" fmla="*/ 146 h 347"/>
                <a:gd name="T64" fmla="*/ 107 w 294"/>
                <a:gd name="T65" fmla="*/ 142 h 347"/>
                <a:gd name="T66" fmla="*/ 107 w 294"/>
                <a:gd name="T67" fmla="*/ 142 h 347"/>
                <a:gd name="T68" fmla="*/ 128 w 294"/>
                <a:gd name="T69" fmla="*/ 105 h 347"/>
                <a:gd name="T70" fmla="*/ 206 w 294"/>
                <a:gd name="T71" fmla="*/ 50 h 347"/>
                <a:gd name="T72" fmla="*/ 220 w 294"/>
                <a:gd name="T73" fmla="*/ 50 h 347"/>
                <a:gd name="T74" fmla="*/ 227 w 294"/>
                <a:gd name="T75" fmla="*/ 61 h 347"/>
                <a:gd name="T76" fmla="*/ 227 w 294"/>
                <a:gd name="T77" fmla="*/ 81 h 347"/>
                <a:gd name="T78" fmla="*/ 214 w 294"/>
                <a:gd name="T79" fmla="*/ 94 h 347"/>
                <a:gd name="T80" fmla="*/ 202 w 294"/>
                <a:gd name="T81" fmla="*/ 86 h 347"/>
                <a:gd name="T82" fmla="*/ 144 w 294"/>
                <a:gd name="T83" fmla="*/ 126 h 347"/>
                <a:gd name="T84" fmla="*/ 134 w 294"/>
                <a:gd name="T85" fmla="*/ 142 h 347"/>
                <a:gd name="T86" fmla="*/ 137 w 294"/>
                <a:gd name="T87" fmla="*/ 151 h 347"/>
                <a:gd name="T88" fmla="*/ 180 w 294"/>
                <a:gd name="T89" fmla="*/ 144 h 347"/>
                <a:gd name="T90" fmla="*/ 272 w 294"/>
                <a:gd name="T91" fmla="*/ 75 h 347"/>
                <a:gd name="T92" fmla="*/ 286 w 294"/>
                <a:gd name="T93" fmla="*/ 73 h 347"/>
                <a:gd name="T94" fmla="*/ 294 w 294"/>
                <a:gd name="T95" fmla="*/ 85 h 347"/>
                <a:gd name="T96" fmla="*/ 267 w 294"/>
                <a:gd name="T97" fmla="*/ 145 h 347"/>
                <a:gd name="T98" fmla="*/ 201 w 294"/>
                <a:gd name="T99" fmla="*/ 196 h 347"/>
                <a:gd name="T100" fmla="*/ 201 w 294"/>
                <a:gd name="T101" fmla="*/ 223 h 347"/>
                <a:gd name="T102" fmla="*/ 267 w 294"/>
                <a:gd name="T103" fmla="*/ 171 h 347"/>
                <a:gd name="T104" fmla="*/ 267 w 294"/>
                <a:gd name="T105" fmla="*/ 145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94" h="347">
                  <a:moveTo>
                    <a:pt x="94" y="150"/>
                  </a:moveTo>
                  <a:lnTo>
                    <a:pt x="94" y="277"/>
                  </a:lnTo>
                  <a:cubicBezTo>
                    <a:pt x="94" y="283"/>
                    <a:pt x="90" y="288"/>
                    <a:pt x="85" y="290"/>
                  </a:cubicBezTo>
                  <a:cubicBezTo>
                    <a:pt x="77" y="292"/>
                    <a:pt x="68" y="294"/>
                    <a:pt x="58" y="294"/>
                  </a:cubicBezTo>
                  <a:lnTo>
                    <a:pt x="58" y="294"/>
                  </a:lnTo>
                  <a:cubicBezTo>
                    <a:pt x="31" y="294"/>
                    <a:pt x="1" y="282"/>
                    <a:pt x="1" y="257"/>
                  </a:cubicBezTo>
                  <a:lnTo>
                    <a:pt x="1" y="94"/>
                  </a:lnTo>
                  <a:cubicBezTo>
                    <a:pt x="0" y="83"/>
                    <a:pt x="4" y="63"/>
                    <a:pt x="23" y="52"/>
                  </a:cubicBezTo>
                  <a:cubicBezTo>
                    <a:pt x="31" y="47"/>
                    <a:pt x="77" y="18"/>
                    <a:pt x="100" y="3"/>
                  </a:cubicBezTo>
                  <a:cubicBezTo>
                    <a:pt x="104" y="0"/>
                    <a:pt x="109" y="0"/>
                    <a:pt x="114" y="3"/>
                  </a:cubicBezTo>
                  <a:cubicBezTo>
                    <a:pt x="118" y="5"/>
                    <a:pt x="121" y="9"/>
                    <a:pt x="121" y="14"/>
                  </a:cubicBezTo>
                  <a:lnTo>
                    <a:pt x="121" y="34"/>
                  </a:lnTo>
                  <a:cubicBezTo>
                    <a:pt x="121" y="41"/>
                    <a:pt x="115" y="47"/>
                    <a:pt x="107" y="47"/>
                  </a:cubicBezTo>
                  <a:cubicBezTo>
                    <a:pt x="101" y="47"/>
                    <a:pt x="97" y="43"/>
                    <a:pt x="95" y="38"/>
                  </a:cubicBezTo>
                  <a:cubicBezTo>
                    <a:pt x="74" y="52"/>
                    <a:pt x="43" y="71"/>
                    <a:pt x="36" y="76"/>
                  </a:cubicBezTo>
                  <a:cubicBezTo>
                    <a:pt x="29" y="79"/>
                    <a:pt x="27" y="87"/>
                    <a:pt x="27" y="90"/>
                  </a:cubicBezTo>
                  <a:cubicBezTo>
                    <a:pt x="27" y="95"/>
                    <a:pt x="28" y="98"/>
                    <a:pt x="30" y="100"/>
                  </a:cubicBezTo>
                  <a:cubicBezTo>
                    <a:pt x="35" y="105"/>
                    <a:pt x="50" y="102"/>
                    <a:pt x="68" y="92"/>
                  </a:cubicBezTo>
                  <a:cubicBezTo>
                    <a:pt x="84" y="82"/>
                    <a:pt x="166" y="28"/>
                    <a:pt x="166" y="27"/>
                  </a:cubicBezTo>
                  <a:cubicBezTo>
                    <a:pt x="171" y="24"/>
                    <a:pt x="176" y="24"/>
                    <a:pt x="180" y="26"/>
                  </a:cubicBezTo>
                  <a:cubicBezTo>
                    <a:pt x="184" y="29"/>
                    <a:pt x="187" y="33"/>
                    <a:pt x="187" y="38"/>
                  </a:cubicBezTo>
                  <a:lnTo>
                    <a:pt x="187" y="40"/>
                  </a:lnTo>
                  <a:cubicBezTo>
                    <a:pt x="187" y="44"/>
                    <a:pt x="185" y="48"/>
                    <a:pt x="181" y="51"/>
                  </a:cubicBezTo>
                  <a:cubicBezTo>
                    <a:pt x="181" y="51"/>
                    <a:pt x="125" y="89"/>
                    <a:pt x="120" y="92"/>
                  </a:cubicBezTo>
                  <a:cubicBezTo>
                    <a:pt x="100" y="104"/>
                    <a:pt x="94" y="119"/>
                    <a:pt x="94" y="150"/>
                  </a:cubicBezTo>
                  <a:close/>
                  <a:moveTo>
                    <a:pt x="294" y="85"/>
                  </a:moveTo>
                  <a:lnTo>
                    <a:pt x="294" y="258"/>
                  </a:lnTo>
                  <a:cubicBezTo>
                    <a:pt x="294" y="263"/>
                    <a:pt x="291" y="267"/>
                    <a:pt x="288" y="270"/>
                  </a:cubicBezTo>
                  <a:cubicBezTo>
                    <a:pt x="288" y="270"/>
                    <a:pt x="210" y="330"/>
                    <a:pt x="194" y="340"/>
                  </a:cubicBezTo>
                  <a:cubicBezTo>
                    <a:pt x="186" y="345"/>
                    <a:pt x="175" y="347"/>
                    <a:pt x="164" y="347"/>
                  </a:cubicBezTo>
                  <a:cubicBezTo>
                    <a:pt x="136" y="347"/>
                    <a:pt x="107" y="332"/>
                    <a:pt x="107" y="307"/>
                  </a:cubicBezTo>
                  <a:lnTo>
                    <a:pt x="107" y="146"/>
                  </a:lnTo>
                  <a:lnTo>
                    <a:pt x="107" y="142"/>
                  </a:lnTo>
                  <a:cubicBezTo>
                    <a:pt x="107" y="142"/>
                    <a:pt x="107" y="142"/>
                    <a:pt x="107" y="142"/>
                  </a:cubicBezTo>
                  <a:cubicBezTo>
                    <a:pt x="107" y="132"/>
                    <a:pt x="110" y="118"/>
                    <a:pt x="128" y="105"/>
                  </a:cubicBezTo>
                  <a:cubicBezTo>
                    <a:pt x="139" y="97"/>
                    <a:pt x="204" y="52"/>
                    <a:pt x="206" y="50"/>
                  </a:cubicBezTo>
                  <a:cubicBezTo>
                    <a:pt x="210" y="48"/>
                    <a:pt x="216" y="47"/>
                    <a:pt x="220" y="50"/>
                  </a:cubicBezTo>
                  <a:cubicBezTo>
                    <a:pt x="224" y="52"/>
                    <a:pt x="227" y="57"/>
                    <a:pt x="227" y="61"/>
                  </a:cubicBezTo>
                  <a:lnTo>
                    <a:pt x="227" y="81"/>
                  </a:lnTo>
                  <a:cubicBezTo>
                    <a:pt x="227" y="88"/>
                    <a:pt x="221" y="94"/>
                    <a:pt x="214" y="94"/>
                  </a:cubicBezTo>
                  <a:cubicBezTo>
                    <a:pt x="208" y="94"/>
                    <a:pt x="204" y="91"/>
                    <a:pt x="202" y="86"/>
                  </a:cubicBezTo>
                  <a:cubicBezTo>
                    <a:pt x="181" y="100"/>
                    <a:pt x="151" y="121"/>
                    <a:pt x="144" y="126"/>
                  </a:cubicBezTo>
                  <a:cubicBezTo>
                    <a:pt x="135" y="132"/>
                    <a:pt x="134" y="137"/>
                    <a:pt x="134" y="142"/>
                  </a:cubicBezTo>
                  <a:cubicBezTo>
                    <a:pt x="134" y="146"/>
                    <a:pt x="135" y="149"/>
                    <a:pt x="137" y="151"/>
                  </a:cubicBezTo>
                  <a:cubicBezTo>
                    <a:pt x="144" y="157"/>
                    <a:pt x="162" y="155"/>
                    <a:pt x="180" y="144"/>
                  </a:cubicBezTo>
                  <a:cubicBezTo>
                    <a:pt x="194" y="136"/>
                    <a:pt x="251" y="91"/>
                    <a:pt x="272" y="75"/>
                  </a:cubicBezTo>
                  <a:cubicBezTo>
                    <a:pt x="276" y="72"/>
                    <a:pt x="282" y="71"/>
                    <a:pt x="286" y="73"/>
                  </a:cubicBezTo>
                  <a:cubicBezTo>
                    <a:pt x="291" y="76"/>
                    <a:pt x="294" y="80"/>
                    <a:pt x="294" y="85"/>
                  </a:cubicBezTo>
                  <a:close/>
                  <a:moveTo>
                    <a:pt x="267" y="145"/>
                  </a:moveTo>
                  <a:lnTo>
                    <a:pt x="201" y="196"/>
                  </a:lnTo>
                  <a:lnTo>
                    <a:pt x="201" y="223"/>
                  </a:lnTo>
                  <a:lnTo>
                    <a:pt x="267" y="171"/>
                  </a:lnTo>
                  <a:lnTo>
                    <a:pt x="267" y="145"/>
                  </a:ln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91440" tIns="45720" rIns="91440" bIns="45720" numCol="1" spcCol="1270" anchor="ctr" anchorCtr="0">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lgn="ctr" defTabSz="977900">
                <a:lnSpc>
                  <a:spcPct val="90000"/>
                </a:lnSpc>
                <a:spcBef>
                  <a:spcPct val="0"/>
                </a:spcBef>
                <a:spcAft>
                  <a:spcPct val="35000"/>
                </a:spcAft>
              </a:pPr>
              <a:endParaRPr lang="en-US" sz="2200" kern="1200"/>
            </a:p>
          </p:txBody>
        </p:sp>
      </p:grpSp>
    </p:spTree>
    <p:extLst>
      <p:ext uri="{BB962C8B-B14F-4D97-AF65-F5344CB8AC3E}">
        <p14:creationId xmlns:p14="http://schemas.microsoft.com/office/powerpoint/2010/main" val="39272290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页脚占位符 2">
            <a:extLst>
              <a:ext uri="{FF2B5EF4-FFF2-40B4-BE49-F238E27FC236}">
                <a16:creationId xmlns:a16="http://schemas.microsoft.com/office/drawing/2014/main" id="{CDF70EAE-C8AD-4ED7-A0C5-3ED9FF895CB3}"/>
              </a:ext>
            </a:extLst>
          </p:cNvPr>
          <p:cNvSpPr>
            <a:spLocks noGrp="1"/>
          </p:cNvSpPr>
          <p:nvPr>
            <p:ph type="ftr" sz="quarter" idx="4294967295"/>
          </p:nvPr>
        </p:nvSpPr>
        <p:spPr>
          <a:xfrm>
            <a:off x="233464" y="6240463"/>
            <a:ext cx="4140200" cy="206375"/>
          </a:xfrm>
        </p:spPr>
        <p:txBody>
          <a:bodyPr/>
          <a:lstStyle/>
          <a:p>
            <a:r>
              <a:rPr lang="en-US" altLang="zh-CN" dirty="0"/>
              <a:t>https://islide-powerpoint.com </a:t>
            </a:r>
            <a:endParaRPr lang="zh-CN" altLang="en-US" dirty="0"/>
          </a:p>
        </p:txBody>
      </p:sp>
      <p:sp>
        <p:nvSpPr>
          <p:cNvPr id="4" name="灯片编号占位符 3">
            <a:extLst>
              <a:ext uri="{FF2B5EF4-FFF2-40B4-BE49-F238E27FC236}">
                <a16:creationId xmlns:a16="http://schemas.microsoft.com/office/drawing/2014/main" id="{D57BED38-4D60-40F3-B9DD-E626D813C389}"/>
              </a:ext>
            </a:extLst>
          </p:cNvPr>
          <p:cNvSpPr>
            <a:spLocks noGrp="1"/>
          </p:cNvSpPr>
          <p:nvPr>
            <p:ph type="sldNum" sz="quarter" idx="4294967295"/>
          </p:nvPr>
        </p:nvSpPr>
        <p:spPr>
          <a:xfrm>
            <a:off x="9282113" y="6240463"/>
            <a:ext cx="2909887" cy="206375"/>
          </a:xfrm>
        </p:spPr>
        <p:txBody>
          <a:bodyPr/>
          <a:lstStyle/>
          <a:p>
            <a:fld id="{5DD3DB80-B894-403A-B48E-6FDC1A72010E}" type="slidenum">
              <a:rPr lang="zh-CN" altLang="en-US" smtClean="0"/>
              <a:pPr/>
              <a:t>2</a:t>
            </a:fld>
            <a:endParaRPr lang="zh-CN" altLang="en-US"/>
          </a:p>
        </p:txBody>
      </p:sp>
      <p:grpSp>
        <p:nvGrpSpPr>
          <p:cNvPr id="5" name="4010"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C53EE8C6-E792-4848-BE93-F7CCE20CAF20}"/>
              </a:ext>
            </a:extLst>
          </p:cNvPr>
          <p:cNvGrpSpPr>
            <a:grpSpLocks noChangeAspect="1"/>
          </p:cNvGrpSpPr>
          <p:nvPr/>
        </p:nvGrpSpPr>
        <p:grpSpPr>
          <a:xfrm>
            <a:off x="648038" y="1376039"/>
            <a:ext cx="10872450" cy="4295776"/>
            <a:chOff x="648038" y="1376039"/>
            <a:chExt cx="10872450" cy="4295776"/>
          </a:xfrm>
        </p:grpSpPr>
        <p:sp>
          <p:nvSpPr>
            <p:cNvPr id="6" name="îsľïḑê">
              <a:extLst>
                <a:ext uri="{FF2B5EF4-FFF2-40B4-BE49-F238E27FC236}">
                  <a16:creationId xmlns:a16="http://schemas.microsoft.com/office/drawing/2014/main" id="{C621C635-F085-4D28-A871-349E34A94B81}"/>
                </a:ext>
              </a:extLst>
            </p:cNvPr>
            <p:cNvSpPr/>
            <p:nvPr/>
          </p:nvSpPr>
          <p:spPr bwMode="auto">
            <a:xfrm rot="610268">
              <a:off x="4224180" y="3695598"/>
              <a:ext cx="1187744" cy="1497020"/>
            </a:xfrm>
            <a:prstGeom prst="rtTriangle">
              <a:avLst/>
            </a:prstGeom>
            <a:solidFill>
              <a:schemeClr val="bg1">
                <a:lumMod val="65000"/>
              </a:schemeClr>
            </a:solidFill>
            <a:ln w="19050">
              <a:noFill/>
              <a:round/>
              <a:headEnd/>
              <a:tailEnd/>
            </a:ln>
          </p:spPr>
          <p:txBody>
            <a:bodyPr wrap="square" lIns="91440" tIns="45720" rIns="91440" bIns="45720" anchor="ctr">
              <a:normAutofit/>
            </a:bodyPr>
            <a:lstStyle/>
            <a:p>
              <a:pPr algn="ctr"/>
              <a:endParaRPr/>
            </a:p>
          </p:txBody>
        </p:sp>
        <p:sp>
          <p:nvSpPr>
            <p:cNvPr id="7" name="iṩḻíḓê">
              <a:extLst>
                <a:ext uri="{FF2B5EF4-FFF2-40B4-BE49-F238E27FC236}">
                  <a16:creationId xmlns:a16="http://schemas.microsoft.com/office/drawing/2014/main" id="{5271CEAF-BC59-48ED-89F2-E8CDF3CF4372}"/>
                </a:ext>
              </a:extLst>
            </p:cNvPr>
            <p:cNvSpPr/>
            <p:nvPr/>
          </p:nvSpPr>
          <p:spPr bwMode="auto">
            <a:xfrm rot="16200000">
              <a:off x="1772352" y="1064207"/>
              <a:ext cx="1296144" cy="2052228"/>
            </a:xfrm>
            <a:prstGeom prst="triangle">
              <a:avLst/>
            </a:prstGeom>
            <a:solidFill>
              <a:schemeClr val="bg1">
                <a:lumMod val="65000"/>
              </a:schemeClr>
            </a:solidFill>
            <a:ln w="19050">
              <a:noFill/>
              <a:round/>
              <a:headEnd/>
              <a:tailEnd/>
            </a:ln>
          </p:spPr>
          <p:txBody>
            <a:bodyPr wrap="square" lIns="91440" tIns="45720" rIns="91440" bIns="45720" anchor="ctr">
              <a:normAutofit/>
            </a:bodyPr>
            <a:lstStyle/>
            <a:p>
              <a:pPr algn="ctr"/>
              <a:endParaRPr/>
            </a:p>
          </p:txBody>
        </p:sp>
        <p:sp>
          <p:nvSpPr>
            <p:cNvPr id="8" name="ï$lïďè">
              <a:extLst>
                <a:ext uri="{FF2B5EF4-FFF2-40B4-BE49-F238E27FC236}">
                  <a16:creationId xmlns:a16="http://schemas.microsoft.com/office/drawing/2014/main" id="{03F56703-C54C-43F1-8723-9829010739B0}"/>
                </a:ext>
              </a:extLst>
            </p:cNvPr>
            <p:cNvSpPr/>
            <p:nvPr/>
          </p:nvSpPr>
          <p:spPr bwMode="auto">
            <a:xfrm rot="3712223">
              <a:off x="855993" y="1330709"/>
              <a:ext cx="4066498" cy="4482407"/>
            </a:xfrm>
            <a:custGeom>
              <a:avLst/>
              <a:gdLst>
                <a:gd name="connsiteX0" fmla="*/ 0 w 4066498"/>
                <a:gd name="connsiteY0" fmla="*/ 2863075 h 4482407"/>
                <a:gd name="connsiteX1" fmla="*/ 1937533 w 4066498"/>
                <a:gd name="connsiteY1" fmla="*/ 0 h 4482407"/>
                <a:gd name="connsiteX2" fmla="*/ 4066498 w 4066498"/>
                <a:gd name="connsiteY2" fmla="*/ 1138176 h 4482407"/>
                <a:gd name="connsiteX3" fmla="*/ 3028971 w 4066498"/>
                <a:gd name="connsiteY3" fmla="*/ 4482407 h 4482407"/>
                <a:gd name="connsiteX4" fmla="*/ 0 w 4066498"/>
                <a:gd name="connsiteY4" fmla="*/ 2863075 h 44824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66498" h="4482407">
                  <a:moveTo>
                    <a:pt x="0" y="2863075"/>
                  </a:moveTo>
                  <a:lnTo>
                    <a:pt x="1937533" y="0"/>
                  </a:lnTo>
                  <a:lnTo>
                    <a:pt x="4066498" y="1138176"/>
                  </a:lnTo>
                  <a:lnTo>
                    <a:pt x="3028971" y="4482407"/>
                  </a:lnTo>
                  <a:lnTo>
                    <a:pt x="0" y="2863075"/>
                  </a:lnTo>
                  <a:close/>
                </a:path>
              </a:pathLst>
            </a:custGeom>
            <a:solidFill>
              <a:schemeClr val="bg1">
                <a:lumMod val="95000"/>
              </a:schemeClr>
            </a:solidFill>
            <a:ln w="19050">
              <a:noFill/>
              <a:round/>
              <a:headEnd/>
              <a:tailEnd/>
            </a:ln>
          </p:spPr>
          <p:txBody>
            <a:bodyPr wrap="square" lIns="91440" tIns="45720" rIns="91440" bIns="45720" anchor="ctr">
              <a:normAutofit/>
            </a:bodyPr>
            <a:lstStyle/>
            <a:p>
              <a:pPr algn="ctr"/>
              <a:endParaRPr/>
            </a:p>
          </p:txBody>
        </p:sp>
        <p:sp>
          <p:nvSpPr>
            <p:cNvPr id="9" name="íṡľiḋe">
              <a:extLst>
                <a:ext uri="{FF2B5EF4-FFF2-40B4-BE49-F238E27FC236}">
                  <a16:creationId xmlns:a16="http://schemas.microsoft.com/office/drawing/2014/main" id="{A7954538-23E7-41AB-B62C-B2FF97FD546F}"/>
                </a:ext>
              </a:extLst>
            </p:cNvPr>
            <p:cNvSpPr/>
            <p:nvPr/>
          </p:nvSpPr>
          <p:spPr>
            <a:xfrm rot="10800000" flipV="1">
              <a:off x="1510436" y="3209926"/>
              <a:ext cx="2972566" cy="823924"/>
            </a:xfrm>
            <a:prstGeom prst="rect">
              <a:avLst/>
            </a:prstGeom>
          </p:spPr>
          <p:txBody>
            <a:bodyPr vert="horz" wrap="square" lIns="91440" tIns="45720" rIns="91440" bIns="45720" anchor="ctr">
              <a:normAutofit/>
            </a:bodyPr>
            <a:lstStyle/>
            <a:p>
              <a:pPr algn="ctr"/>
              <a:r>
                <a:rPr lang="en-US" altLang="zh-CN" sz="2800" b="1" i="1" dirty="0"/>
                <a:t>/CONTENT/</a:t>
              </a:r>
            </a:p>
          </p:txBody>
        </p:sp>
        <p:sp>
          <p:nvSpPr>
            <p:cNvPr id="10" name="îśḻíḑé">
              <a:extLst>
                <a:ext uri="{FF2B5EF4-FFF2-40B4-BE49-F238E27FC236}">
                  <a16:creationId xmlns:a16="http://schemas.microsoft.com/office/drawing/2014/main" id="{0DD50FD3-D539-4C38-B316-A64B53D10419}"/>
                </a:ext>
              </a:extLst>
            </p:cNvPr>
            <p:cNvSpPr/>
            <p:nvPr/>
          </p:nvSpPr>
          <p:spPr>
            <a:xfrm>
              <a:off x="6236451" y="5047466"/>
              <a:ext cx="624349" cy="624349"/>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r>
                <a:rPr lang="en-US" altLang="zh-CN">
                  <a:solidFill>
                    <a:schemeClr val="bg1"/>
                  </a:solidFill>
                  <a:latin typeface="Impact" panose="020B0806030902050204" pitchFamily="34" charset="0"/>
                </a:rPr>
                <a:t>05</a:t>
              </a:r>
            </a:p>
          </p:txBody>
        </p:sp>
        <p:sp>
          <p:nvSpPr>
            <p:cNvPr id="11" name="îšḷíḓè">
              <a:extLst>
                <a:ext uri="{FF2B5EF4-FFF2-40B4-BE49-F238E27FC236}">
                  <a16:creationId xmlns:a16="http://schemas.microsoft.com/office/drawing/2014/main" id="{C6FDA5AC-EA83-4E21-BBE8-4D0FD1E907AD}"/>
                </a:ext>
              </a:extLst>
            </p:cNvPr>
            <p:cNvSpPr txBox="1"/>
            <p:nvPr/>
          </p:nvSpPr>
          <p:spPr>
            <a:xfrm>
              <a:off x="6860799" y="4890343"/>
              <a:ext cx="4659689" cy="430545"/>
            </a:xfrm>
            <a:prstGeom prst="rect">
              <a:avLst/>
            </a:prstGeom>
            <a:noFill/>
          </p:spPr>
          <p:txBody>
            <a:bodyPr wrap="square" lIns="91440" tIns="45720" rIns="91440" bIns="45720" anchor="b" anchorCtr="0">
              <a:normAutofit/>
            </a:bodyPr>
            <a:lstStyle/>
            <a:p>
              <a:r>
                <a:rPr lang="en-US" altLang="zh-CN" sz="2000" b="1" dirty="0"/>
                <a:t>Text here</a:t>
              </a:r>
              <a:endParaRPr lang="zh-CN" altLang="en-US" sz="2000" b="1" dirty="0"/>
            </a:p>
          </p:txBody>
        </p:sp>
        <p:sp>
          <p:nvSpPr>
            <p:cNvPr id="12" name="ï$ļîďè">
              <a:extLst>
                <a:ext uri="{FF2B5EF4-FFF2-40B4-BE49-F238E27FC236}">
                  <a16:creationId xmlns:a16="http://schemas.microsoft.com/office/drawing/2014/main" id="{90C0E21A-4F56-4526-B622-7361349C3D2D}"/>
                </a:ext>
              </a:extLst>
            </p:cNvPr>
            <p:cNvSpPr txBox="1"/>
            <p:nvPr/>
          </p:nvSpPr>
          <p:spPr>
            <a:xfrm>
              <a:off x="6860799" y="5320887"/>
              <a:ext cx="4659689" cy="350927"/>
            </a:xfrm>
            <a:prstGeom prst="rect">
              <a:avLst/>
            </a:prstGeom>
          </p:spPr>
          <p:txBody>
            <a:bodyPr vert="horz" wrap="square" lIns="91440" tIns="45720" rIns="91440" bIns="45720" anchor="ctr" anchorCtr="0">
              <a:normAutofit/>
            </a:bodyPr>
            <a:lstStyle/>
            <a:p>
              <a:pPr algn="l">
                <a:lnSpc>
                  <a:spcPct val="120000"/>
                </a:lnSpc>
              </a:pPr>
              <a:r>
                <a:rPr lang="en-US" altLang="zh-CN" sz="1100" dirty="0">
                  <a:solidFill>
                    <a:schemeClr val="dk1">
                      <a:lumMod val="100000"/>
                    </a:schemeClr>
                  </a:solidFill>
                </a:rPr>
                <a:t>Copy paste fonts. Choose the only option to retain text.</a:t>
              </a:r>
              <a:r>
                <a:rPr lang="zh-CN" altLang="en-US" sz="1100" dirty="0">
                  <a:solidFill>
                    <a:schemeClr val="dk1">
                      <a:lumMod val="100000"/>
                    </a:schemeClr>
                  </a:solidFill>
                </a:rPr>
                <a:t> </a:t>
              </a:r>
            </a:p>
          </p:txBody>
        </p:sp>
        <p:sp>
          <p:nvSpPr>
            <p:cNvPr id="13" name="íśļïḓe">
              <a:extLst>
                <a:ext uri="{FF2B5EF4-FFF2-40B4-BE49-F238E27FC236}">
                  <a16:creationId xmlns:a16="http://schemas.microsoft.com/office/drawing/2014/main" id="{C2C39707-4D0B-46C7-9362-8A30EE0FB786}"/>
                </a:ext>
              </a:extLst>
            </p:cNvPr>
            <p:cNvSpPr/>
            <p:nvPr/>
          </p:nvSpPr>
          <p:spPr>
            <a:xfrm>
              <a:off x="6241890" y="4168890"/>
              <a:ext cx="624349" cy="62434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r>
                <a:rPr lang="en-US" altLang="zh-CN">
                  <a:solidFill>
                    <a:schemeClr val="bg1"/>
                  </a:solidFill>
                  <a:latin typeface="Impact" panose="020B0806030902050204" pitchFamily="34" charset="0"/>
                </a:rPr>
                <a:t>04</a:t>
              </a:r>
            </a:p>
          </p:txBody>
        </p:sp>
        <p:sp>
          <p:nvSpPr>
            <p:cNvPr id="14" name="iṧľîḋê">
              <a:extLst>
                <a:ext uri="{FF2B5EF4-FFF2-40B4-BE49-F238E27FC236}">
                  <a16:creationId xmlns:a16="http://schemas.microsoft.com/office/drawing/2014/main" id="{8C12709D-194A-4886-92CF-945A4BD78C38}"/>
                </a:ext>
              </a:extLst>
            </p:cNvPr>
            <p:cNvSpPr txBox="1"/>
            <p:nvPr/>
          </p:nvSpPr>
          <p:spPr>
            <a:xfrm>
              <a:off x="6860799" y="4011767"/>
              <a:ext cx="4659689" cy="430545"/>
            </a:xfrm>
            <a:prstGeom prst="rect">
              <a:avLst/>
            </a:prstGeom>
            <a:noFill/>
          </p:spPr>
          <p:txBody>
            <a:bodyPr wrap="square" lIns="91440" tIns="45720" rIns="91440" bIns="45720" anchor="b" anchorCtr="0">
              <a:normAutofit/>
            </a:bodyPr>
            <a:lstStyle/>
            <a:p>
              <a:r>
                <a:rPr lang="en-US" altLang="zh-CN" sz="2000" b="1" dirty="0"/>
                <a:t>Text here</a:t>
              </a:r>
              <a:endParaRPr lang="zh-CN" altLang="en-US" sz="2000" b="1" dirty="0"/>
            </a:p>
          </p:txBody>
        </p:sp>
        <p:sp>
          <p:nvSpPr>
            <p:cNvPr id="15" name="îṩḻide">
              <a:extLst>
                <a:ext uri="{FF2B5EF4-FFF2-40B4-BE49-F238E27FC236}">
                  <a16:creationId xmlns:a16="http://schemas.microsoft.com/office/drawing/2014/main" id="{86494530-F2A2-4C92-ACBC-85B6EE960DBD}"/>
                </a:ext>
              </a:extLst>
            </p:cNvPr>
            <p:cNvSpPr txBox="1"/>
            <p:nvPr/>
          </p:nvSpPr>
          <p:spPr>
            <a:xfrm>
              <a:off x="6860799" y="4442311"/>
              <a:ext cx="4659689" cy="350927"/>
            </a:xfrm>
            <a:prstGeom prst="rect">
              <a:avLst/>
            </a:prstGeom>
          </p:spPr>
          <p:txBody>
            <a:bodyPr vert="horz" wrap="square" lIns="91440" tIns="45720" rIns="91440" bIns="45720" anchor="ctr" anchorCtr="0">
              <a:normAutofit/>
            </a:bodyPr>
            <a:lstStyle/>
            <a:p>
              <a:pPr algn="l">
                <a:lnSpc>
                  <a:spcPct val="120000"/>
                </a:lnSpc>
              </a:pPr>
              <a:r>
                <a:rPr lang="en-US" altLang="zh-CN" sz="1100" dirty="0">
                  <a:solidFill>
                    <a:schemeClr val="dk1">
                      <a:lumMod val="100000"/>
                    </a:schemeClr>
                  </a:solidFill>
                </a:rPr>
                <a:t>Copy paste fonts. Choose the only option to retain text.</a:t>
              </a:r>
              <a:r>
                <a:rPr lang="zh-CN" altLang="en-US" sz="1100" dirty="0">
                  <a:solidFill>
                    <a:schemeClr val="dk1">
                      <a:lumMod val="100000"/>
                    </a:schemeClr>
                  </a:solidFill>
                </a:rPr>
                <a:t> </a:t>
              </a:r>
            </a:p>
          </p:txBody>
        </p:sp>
        <p:sp>
          <p:nvSpPr>
            <p:cNvPr id="16" name="iṣḷiḑê">
              <a:extLst>
                <a:ext uri="{FF2B5EF4-FFF2-40B4-BE49-F238E27FC236}">
                  <a16:creationId xmlns:a16="http://schemas.microsoft.com/office/drawing/2014/main" id="{258D2B8A-AC0F-46B8-B3E8-339977D2935E}"/>
                </a:ext>
              </a:extLst>
            </p:cNvPr>
            <p:cNvSpPr/>
            <p:nvPr/>
          </p:nvSpPr>
          <p:spPr>
            <a:xfrm>
              <a:off x="6241890" y="3290314"/>
              <a:ext cx="624349" cy="624349"/>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r>
                <a:rPr lang="en-US" altLang="zh-CN">
                  <a:solidFill>
                    <a:schemeClr val="bg1"/>
                  </a:solidFill>
                  <a:latin typeface="Impact" panose="020B0806030902050204" pitchFamily="34" charset="0"/>
                </a:rPr>
                <a:t>03</a:t>
              </a:r>
            </a:p>
          </p:txBody>
        </p:sp>
        <p:sp>
          <p:nvSpPr>
            <p:cNvPr id="17" name="iṡļïḓé">
              <a:extLst>
                <a:ext uri="{FF2B5EF4-FFF2-40B4-BE49-F238E27FC236}">
                  <a16:creationId xmlns:a16="http://schemas.microsoft.com/office/drawing/2014/main" id="{905664A4-3968-4212-B22D-ABC04D3B3E45}"/>
                </a:ext>
              </a:extLst>
            </p:cNvPr>
            <p:cNvSpPr txBox="1"/>
            <p:nvPr/>
          </p:nvSpPr>
          <p:spPr>
            <a:xfrm>
              <a:off x="6860799" y="3133191"/>
              <a:ext cx="4659689" cy="430545"/>
            </a:xfrm>
            <a:prstGeom prst="rect">
              <a:avLst/>
            </a:prstGeom>
            <a:noFill/>
          </p:spPr>
          <p:txBody>
            <a:bodyPr wrap="square" lIns="91440" tIns="45720" rIns="91440" bIns="45720" anchor="b" anchorCtr="0">
              <a:normAutofit/>
            </a:bodyPr>
            <a:lstStyle/>
            <a:p>
              <a:r>
                <a:rPr lang="en-US" altLang="zh-CN" sz="2000" b="1" dirty="0"/>
                <a:t>Text here</a:t>
              </a:r>
              <a:endParaRPr lang="zh-CN" altLang="en-US" sz="2000" b="1" dirty="0"/>
            </a:p>
          </p:txBody>
        </p:sp>
        <p:sp>
          <p:nvSpPr>
            <p:cNvPr id="18" name="îṧľïďê">
              <a:extLst>
                <a:ext uri="{FF2B5EF4-FFF2-40B4-BE49-F238E27FC236}">
                  <a16:creationId xmlns:a16="http://schemas.microsoft.com/office/drawing/2014/main" id="{588ECC7B-DAD7-4BD5-8AE7-2F9D540BA159}"/>
                </a:ext>
              </a:extLst>
            </p:cNvPr>
            <p:cNvSpPr txBox="1"/>
            <p:nvPr/>
          </p:nvSpPr>
          <p:spPr>
            <a:xfrm>
              <a:off x="6860799" y="3563735"/>
              <a:ext cx="4659689" cy="350927"/>
            </a:xfrm>
            <a:prstGeom prst="rect">
              <a:avLst/>
            </a:prstGeom>
          </p:spPr>
          <p:txBody>
            <a:bodyPr vert="horz" wrap="square" lIns="91440" tIns="45720" rIns="91440" bIns="45720" anchor="ctr" anchorCtr="0">
              <a:normAutofit/>
            </a:bodyPr>
            <a:lstStyle/>
            <a:p>
              <a:pPr algn="l">
                <a:lnSpc>
                  <a:spcPct val="120000"/>
                </a:lnSpc>
              </a:pPr>
              <a:r>
                <a:rPr lang="en-US" altLang="zh-CN" sz="1100" dirty="0">
                  <a:solidFill>
                    <a:schemeClr val="dk1">
                      <a:lumMod val="100000"/>
                    </a:schemeClr>
                  </a:solidFill>
                </a:rPr>
                <a:t>Copy paste fonts. Choose the only option to retain text.</a:t>
              </a:r>
              <a:r>
                <a:rPr lang="zh-CN" altLang="en-US" sz="1100" dirty="0">
                  <a:solidFill>
                    <a:schemeClr val="dk1">
                      <a:lumMod val="100000"/>
                    </a:schemeClr>
                  </a:solidFill>
                </a:rPr>
                <a:t> </a:t>
              </a:r>
            </a:p>
          </p:txBody>
        </p:sp>
        <p:sp>
          <p:nvSpPr>
            <p:cNvPr id="19" name="îṧļïḋê">
              <a:extLst>
                <a:ext uri="{FF2B5EF4-FFF2-40B4-BE49-F238E27FC236}">
                  <a16:creationId xmlns:a16="http://schemas.microsoft.com/office/drawing/2014/main" id="{ACE089D2-EF75-49F5-8CC9-18B8039A4B90}"/>
                </a:ext>
              </a:extLst>
            </p:cNvPr>
            <p:cNvSpPr/>
            <p:nvPr/>
          </p:nvSpPr>
          <p:spPr>
            <a:xfrm>
              <a:off x="6241890" y="2411738"/>
              <a:ext cx="624349" cy="624349"/>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47500" lnSpcReduction="20000"/>
            </a:bodyPr>
            <a:lstStyle/>
            <a:p>
              <a:pPr algn="ctr"/>
              <a:r>
                <a:rPr lang="en-US" altLang="zh-CN" dirty="0">
                  <a:solidFill>
                    <a:schemeClr val="bg1"/>
                  </a:solidFill>
                  <a:latin typeface="Impact" panose="020B0806030902050204" pitchFamily="34" charset="0"/>
                </a:rPr>
                <a:t>02</a:t>
              </a:r>
            </a:p>
          </p:txBody>
        </p:sp>
        <p:sp>
          <p:nvSpPr>
            <p:cNvPr id="20" name="íSļïḓe">
              <a:extLst>
                <a:ext uri="{FF2B5EF4-FFF2-40B4-BE49-F238E27FC236}">
                  <a16:creationId xmlns:a16="http://schemas.microsoft.com/office/drawing/2014/main" id="{EF6376D9-4A5A-4036-A965-6E4FD85F76C2}"/>
                </a:ext>
              </a:extLst>
            </p:cNvPr>
            <p:cNvSpPr txBox="1"/>
            <p:nvPr/>
          </p:nvSpPr>
          <p:spPr>
            <a:xfrm>
              <a:off x="6860799" y="2254615"/>
              <a:ext cx="4659689" cy="430545"/>
            </a:xfrm>
            <a:prstGeom prst="rect">
              <a:avLst/>
            </a:prstGeom>
            <a:noFill/>
          </p:spPr>
          <p:txBody>
            <a:bodyPr wrap="square" lIns="91440" tIns="45720" rIns="91440" bIns="45720" anchor="b" anchorCtr="0">
              <a:normAutofit/>
            </a:bodyPr>
            <a:lstStyle/>
            <a:p>
              <a:r>
                <a:rPr lang="en-US" altLang="zh-CN" sz="2000" b="1" dirty="0"/>
                <a:t>Text here</a:t>
              </a:r>
              <a:endParaRPr lang="zh-CN" altLang="en-US" sz="2000" b="1" dirty="0"/>
            </a:p>
          </p:txBody>
        </p:sp>
        <p:sp>
          <p:nvSpPr>
            <p:cNvPr id="21" name="íṧ1íḓè">
              <a:extLst>
                <a:ext uri="{FF2B5EF4-FFF2-40B4-BE49-F238E27FC236}">
                  <a16:creationId xmlns:a16="http://schemas.microsoft.com/office/drawing/2014/main" id="{6F6F89CD-3501-4D48-A79C-00F000070800}"/>
                </a:ext>
              </a:extLst>
            </p:cNvPr>
            <p:cNvSpPr txBox="1"/>
            <p:nvPr/>
          </p:nvSpPr>
          <p:spPr>
            <a:xfrm>
              <a:off x="6860799" y="2685159"/>
              <a:ext cx="4659689" cy="350927"/>
            </a:xfrm>
            <a:prstGeom prst="rect">
              <a:avLst/>
            </a:prstGeom>
          </p:spPr>
          <p:txBody>
            <a:bodyPr vert="horz" wrap="square" lIns="91440" tIns="45720" rIns="91440" bIns="45720" anchor="ctr" anchorCtr="0">
              <a:normAutofit/>
            </a:bodyPr>
            <a:lstStyle/>
            <a:p>
              <a:pPr algn="l">
                <a:lnSpc>
                  <a:spcPct val="120000"/>
                </a:lnSpc>
              </a:pPr>
              <a:r>
                <a:rPr lang="en-US" altLang="zh-CN" sz="1100" dirty="0">
                  <a:solidFill>
                    <a:schemeClr val="dk1">
                      <a:lumMod val="100000"/>
                    </a:schemeClr>
                  </a:solidFill>
                </a:rPr>
                <a:t>Copy paste fonts. Choose the only option to retain text.</a:t>
              </a:r>
              <a:r>
                <a:rPr lang="zh-CN" altLang="en-US" sz="1100" dirty="0">
                  <a:solidFill>
                    <a:schemeClr val="dk1">
                      <a:lumMod val="100000"/>
                    </a:schemeClr>
                  </a:solidFill>
                </a:rPr>
                <a:t> </a:t>
              </a:r>
            </a:p>
          </p:txBody>
        </p:sp>
        <p:sp>
          <p:nvSpPr>
            <p:cNvPr id="22" name="î$ḷïḓè">
              <a:extLst>
                <a:ext uri="{FF2B5EF4-FFF2-40B4-BE49-F238E27FC236}">
                  <a16:creationId xmlns:a16="http://schemas.microsoft.com/office/drawing/2014/main" id="{086494CE-2029-4FCE-9761-FC35C3D3FD38}"/>
                </a:ext>
              </a:extLst>
            </p:cNvPr>
            <p:cNvSpPr/>
            <p:nvPr/>
          </p:nvSpPr>
          <p:spPr>
            <a:xfrm>
              <a:off x="6241892" y="1533162"/>
              <a:ext cx="624349" cy="624349"/>
            </a:xfrm>
            <a:prstGeom prst="diamond">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algn="ctr"/>
              <a:r>
                <a:rPr lang="en-US" altLang="zh-CN">
                  <a:solidFill>
                    <a:schemeClr val="bg1"/>
                  </a:solidFill>
                  <a:latin typeface="Impact" panose="020B0806030902050204" pitchFamily="34" charset="0"/>
                </a:rPr>
                <a:t>01</a:t>
              </a:r>
            </a:p>
          </p:txBody>
        </p:sp>
        <p:sp>
          <p:nvSpPr>
            <p:cNvPr id="23" name="ísḻïďé">
              <a:extLst>
                <a:ext uri="{FF2B5EF4-FFF2-40B4-BE49-F238E27FC236}">
                  <a16:creationId xmlns:a16="http://schemas.microsoft.com/office/drawing/2014/main" id="{E7AFE9E1-F52B-4852-A4FD-EC75943E0855}"/>
                </a:ext>
              </a:extLst>
            </p:cNvPr>
            <p:cNvSpPr txBox="1"/>
            <p:nvPr/>
          </p:nvSpPr>
          <p:spPr>
            <a:xfrm>
              <a:off x="6860799" y="1376039"/>
              <a:ext cx="4659689" cy="430545"/>
            </a:xfrm>
            <a:prstGeom prst="rect">
              <a:avLst/>
            </a:prstGeom>
            <a:noFill/>
          </p:spPr>
          <p:txBody>
            <a:bodyPr wrap="square" lIns="91440" tIns="45720" rIns="91440" bIns="45720" anchor="b" anchorCtr="0">
              <a:normAutofit/>
            </a:bodyPr>
            <a:lstStyle/>
            <a:p>
              <a:r>
                <a:rPr lang="en-US" altLang="zh-CN" sz="2000" b="1" dirty="0"/>
                <a:t>Text here</a:t>
              </a:r>
              <a:endParaRPr lang="zh-CN" altLang="en-US" sz="2000" b="1" dirty="0"/>
            </a:p>
          </p:txBody>
        </p:sp>
        <p:sp>
          <p:nvSpPr>
            <p:cNvPr id="24" name="íšļïḑè">
              <a:extLst>
                <a:ext uri="{FF2B5EF4-FFF2-40B4-BE49-F238E27FC236}">
                  <a16:creationId xmlns:a16="http://schemas.microsoft.com/office/drawing/2014/main" id="{7C9CF96F-5B68-41FE-B813-A35056BA07ED}"/>
                </a:ext>
              </a:extLst>
            </p:cNvPr>
            <p:cNvSpPr txBox="1"/>
            <p:nvPr/>
          </p:nvSpPr>
          <p:spPr>
            <a:xfrm>
              <a:off x="6860799" y="1806583"/>
              <a:ext cx="4659689" cy="350927"/>
            </a:xfrm>
            <a:prstGeom prst="rect">
              <a:avLst/>
            </a:prstGeom>
          </p:spPr>
          <p:txBody>
            <a:bodyPr vert="horz" wrap="square" lIns="91440" tIns="45720" rIns="91440" bIns="45720" anchor="ctr" anchorCtr="0">
              <a:normAutofit/>
            </a:bodyPr>
            <a:lstStyle/>
            <a:p>
              <a:pPr algn="l">
                <a:lnSpc>
                  <a:spcPct val="120000"/>
                </a:lnSpc>
              </a:pPr>
              <a:r>
                <a:rPr lang="en-US" altLang="zh-CN" sz="1100" dirty="0">
                  <a:solidFill>
                    <a:schemeClr val="dk1">
                      <a:lumMod val="100000"/>
                    </a:schemeClr>
                  </a:solidFill>
                </a:rPr>
                <a:t>Copy paste fonts. Choose the only option to retain text.</a:t>
              </a:r>
              <a:r>
                <a:rPr lang="zh-CN" altLang="en-US" sz="1100" dirty="0">
                  <a:solidFill>
                    <a:schemeClr val="dk1">
                      <a:lumMod val="100000"/>
                    </a:schemeClr>
                  </a:solidFill>
                </a:rPr>
                <a:t> </a:t>
              </a:r>
            </a:p>
          </p:txBody>
        </p:sp>
        <p:cxnSp>
          <p:nvCxnSpPr>
            <p:cNvPr id="25" name="直接连接符 24">
              <a:extLst>
                <a:ext uri="{FF2B5EF4-FFF2-40B4-BE49-F238E27FC236}">
                  <a16:creationId xmlns:a16="http://schemas.microsoft.com/office/drawing/2014/main" id="{EC737AF0-8928-455D-BC04-687382919713}"/>
                </a:ext>
              </a:extLst>
            </p:cNvPr>
            <p:cNvCxnSpPr>
              <a:cxnSpLocks/>
            </p:cNvCxnSpPr>
            <p:nvPr/>
          </p:nvCxnSpPr>
          <p:spPr>
            <a:xfrm>
              <a:off x="6860799" y="2216515"/>
              <a:ext cx="4659689"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6" name="直接连接符 25">
              <a:extLst>
                <a:ext uri="{FF2B5EF4-FFF2-40B4-BE49-F238E27FC236}">
                  <a16:creationId xmlns:a16="http://schemas.microsoft.com/office/drawing/2014/main" id="{0F44D9AE-7E32-4F8C-8044-A38AA1904B73}"/>
                </a:ext>
              </a:extLst>
            </p:cNvPr>
            <p:cNvCxnSpPr>
              <a:cxnSpLocks/>
            </p:cNvCxnSpPr>
            <p:nvPr/>
          </p:nvCxnSpPr>
          <p:spPr>
            <a:xfrm>
              <a:off x="6860799" y="3104616"/>
              <a:ext cx="4659689"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203213FC-D856-42A5-954A-C8CA2ABD35DC}"/>
                </a:ext>
              </a:extLst>
            </p:cNvPr>
            <p:cNvCxnSpPr>
              <a:cxnSpLocks/>
            </p:cNvCxnSpPr>
            <p:nvPr/>
          </p:nvCxnSpPr>
          <p:spPr>
            <a:xfrm>
              <a:off x="6860799" y="3999966"/>
              <a:ext cx="4659689"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28" name="直接连接符 27">
              <a:extLst>
                <a:ext uri="{FF2B5EF4-FFF2-40B4-BE49-F238E27FC236}">
                  <a16:creationId xmlns:a16="http://schemas.microsoft.com/office/drawing/2014/main" id="{290EBEAE-CF59-4ACA-AE81-1FA9B87BB513}"/>
                </a:ext>
              </a:extLst>
            </p:cNvPr>
            <p:cNvCxnSpPr>
              <a:cxnSpLocks/>
            </p:cNvCxnSpPr>
            <p:nvPr/>
          </p:nvCxnSpPr>
          <p:spPr>
            <a:xfrm>
              <a:off x="6860799" y="4895316"/>
              <a:ext cx="4659689"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1338539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64C2B05-F65A-4D3B-95EF-705425D56346}"/>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8EA77EAD-31C0-40FD-ACC4-173CA7129D75}"/>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6F5BC4BB-99F6-4422-AA66-D02E08279175}"/>
              </a:ext>
            </a:extLst>
          </p:cNvPr>
          <p:cNvSpPr>
            <a:spLocks noGrp="1"/>
          </p:cNvSpPr>
          <p:nvPr>
            <p:ph type="sldNum" sz="quarter" idx="12"/>
          </p:nvPr>
        </p:nvSpPr>
        <p:spPr/>
        <p:txBody>
          <a:bodyPr/>
          <a:lstStyle/>
          <a:p>
            <a:fld id="{5DD3DB80-B894-403A-B48E-6FDC1A72010E}" type="slidenum">
              <a:rPr lang="zh-CN" altLang="en-US" smtClean="0"/>
              <a:pPr/>
              <a:t>20</a:t>
            </a:fld>
            <a:endParaRPr lang="zh-CN" altLang="en-US"/>
          </a:p>
        </p:txBody>
      </p:sp>
      <p:grpSp>
        <p:nvGrpSpPr>
          <p:cNvPr id="5" name="248052"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3813B77-EAC0-4AC8-89C1-685A483E4DD1}"/>
              </a:ext>
            </a:extLst>
          </p:cNvPr>
          <p:cNvGrpSpPr>
            <a:grpSpLocks noChangeAspect="1"/>
          </p:cNvGrpSpPr>
          <p:nvPr/>
        </p:nvGrpSpPr>
        <p:grpSpPr>
          <a:xfrm>
            <a:off x="673100" y="1612489"/>
            <a:ext cx="10845800" cy="3917993"/>
            <a:chOff x="673100" y="1612489"/>
            <a:chExt cx="10845800" cy="3917993"/>
          </a:xfrm>
        </p:grpSpPr>
        <p:sp>
          <p:nvSpPr>
            <p:cNvPr id="6" name="íS1ïḓe">
              <a:extLst>
                <a:ext uri="{FF2B5EF4-FFF2-40B4-BE49-F238E27FC236}">
                  <a16:creationId xmlns:a16="http://schemas.microsoft.com/office/drawing/2014/main" id="{7BC96343-EA64-4FE2-B1B5-8CDDD69C7311}"/>
                </a:ext>
              </a:extLst>
            </p:cNvPr>
            <p:cNvSpPr/>
            <p:nvPr/>
          </p:nvSpPr>
          <p:spPr>
            <a:xfrm>
              <a:off x="5460069" y="4702872"/>
              <a:ext cx="1685304" cy="827610"/>
            </a:xfrm>
            <a:custGeom>
              <a:avLst/>
              <a:gdLst/>
              <a:ahLst/>
              <a:cxnLst>
                <a:cxn ang="0">
                  <a:pos x="wd2" y="hd2"/>
                </a:cxn>
                <a:cxn ang="5400000">
                  <a:pos x="wd2" y="hd2"/>
                </a:cxn>
                <a:cxn ang="10800000">
                  <a:pos x="wd2" y="hd2"/>
                </a:cxn>
                <a:cxn ang="16200000">
                  <a:pos x="wd2" y="hd2"/>
                </a:cxn>
              </a:cxnLst>
              <a:rect l="0" t="0" r="r" b="b"/>
              <a:pathLst>
                <a:path w="21600" h="21600" extrusionOk="0">
                  <a:moveTo>
                    <a:pt x="17950" y="0"/>
                  </a:moveTo>
                  <a:cubicBezTo>
                    <a:pt x="16358" y="8270"/>
                    <a:pt x="12511" y="13614"/>
                    <a:pt x="8151" y="13614"/>
                  </a:cubicBezTo>
                  <a:cubicBezTo>
                    <a:pt x="6842" y="13614"/>
                    <a:pt x="5553" y="13116"/>
                    <a:pt x="4321" y="12134"/>
                  </a:cubicBezTo>
                  <a:lnTo>
                    <a:pt x="4685" y="10242"/>
                  </a:lnTo>
                  <a:lnTo>
                    <a:pt x="0" y="12967"/>
                  </a:lnTo>
                  <a:lnTo>
                    <a:pt x="2527" y="21453"/>
                  </a:lnTo>
                  <a:lnTo>
                    <a:pt x="2889" y="19569"/>
                  </a:lnTo>
                  <a:cubicBezTo>
                    <a:pt x="4579" y="20916"/>
                    <a:pt x="6349" y="21600"/>
                    <a:pt x="8151" y="21600"/>
                  </a:cubicBezTo>
                  <a:cubicBezTo>
                    <a:pt x="11022" y="21600"/>
                    <a:pt x="13805" y="19874"/>
                    <a:pt x="16199" y="16609"/>
                  </a:cubicBezTo>
                  <a:cubicBezTo>
                    <a:pt x="18651" y="13265"/>
                    <a:pt x="20519" y="8530"/>
                    <a:pt x="21600" y="2916"/>
                  </a:cubicBezTo>
                  <a:cubicBezTo>
                    <a:pt x="21600" y="2916"/>
                    <a:pt x="17950" y="0"/>
                    <a:pt x="17950" y="0"/>
                  </a:cubicBezTo>
                  <a:close/>
                </a:path>
              </a:pathLst>
            </a:custGeom>
            <a:solidFill>
              <a:schemeClr val="bg1">
                <a:lumMod val="95000"/>
              </a:schemeClr>
            </a:solidFill>
            <a:ln w="12700" cap="flat">
              <a:no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228554">
                <a:defRPr sz="3000">
                  <a:solidFill>
                    <a:srgbClr val="FFFFFF"/>
                  </a:solidFill>
                  <a:effectLst>
                    <a:outerShdw blurRad="38100" dist="12700" dir="5400000" rotWithShape="0">
                      <a:srgbClr val="000000">
                        <a:alpha val="50000"/>
                      </a:srgbClr>
                    </a:outerShdw>
                  </a:effectLst>
                </a:defRPr>
              </a:pPr>
              <a:endParaRPr/>
            </a:p>
          </p:txBody>
        </p:sp>
        <p:sp>
          <p:nvSpPr>
            <p:cNvPr id="7" name="iŝ1îdê">
              <a:extLst>
                <a:ext uri="{FF2B5EF4-FFF2-40B4-BE49-F238E27FC236}">
                  <a16:creationId xmlns:a16="http://schemas.microsoft.com/office/drawing/2014/main" id="{77C30A53-EF62-4E63-ADB9-68EB86776971}"/>
                </a:ext>
              </a:extLst>
            </p:cNvPr>
            <p:cNvSpPr/>
            <p:nvPr/>
          </p:nvSpPr>
          <p:spPr>
            <a:xfrm>
              <a:off x="4973318" y="3452265"/>
              <a:ext cx="755320" cy="1652460"/>
            </a:xfrm>
            <a:custGeom>
              <a:avLst/>
              <a:gdLst/>
              <a:ahLst/>
              <a:cxnLst>
                <a:cxn ang="0">
                  <a:pos x="wd2" y="hd2"/>
                </a:cxn>
                <a:cxn ang="5400000">
                  <a:pos x="wd2" y="hd2"/>
                </a:cxn>
                <a:cxn ang="10800000">
                  <a:pos x="wd2" y="hd2"/>
                </a:cxn>
                <a:cxn ang="16200000">
                  <a:pos x="wd2" y="hd2"/>
                </a:cxn>
              </a:cxnLst>
              <a:rect l="0" t="0" r="r" b="b"/>
              <a:pathLst>
                <a:path w="21251" h="21600" extrusionOk="0">
                  <a:moveTo>
                    <a:pt x="13651" y="19106"/>
                  </a:moveTo>
                  <a:cubicBezTo>
                    <a:pt x="7680" y="15628"/>
                    <a:pt x="6914" y="10891"/>
                    <a:pt x="11700" y="7039"/>
                  </a:cubicBezTo>
                  <a:cubicBezTo>
                    <a:pt x="13137" y="5882"/>
                    <a:pt x="15017" y="4869"/>
                    <a:pt x="17285" y="4026"/>
                  </a:cubicBezTo>
                  <a:lnTo>
                    <a:pt x="18651" y="4821"/>
                  </a:lnTo>
                  <a:lnTo>
                    <a:pt x="21251" y="0"/>
                  </a:lnTo>
                  <a:lnTo>
                    <a:pt x="10557" y="107"/>
                  </a:lnTo>
                  <a:lnTo>
                    <a:pt x="11917" y="899"/>
                  </a:lnTo>
                  <a:cubicBezTo>
                    <a:pt x="8805" y="2055"/>
                    <a:pt x="6224" y="3448"/>
                    <a:pt x="4247" y="5039"/>
                  </a:cubicBezTo>
                  <a:cubicBezTo>
                    <a:pt x="1095" y="7576"/>
                    <a:pt x="-349" y="10466"/>
                    <a:pt x="71" y="13399"/>
                  </a:cubicBezTo>
                  <a:cubicBezTo>
                    <a:pt x="500" y="16403"/>
                    <a:pt x="2870" y="19239"/>
                    <a:pt x="6923" y="21600"/>
                  </a:cubicBezTo>
                  <a:cubicBezTo>
                    <a:pt x="6923" y="21600"/>
                    <a:pt x="13651" y="19106"/>
                    <a:pt x="13651" y="19106"/>
                  </a:cubicBezTo>
                  <a:close/>
                </a:path>
              </a:pathLst>
            </a:custGeom>
            <a:solidFill>
              <a:schemeClr val="bg1">
                <a:lumMod val="95000"/>
              </a:schemeClr>
            </a:solidFill>
            <a:ln w="12700" cap="flat">
              <a:no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228554">
                <a:defRPr sz="3000">
                  <a:solidFill>
                    <a:srgbClr val="FFFFFF"/>
                  </a:solidFill>
                  <a:effectLst>
                    <a:outerShdw blurRad="38100" dist="12700" dir="5400000" rotWithShape="0">
                      <a:srgbClr val="000000">
                        <a:alpha val="50000"/>
                      </a:srgbClr>
                    </a:outerShdw>
                  </a:effectLst>
                </a:defRPr>
              </a:pPr>
              <a:endParaRPr/>
            </a:p>
          </p:txBody>
        </p:sp>
        <p:sp>
          <p:nvSpPr>
            <p:cNvPr id="8" name="iṥḻîḋè">
              <a:extLst>
                <a:ext uri="{FF2B5EF4-FFF2-40B4-BE49-F238E27FC236}">
                  <a16:creationId xmlns:a16="http://schemas.microsoft.com/office/drawing/2014/main" id="{002A980F-3631-4C5D-AD3C-0F99C884EC79}"/>
                </a:ext>
              </a:extLst>
            </p:cNvPr>
            <p:cNvSpPr/>
            <p:nvPr/>
          </p:nvSpPr>
          <p:spPr>
            <a:xfrm>
              <a:off x="5927731" y="3280426"/>
              <a:ext cx="1359033" cy="1280159"/>
            </a:xfrm>
            <a:custGeom>
              <a:avLst/>
              <a:gdLst/>
              <a:ahLst/>
              <a:cxnLst>
                <a:cxn ang="0">
                  <a:pos x="wd2" y="hd2"/>
                </a:cxn>
                <a:cxn ang="5400000">
                  <a:pos x="wd2" y="hd2"/>
                </a:cxn>
                <a:cxn ang="10800000">
                  <a:pos x="wd2" y="hd2"/>
                </a:cxn>
                <a:cxn ang="16200000">
                  <a:pos x="wd2" y="hd2"/>
                </a:cxn>
              </a:cxnLst>
              <a:rect l="0" t="0" r="r" b="b"/>
              <a:pathLst>
                <a:path w="21600" h="21240" extrusionOk="0">
                  <a:moveTo>
                    <a:pt x="726" y="5232"/>
                  </a:moveTo>
                  <a:cubicBezTo>
                    <a:pt x="6074" y="4389"/>
                    <a:pt x="11276" y="7004"/>
                    <a:pt x="13980" y="11894"/>
                  </a:cubicBezTo>
                  <a:cubicBezTo>
                    <a:pt x="14791" y="13362"/>
                    <a:pt x="15328" y="14965"/>
                    <a:pt x="15574" y="16659"/>
                  </a:cubicBezTo>
                  <a:lnTo>
                    <a:pt x="14351" y="16852"/>
                  </a:lnTo>
                  <a:lnTo>
                    <a:pt x="18692" y="21240"/>
                  </a:lnTo>
                  <a:lnTo>
                    <a:pt x="21600" y="15709"/>
                  </a:lnTo>
                  <a:lnTo>
                    <a:pt x="20382" y="15901"/>
                  </a:lnTo>
                  <a:cubicBezTo>
                    <a:pt x="20044" y="13578"/>
                    <a:pt x="19307" y="11376"/>
                    <a:pt x="18190" y="9356"/>
                  </a:cubicBezTo>
                  <a:cubicBezTo>
                    <a:pt x="16410" y="6136"/>
                    <a:pt x="13775" y="3564"/>
                    <a:pt x="10569" y="1917"/>
                  </a:cubicBezTo>
                  <a:cubicBezTo>
                    <a:pt x="7285" y="229"/>
                    <a:pt x="3630" y="-360"/>
                    <a:pt x="0" y="212"/>
                  </a:cubicBezTo>
                  <a:cubicBezTo>
                    <a:pt x="0" y="212"/>
                    <a:pt x="726" y="5232"/>
                    <a:pt x="726" y="5232"/>
                  </a:cubicBezTo>
                  <a:close/>
                </a:path>
              </a:pathLst>
            </a:custGeom>
            <a:solidFill>
              <a:schemeClr val="bg1">
                <a:lumMod val="95000"/>
              </a:schemeClr>
            </a:solidFill>
            <a:ln w="12700" cap="flat">
              <a:no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defTabSz="228554">
                <a:defRPr sz="3000">
                  <a:solidFill>
                    <a:srgbClr val="FFFFFF"/>
                  </a:solidFill>
                  <a:effectLst>
                    <a:outerShdw blurRad="38100" dist="12700" dir="5400000" rotWithShape="0">
                      <a:srgbClr val="000000">
                        <a:alpha val="50000"/>
                      </a:srgbClr>
                    </a:outerShdw>
                  </a:effectLst>
                </a:defRPr>
              </a:pPr>
              <a:endParaRPr/>
            </a:p>
          </p:txBody>
        </p:sp>
        <p:grpSp>
          <p:nvGrpSpPr>
            <p:cNvPr id="9" name="i$ľîḍê">
              <a:extLst>
                <a:ext uri="{FF2B5EF4-FFF2-40B4-BE49-F238E27FC236}">
                  <a16:creationId xmlns:a16="http://schemas.microsoft.com/office/drawing/2014/main" id="{F50F328C-2DD6-476E-A296-E5C2903F503A}"/>
                </a:ext>
              </a:extLst>
            </p:cNvPr>
            <p:cNvGrpSpPr/>
            <p:nvPr/>
          </p:nvGrpSpPr>
          <p:grpSpPr>
            <a:xfrm>
              <a:off x="5681840" y="2979255"/>
              <a:ext cx="828320" cy="828508"/>
              <a:chOff x="5681840" y="2979255"/>
              <a:chExt cx="828320" cy="828508"/>
            </a:xfrm>
          </p:grpSpPr>
          <p:sp>
            <p:nvSpPr>
              <p:cNvPr id="25" name="ïsľîḑé">
                <a:extLst>
                  <a:ext uri="{FF2B5EF4-FFF2-40B4-BE49-F238E27FC236}">
                    <a16:creationId xmlns:a16="http://schemas.microsoft.com/office/drawing/2014/main" id="{EC6A541D-F9F9-4BAA-B211-B6E18CA058D3}"/>
                  </a:ext>
                </a:extLst>
              </p:cNvPr>
              <p:cNvSpPr/>
              <p:nvPr/>
            </p:nvSpPr>
            <p:spPr>
              <a:xfrm>
                <a:off x="5681840" y="2979255"/>
                <a:ext cx="828320" cy="828508"/>
              </a:xfrm>
              <a:custGeom>
                <a:avLst/>
                <a:gdLst/>
                <a:ahLst/>
                <a:cxnLst>
                  <a:cxn ang="0">
                    <a:pos x="wd2" y="hd2"/>
                  </a:cxn>
                  <a:cxn ang="5400000">
                    <a:pos x="wd2" y="hd2"/>
                  </a:cxn>
                  <a:cxn ang="10800000">
                    <a:pos x="wd2" y="hd2"/>
                  </a:cxn>
                  <a:cxn ang="16200000">
                    <a:pos x="wd2" y="hd2"/>
                  </a:cxn>
                </a:cxnLst>
                <a:rect l="0" t="0" r="r" b="b"/>
                <a:pathLst>
                  <a:path w="21600" h="21600" extrusionOk="0">
                    <a:moveTo>
                      <a:pt x="0" y="10800"/>
                    </a:moveTo>
                    <a:cubicBezTo>
                      <a:pt x="0" y="4835"/>
                      <a:pt x="4836" y="0"/>
                      <a:pt x="10800" y="0"/>
                    </a:cubicBezTo>
                    <a:cubicBezTo>
                      <a:pt x="16765" y="0"/>
                      <a:pt x="21600" y="4835"/>
                      <a:pt x="21600" y="10800"/>
                    </a:cubicBezTo>
                    <a:cubicBezTo>
                      <a:pt x="21600" y="16764"/>
                      <a:pt x="16765" y="21600"/>
                      <a:pt x="10800" y="21600"/>
                    </a:cubicBezTo>
                    <a:cubicBezTo>
                      <a:pt x="4836" y="21600"/>
                      <a:pt x="0" y="16764"/>
                      <a:pt x="0" y="10800"/>
                    </a:cubicBezTo>
                    <a:close/>
                  </a:path>
                </a:pathLst>
              </a:custGeom>
              <a:solidFill>
                <a:schemeClr val="accent2"/>
              </a:solidFill>
              <a:ln w="38100" cap="flat">
                <a:solidFill>
                  <a:schemeClr val="bg1"/>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a:p>
            </p:txBody>
          </p:sp>
          <p:sp>
            <p:nvSpPr>
              <p:cNvPr id="26" name="ïSľiḋe">
                <a:extLst>
                  <a:ext uri="{FF2B5EF4-FFF2-40B4-BE49-F238E27FC236}">
                    <a16:creationId xmlns:a16="http://schemas.microsoft.com/office/drawing/2014/main" id="{FBB80D5D-6262-449A-B009-54FED808D474}"/>
                  </a:ext>
                </a:extLst>
              </p:cNvPr>
              <p:cNvSpPr/>
              <p:nvPr/>
            </p:nvSpPr>
            <p:spPr>
              <a:xfrm>
                <a:off x="5903703" y="3139657"/>
                <a:ext cx="384594" cy="507704"/>
              </a:xfrm>
              <a:custGeom>
                <a:avLst/>
                <a:gdLst>
                  <a:gd name="connsiteX0" fmla="*/ 55845 w 426738"/>
                  <a:gd name="connsiteY0" fmla="*/ 536580 h 563337"/>
                  <a:gd name="connsiteX1" fmla="*/ 371677 w 426738"/>
                  <a:gd name="connsiteY1" fmla="*/ 536580 h 563337"/>
                  <a:gd name="connsiteX2" fmla="*/ 371677 w 426738"/>
                  <a:gd name="connsiteY2" fmla="*/ 563337 h 563337"/>
                  <a:gd name="connsiteX3" fmla="*/ 55845 w 426738"/>
                  <a:gd name="connsiteY3" fmla="*/ 563337 h 563337"/>
                  <a:gd name="connsiteX4" fmla="*/ 113334 w 426738"/>
                  <a:gd name="connsiteY4" fmla="*/ 402793 h 563337"/>
                  <a:gd name="connsiteX5" fmla="*/ 321984 w 426738"/>
                  <a:gd name="connsiteY5" fmla="*/ 402793 h 563337"/>
                  <a:gd name="connsiteX6" fmla="*/ 321984 w 426738"/>
                  <a:gd name="connsiteY6" fmla="*/ 523679 h 563337"/>
                  <a:gd name="connsiteX7" fmla="*/ 318010 w 426738"/>
                  <a:gd name="connsiteY7" fmla="*/ 523679 h 563337"/>
                  <a:gd name="connsiteX8" fmla="*/ 113334 w 426738"/>
                  <a:gd name="connsiteY8" fmla="*/ 523679 h 563337"/>
                  <a:gd name="connsiteX9" fmla="*/ 290306 w 426738"/>
                  <a:gd name="connsiteY9" fmla="*/ 252920 h 563337"/>
                  <a:gd name="connsiteX10" fmla="*/ 339972 w 426738"/>
                  <a:gd name="connsiteY10" fmla="*/ 261846 h 563337"/>
                  <a:gd name="connsiteX11" fmla="*/ 366791 w 426738"/>
                  <a:gd name="connsiteY11" fmla="*/ 287633 h 563337"/>
                  <a:gd name="connsiteX12" fmla="*/ 425397 w 426738"/>
                  <a:gd name="connsiteY12" fmla="*/ 480040 h 563337"/>
                  <a:gd name="connsiteX13" fmla="*/ 419437 w 426738"/>
                  <a:gd name="connsiteY13" fmla="*/ 510786 h 563337"/>
                  <a:gd name="connsiteX14" fmla="*/ 391624 w 426738"/>
                  <a:gd name="connsiteY14" fmla="*/ 523679 h 563337"/>
                  <a:gd name="connsiteX15" fmla="*/ 350898 w 426738"/>
                  <a:gd name="connsiteY15" fmla="*/ 523679 h 563337"/>
                  <a:gd name="connsiteX16" fmla="*/ 350898 w 426738"/>
                  <a:gd name="connsiteY16" fmla="*/ 387804 h 563337"/>
                  <a:gd name="connsiteX17" fmla="*/ 335999 w 426738"/>
                  <a:gd name="connsiteY17" fmla="*/ 373919 h 563337"/>
                  <a:gd name="connsiteX18" fmla="*/ 222760 w 426738"/>
                  <a:gd name="connsiteY18" fmla="*/ 373919 h 563337"/>
                  <a:gd name="connsiteX19" fmla="*/ 137229 w 426738"/>
                  <a:gd name="connsiteY19" fmla="*/ 251965 h 563337"/>
                  <a:gd name="connsiteX20" fmla="*/ 204762 w 426738"/>
                  <a:gd name="connsiteY20" fmla="*/ 373939 h 563337"/>
                  <a:gd name="connsiteX21" fmla="*/ 98496 w 426738"/>
                  <a:gd name="connsiteY21" fmla="*/ 373939 h 563337"/>
                  <a:gd name="connsiteX22" fmla="*/ 84592 w 426738"/>
                  <a:gd name="connsiteY22" fmla="*/ 387822 h 563337"/>
                  <a:gd name="connsiteX23" fmla="*/ 84592 w 426738"/>
                  <a:gd name="connsiteY23" fmla="*/ 523679 h 563337"/>
                  <a:gd name="connsiteX24" fmla="*/ 34935 w 426738"/>
                  <a:gd name="connsiteY24" fmla="*/ 523679 h 563337"/>
                  <a:gd name="connsiteX25" fmla="*/ 7127 w 426738"/>
                  <a:gd name="connsiteY25" fmla="*/ 510787 h 563337"/>
                  <a:gd name="connsiteX26" fmla="*/ 1168 w 426738"/>
                  <a:gd name="connsiteY26" fmla="*/ 480046 h 563337"/>
                  <a:gd name="connsiteX27" fmla="*/ 60757 w 426738"/>
                  <a:gd name="connsiteY27" fmla="*/ 287665 h 563337"/>
                  <a:gd name="connsiteX28" fmla="*/ 87571 w 426738"/>
                  <a:gd name="connsiteY28" fmla="*/ 262873 h 563337"/>
                  <a:gd name="connsiteX29" fmla="*/ 151134 w 426738"/>
                  <a:gd name="connsiteY29" fmla="*/ 119058 h 563337"/>
                  <a:gd name="connsiteX30" fmla="*/ 140207 w 426738"/>
                  <a:gd name="connsiteY30" fmla="*/ 143862 h 563337"/>
                  <a:gd name="connsiteX31" fmla="*/ 136233 w 426738"/>
                  <a:gd name="connsiteY31" fmla="*/ 145847 h 563337"/>
                  <a:gd name="connsiteX32" fmla="*/ 119345 w 426738"/>
                  <a:gd name="connsiteY32" fmla="*/ 142870 h 563337"/>
                  <a:gd name="connsiteX33" fmla="*/ 115371 w 426738"/>
                  <a:gd name="connsiteY33" fmla="*/ 146839 h 563337"/>
                  <a:gd name="connsiteX34" fmla="*/ 114378 w 426738"/>
                  <a:gd name="connsiteY34" fmla="*/ 160729 h 563337"/>
                  <a:gd name="connsiteX35" fmla="*/ 116365 w 426738"/>
                  <a:gd name="connsiteY35" fmla="*/ 166682 h 563337"/>
                  <a:gd name="connsiteX36" fmla="*/ 122325 w 426738"/>
                  <a:gd name="connsiteY36" fmla="*/ 177596 h 563337"/>
                  <a:gd name="connsiteX37" fmla="*/ 125306 w 426738"/>
                  <a:gd name="connsiteY37" fmla="*/ 181564 h 563337"/>
                  <a:gd name="connsiteX38" fmla="*/ 213719 w 426738"/>
                  <a:gd name="connsiteY38" fmla="*/ 261929 h 563337"/>
                  <a:gd name="connsiteX39" fmla="*/ 300146 w 426738"/>
                  <a:gd name="connsiteY39" fmla="*/ 181564 h 563337"/>
                  <a:gd name="connsiteX40" fmla="*/ 303126 w 426738"/>
                  <a:gd name="connsiteY40" fmla="*/ 176603 h 563337"/>
                  <a:gd name="connsiteX41" fmla="*/ 309087 w 426738"/>
                  <a:gd name="connsiteY41" fmla="*/ 165690 h 563337"/>
                  <a:gd name="connsiteX42" fmla="*/ 311073 w 426738"/>
                  <a:gd name="connsiteY42" fmla="*/ 160729 h 563337"/>
                  <a:gd name="connsiteX43" fmla="*/ 310080 w 426738"/>
                  <a:gd name="connsiteY43" fmla="*/ 145847 h 563337"/>
                  <a:gd name="connsiteX44" fmla="*/ 306106 w 426738"/>
                  <a:gd name="connsiteY44" fmla="*/ 141878 h 563337"/>
                  <a:gd name="connsiteX45" fmla="*/ 286238 w 426738"/>
                  <a:gd name="connsiteY45" fmla="*/ 147831 h 563337"/>
                  <a:gd name="connsiteX46" fmla="*/ 285245 w 426738"/>
                  <a:gd name="connsiteY46" fmla="*/ 147831 h 563337"/>
                  <a:gd name="connsiteX47" fmla="*/ 281271 w 426738"/>
                  <a:gd name="connsiteY47" fmla="*/ 145847 h 563337"/>
                  <a:gd name="connsiteX48" fmla="*/ 274317 w 426738"/>
                  <a:gd name="connsiteY48" fmla="*/ 128980 h 563337"/>
                  <a:gd name="connsiteX49" fmla="*/ 246502 w 426738"/>
                  <a:gd name="connsiteY49" fmla="*/ 131957 h 563337"/>
                  <a:gd name="connsiteX50" fmla="*/ 151134 w 426738"/>
                  <a:gd name="connsiteY50" fmla="*/ 119058 h 563337"/>
                  <a:gd name="connsiteX51" fmla="*/ 212726 w 426738"/>
                  <a:gd name="connsiteY51" fmla="*/ 0 h 563337"/>
                  <a:gd name="connsiteX52" fmla="*/ 320014 w 426738"/>
                  <a:gd name="connsiteY52" fmla="*/ 133941 h 563337"/>
                  <a:gd name="connsiteX53" fmla="*/ 320014 w 426738"/>
                  <a:gd name="connsiteY53" fmla="*/ 134933 h 563337"/>
                  <a:gd name="connsiteX54" fmla="*/ 323988 w 426738"/>
                  <a:gd name="connsiteY54" fmla="*/ 166682 h 563337"/>
                  <a:gd name="connsiteX55" fmla="*/ 322001 w 426738"/>
                  <a:gd name="connsiteY55" fmla="*/ 171643 h 563337"/>
                  <a:gd name="connsiteX56" fmla="*/ 313060 w 426738"/>
                  <a:gd name="connsiteY56" fmla="*/ 187517 h 563337"/>
                  <a:gd name="connsiteX57" fmla="*/ 213719 w 426738"/>
                  <a:gd name="connsiteY57" fmla="*/ 276811 h 563337"/>
                  <a:gd name="connsiteX58" fmla="*/ 112391 w 426738"/>
                  <a:gd name="connsiteY58" fmla="*/ 188509 h 563337"/>
                  <a:gd name="connsiteX59" fmla="*/ 103451 w 426738"/>
                  <a:gd name="connsiteY59" fmla="*/ 171643 h 563337"/>
                  <a:gd name="connsiteX60" fmla="*/ 101464 w 426738"/>
                  <a:gd name="connsiteY60" fmla="*/ 167674 h 563337"/>
                  <a:gd name="connsiteX61" fmla="*/ 105437 w 426738"/>
                  <a:gd name="connsiteY61" fmla="*/ 135925 h 563337"/>
                  <a:gd name="connsiteX62" fmla="*/ 105437 w 426738"/>
                  <a:gd name="connsiteY62" fmla="*/ 133941 h 563337"/>
                  <a:gd name="connsiteX63" fmla="*/ 212726 w 426738"/>
                  <a:gd name="connsiteY63" fmla="*/ 0 h 5633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426738" h="563337">
                    <a:moveTo>
                      <a:pt x="55845" y="536580"/>
                    </a:moveTo>
                    <a:lnTo>
                      <a:pt x="371677" y="536580"/>
                    </a:lnTo>
                    <a:lnTo>
                      <a:pt x="371677" y="563337"/>
                    </a:lnTo>
                    <a:lnTo>
                      <a:pt x="55845" y="563337"/>
                    </a:lnTo>
                    <a:close/>
                    <a:moveTo>
                      <a:pt x="113334" y="402793"/>
                    </a:moveTo>
                    <a:lnTo>
                      <a:pt x="321984" y="402793"/>
                    </a:lnTo>
                    <a:lnTo>
                      <a:pt x="321984" y="523679"/>
                    </a:lnTo>
                    <a:lnTo>
                      <a:pt x="318010" y="523679"/>
                    </a:lnTo>
                    <a:lnTo>
                      <a:pt x="113334" y="523679"/>
                    </a:lnTo>
                    <a:close/>
                    <a:moveTo>
                      <a:pt x="290306" y="252920"/>
                    </a:moveTo>
                    <a:lnTo>
                      <a:pt x="339972" y="261846"/>
                    </a:lnTo>
                    <a:cubicBezTo>
                      <a:pt x="352885" y="264821"/>
                      <a:pt x="363812" y="274739"/>
                      <a:pt x="366791" y="287633"/>
                    </a:cubicBezTo>
                    <a:lnTo>
                      <a:pt x="425397" y="480040"/>
                    </a:lnTo>
                    <a:cubicBezTo>
                      <a:pt x="428377" y="490950"/>
                      <a:pt x="426391" y="501860"/>
                      <a:pt x="419437" y="510786"/>
                    </a:cubicBezTo>
                    <a:cubicBezTo>
                      <a:pt x="413477" y="518720"/>
                      <a:pt x="402551" y="523679"/>
                      <a:pt x="391624" y="523679"/>
                    </a:cubicBezTo>
                    <a:lnTo>
                      <a:pt x="350898" y="523679"/>
                    </a:lnTo>
                    <a:lnTo>
                      <a:pt x="350898" y="387804"/>
                    </a:lnTo>
                    <a:lnTo>
                      <a:pt x="335999" y="373919"/>
                    </a:lnTo>
                    <a:lnTo>
                      <a:pt x="222760" y="373919"/>
                    </a:lnTo>
                    <a:close/>
                    <a:moveTo>
                      <a:pt x="137229" y="251965"/>
                    </a:moveTo>
                    <a:lnTo>
                      <a:pt x="204762" y="373939"/>
                    </a:lnTo>
                    <a:lnTo>
                      <a:pt x="98496" y="373939"/>
                    </a:lnTo>
                    <a:lnTo>
                      <a:pt x="84592" y="387822"/>
                    </a:lnTo>
                    <a:lnTo>
                      <a:pt x="84592" y="523679"/>
                    </a:lnTo>
                    <a:lnTo>
                      <a:pt x="34935" y="523679"/>
                    </a:lnTo>
                    <a:cubicBezTo>
                      <a:pt x="24010" y="523679"/>
                      <a:pt x="14079" y="518721"/>
                      <a:pt x="7127" y="510787"/>
                    </a:cubicBezTo>
                    <a:cubicBezTo>
                      <a:pt x="1168" y="501863"/>
                      <a:pt x="-1811" y="490954"/>
                      <a:pt x="1168" y="480046"/>
                    </a:cubicBezTo>
                    <a:lnTo>
                      <a:pt x="60757" y="287665"/>
                    </a:lnTo>
                    <a:cubicBezTo>
                      <a:pt x="63736" y="274773"/>
                      <a:pt x="74660" y="264857"/>
                      <a:pt x="87571" y="262873"/>
                    </a:cubicBezTo>
                    <a:close/>
                    <a:moveTo>
                      <a:pt x="151134" y="119058"/>
                    </a:moveTo>
                    <a:lnTo>
                      <a:pt x="140207" y="143862"/>
                    </a:lnTo>
                    <a:cubicBezTo>
                      <a:pt x="139213" y="144855"/>
                      <a:pt x="138220" y="145847"/>
                      <a:pt x="136233" y="145847"/>
                    </a:cubicBezTo>
                    <a:lnTo>
                      <a:pt x="119345" y="142870"/>
                    </a:lnTo>
                    <a:cubicBezTo>
                      <a:pt x="118352" y="144855"/>
                      <a:pt x="117358" y="145847"/>
                      <a:pt x="115371" y="146839"/>
                    </a:cubicBezTo>
                    <a:cubicBezTo>
                      <a:pt x="112391" y="147831"/>
                      <a:pt x="111398" y="154776"/>
                      <a:pt x="114378" y="160729"/>
                    </a:cubicBezTo>
                    <a:cubicBezTo>
                      <a:pt x="115371" y="162713"/>
                      <a:pt x="115371" y="164698"/>
                      <a:pt x="116365" y="166682"/>
                    </a:cubicBezTo>
                    <a:cubicBezTo>
                      <a:pt x="118352" y="169658"/>
                      <a:pt x="120339" y="175611"/>
                      <a:pt x="122325" y="177596"/>
                    </a:cubicBezTo>
                    <a:cubicBezTo>
                      <a:pt x="123319" y="178588"/>
                      <a:pt x="125306" y="179580"/>
                      <a:pt x="125306" y="181564"/>
                    </a:cubicBezTo>
                    <a:cubicBezTo>
                      <a:pt x="139213" y="229188"/>
                      <a:pt x="174976" y="261929"/>
                      <a:pt x="213719" y="261929"/>
                    </a:cubicBezTo>
                    <a:cubicBezTo>
                      <a:pt x="251469" y="261929"/>
                      <a:pt x="287232" y="228195"/>
                      <a:pt x="300146" y="181564"/>
                    </a:cubicBezTo>
                    <a:cubicBezTo>
                      <a:pt x="300146" y="179580"/>
                      <a:pt x="302133" y="177596"/>
                      <a:pt x="303126" y="176603"/>
                    </a:cubicBezTo>
                    <a:cubicBezTo>
                      <a:pt x="305113" y="174619"/>
                      <a:pt x="307100" y="168666"/>
                      <a:pt x="309087" y="165690"/>
                    </a:cubicBezTo>
                    <a:cubicBezTo>
                      <a:pt x="309087" y="163705"/>
                      <a:pt x="310080" y="161721"/>
                      <a:pt x="311073" y="160729"/>
                    </a:cubicBezTo>
                    <a:cubicBezTo>
                      <a:pt x="314054" y="153784"/>
                      <a:pt x="313060" y="147831"/>
                      <a:pt x="310080" y="145847"/>
                    </a:cubicBezTo>
                    <a:cubicBezTo>
                      <a:pt x="308093" y="144855"/>
                      <a:pt x="306106" y="143862"/>
                      <a:pt x="306106" y="141878"/>
                    </a:cubicBezTo>
                    <a:lnTo>
                      <a:pt x="286238" y="147831"/>
                    </a:lnTo>
                    <a:cubicBezTo>
                      <a:pt x="285245" y="147831"/>
                      <a:pt x="285245" y="147831"/>
                      <a:pt x="285245" y="147831"/>
                    </a:cubicBezTo>
                    <a:cubicBezTo>
                      <a:pt x="283258" y="147831"/>
                      <a:pt x="282265" y="146839"/>
                      <a:pt x="281271" y="145847"/>
                    </a:cubicBezTo>
                    <a:lnTo>
                      <a:pt x="274317" y="128980"/>
                    </a:lnTo>
                    <a:cubicBezTo>
                      <a:pt x="267363" y="130964"/>
                      <a:pt x="257429" y="131957"/>
                      <a:pt x="246502" y="131957"/>
                    </a:cubicBezTo>
                    <a:cubicBezTo>
                      <a:pt x="209746" y="131957"/>
                      <a:pt x="163055" y="122035"/>
                      <a:pt x="151134" y="119058"/>
                    </a:cubicBezTo>
                    <a:close/>
                    <a:moveTo>
                      <a:pt x="212726" y="0"/>
                    </a:moveTo>
                    <a:cubicBezTo>
                      <a:pt x="311073" y="0"/>
                      <a:pt x="320014" y="68459"/>
                      <a:pt x="320014" y="133941"/>
                    </a:cubicBezTo>
                    <a:lnTo>
                      <a:pt x="320014" y="134933"/>
                    </a:lnTo>
                    <a:cubicBezTo>
                      <a:pt x="327961" y="140886"/>
                      <a:pt x="329948" y="154776"/>
                      <a:pt x="323988" y="166682"/>
                    </a:cubicBezTo>
                    <a:cubicBezTo>
                      <a:pt x="323988" y="167674"/>
                      <a:pt x="322994" y="169658"/>
                      <a:pt x="322001" y="171643"/>
                    </a:cubicBezTo>
                    <a:cubicBezTo>
                      <a:pt x="319021" y="178588"/>
                      <a:pt x="317034" y="184541"/>
                      <a:pt x="313060" y="187517"/>
                    </a:cubicBezTo>
                    <a:cubicBezTo>
                      <a:pt x="298159" y="240101"/>
                      <a:pt x="257429" y="275819"/>
                      <a:pt x="213719" y="276811"/>
                    </a:cubicBezTo>
                    <a:cubicBezTo>
                      <a:pt x="170009" y="276811"/>
                      <a:pt x="128286" y="240101"/>
                      <a:pt x="112391" y="188509"/>
                    </a:cubicBezTo>
                    <a:cubicBezTo>
                      <a:pt x="108418" y="184541"/>
                      <a:pt x="106431" y="179580"/>
                      <a:pt x="103451" y="171643"/>
                    </a:cubicBezTo>
                    <a:cubicBezTo>
                      <a:pt x="102457" y="170651"/>
                      <a:pt x="101464" y="168666"/>
                      <a:pt x="101464" y="167674"/>
                    </a:cubicBezTo>
                    <a:cubicBezTo>
                      <a:pt x="95503" y="154776"/>
                      <a:pt x="97490" y="141878"/>
                      <a:pt x="105437" y="135925"/>
                    </a:cubicBezTo>
                    <a:cubicBezTo>
                      <a:pt x="105437" y="134933"/>
                      <a:pt x="105437" y="134933"/>
                      <a:pt x="105437" y="133941"/>
                    </a:cubicBezTo>
                    <a:cubicBezTo>
                      <a:pt x="105437" y="66474"/>
                      <a:pt x="113385" y="0"/>
                      <a:pt x="212726" y="0"/>
                    </a:cubicBezTo>
                    <a:close/>
                  </a:path>
                </a:pathLst>
              </a:custGeom>
              <a:solidFill>
                <a:schemeClr val="bg1"/>
              </a:solidFill>
              <a:ln w="381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a:p>
            </p:txBody>
          </p:sp>
        </p:grpSp>
        <p:grpSp>
          <p:nvGrpSpPr>
            <p:cNvPr id="10" name="ïṩļîḑè">
              <a:extLst>
                <a:ext uri="{FF2B5EF4-FFF2-40B4-BE49-F238E27FC236}">
                  <a16:creationId xmlns:a16="http://schemas.microsoft.com/office/drawing/2014/main" id="{10D2FA3C-36B3-4928-AED5-847BAAC7EE85}"/>
                </a:ext>
              </a:extLst>
            </p:cNvPr>
            <p:cNvGrpSpPr/>
            <p:nvPr/>
          </p:nvGrpSpPr>
          <p:grpSpPr>
            <a:xfrm>
              <a:off x="6553309" y="4493595"/>
              <a:ext cx="828438" cy="828658"/>
              <a:chOff x="6553309" y="4493595"/>
              <a:chExt cx="828438" cy="828658"/>
            </a:xfrm>
          </p:grpSpPr>
          <p:sp>
            <p:nvSpPr>
              <p:cNvPr id="23" name="ïśḻïḋé">
                <a:extLst>
                  <a:ext uri="{FF2B5EF4-FFF2-40B4-BE49-F238E27FC236}">
                    <a16:creationId xmlns:a16="http://schemas.microsoft.com/office/drawing/2014/main" id="{9BD74B37-6688-4294-A9A8-87B9B4DCA23C}"/>
                  </a:ext>
                </a:extLst>
              </p:cNvPr>
              <p:cNvSpPr/>
              <p:nvPr/>
            </p:nvSpPr>
            <p:spPr>
              <a:xfrm>
                <a:off x="6553309" y="4493595"/>
                <a:ext cx="828438" cy="828658"/>
              </a:xfrm>
              <a:custGeom>
                <a:avLst/>
                <a:gdLst/>
                <a:ahLst/>
                <a:cxnLst>
                  <a:cxn ang="0">
                    <a:pos x="wd2" y="hd2"/>
                  </a:cxn>
                  <a:cxn ang="5400000">
                    <a:pos x="wd2" y="hd2"/>
                  </a:cxn>
                  <a:cxn ang="10800000">
                    <a:pos x="wd2" y="hd2"/>
                  </a:cxn>
                  <a:cxn ang="16200000">
                    <a:pos x="wd2" y="hd2"/>
                  </a:cxn>
                </a:cxnLst>
                <a:rect l="0" t="0" r="r" b="b"/>
                <a:pathLst>
                  <a:path w="18915" h="18915" extrusionOk="0">
                    <a:moveTo>
                      <a:pt x="14184" y="1268"/>
                    </a:moveTo>
                    <a:cubicBezTo>
                      <a:pt x="18708" y="3879"/>
                      <a:pt x="20257" y="9663"/>
                      <a:pt x="17646" y="14185"/>
                    </a:cubicBezTo>
                    <a:cubicBezTo>
                      <a:pt x="15035" y="18708"/>
                      <a:pt x="9252" y="20257"/>
                      <a:pt x="4729" y="17646"/>
                    </a:cubicBezTo>
                    <a:cubicBezTo>
                      <a:pt x="206" y="15035"/>
                      <a:pt x="-1343" y="9252"/>
                      <a:pt x="1268" y="4729"/>
                    </a:cubicBezTo>
                    <a:cubicBezTo>
                      <a:pt x="3879" y="207"/>
                      <a:pt x="9662" y="-1343"/>
                      <a:pt x="14184" y="1268"/>
                    </a:cubicBezTo>
                    <a:close/>
                  </a:path>
                </a:pathLst>
              </a:custGeom>
              <a:solidFill>
                <a:schemeClr val="accent1"/>
              </a:solidFill>
              <a:ln w="38100" cap="flat">
                <a:solidFill>
                  <a:schemeClr val="bg1"/>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a:p>
            </p:txBody>
          </p:sp>
          <p:sp>
            <p:nvSpPr>
              <p:cNvPr id="24" name="îṩliḓè">
                <a:extLst>
                  <a:ext uri="{FF2B5EF4-FFF2-40B4-BE49-F238E27FC236}">
                    <a16:creationId xmlns:a16="http://schemas.microsoft.com/office/drawing/2014/main" id="{EE13E2BE-3701-45C6-B635-764BFE833C00}"/>
                  </a:ext>
                </a:extLst>
              </p:cNvPr>
              <p:cNvSpPr/>
              <p:nvPr/>
            </p:nvSpPr>
            <p:spPr>
              <a:xfrm>
                <a:off x="6755658" y="4710449"/>
                <a:ext cx="423740" cy="394950"/>
              </a:xfrm>
              <a:custGeom>
                <a:avLst/>
                <a:gdLst>
                  <a:gd name="connsiteX0" fmla="*/ 103209 w 600657"/>
                  <a:gd name="connsiteY0" fmla="*/ 435200 h 559848"/>
                  <a:gd name="connsiteX1" fmla="*/ 103209 w 600657"/>
                  <a:gd name="connsiteY1" fmla="*/ 502743 h 559848"/>
                  <a:gd name="connsiteX2" fmla="*/ 121655 w 600657"/>
                  <a:gd name="connsiteY2" fmla="*/ 521164 h 559848"/>
                  <a:gd name="connsiteX3" fmla="*/ 544078 w 600657"/>
                  <a:gd name="connsiteY3" fmla="*/ 521164 h 559848"/>
                  <a:gd name="connsiteX4" fmla="*/ 562525 w 600657"/>
                  <a:gd name="connsiteY4" fmla="*/ 502743 h 559848"/>
                  <a:gd name="connsiteX5" fmla="*/ 564369 w 600657"/>
                  <a:gd name="connsiteY5" fmla="*/ 502743 h 559848"/>
                  <a:gd name="connsiteX6" fmla="*/ 564369 w 600657"/>
                  <a:gd name="connsiteY6" fmla="*/ 435200 h 559848"/>
                  <a:gd name="connsiteX7" fmla="*/ 121655 w 600657"/>
                  <a:gd name="connsiteY7" fmla="*/ 216604 h 559848"/>
                  <a:gd name="connsiteX8" fmla="*/ 103209 w 600657"/>
                  <a:gd name="connsiteY8" fmla="*/ 235025 h 559848"/>
                  <a:gd name="connsiteX9" fmla="*/ 103209 w 600657"/>
                  <a:gd name="connsiteY9" fmla="*/ 303183 h 559848"/>
                  <a:gd name="connsiteX10" fmla="*/ 562525 w 600657"/>
                  <a:gd name="connsiteY10" fmla="*/ 303183 h 559848"/>
                  <a:gd name="connsiteX11" fmla="*/ 562525 w 600657"/>
                  <a:gd name="connsiteY11" fmla="*/ 235025 h 559848"/>
                  <a:gd name="connsiteX12" fmla="*/ 544078 w 600657"/>
                  <a:gd name="connsiteY12" fmla="*/ 216604 h 559848"/>
                  <a:gd name="connsiteX13" fmla="*/ 121655 w 600657"/>
                  <a:gd name="connsiteY13" fmla="*/ 177920 h 559848"/>
                  <a:gd name="connsiteX14" fmla="*/ 544078 w 600657"/>
                  <a:gd name="connsiteY14" fmla="*/ 177920 h 559848"/>
                  <a:gd name="connsiteX15" fmla="*/ 600647 w 600657"/>
                  <a:gd name="connsiteY15" fmla="*/ 235025 h 559848"/>
                  <a:gd name="connsiteX16" fmla="*/ 600647 w 600657"/>
                  <a:gd name="connsiteY16" fmla="*/ 502743 h 559848"/>
                  <a:gd name="connsiteX17" fmla="*/ 544078 w 600657"/>
                  <a:gd name="connsiteY17" fmla="*/ 559848 h 559848"/>
                  <a:gd name="connsiteX18" fmla="*/ 121655 w 600657"/>
                  <a:gd name="connsiteY18" fmla="*/ 559848 h 559848"/>
                  <a:gd name="connsiteX19" fmla="*/ 64471 w 600657"/>
                  <a:gd name="connsiteY19" fmla="*/ 502743 h 559848"/>
                  <a:gd name="connsiteX20" fmla="*/ 64471 w 600657"/>
                  <a:gd name="connsiteY20" fmla="*/ 235025 h 559848"/>
                  <a:gd name="connsiteX21" fmla="*/ 121655 w 600657"/>
                  <a:gd name="connsiteY21" fmla="*/ 177920 h 559848"/>
                  <a:gd name="connsiteX22" fmla="*/ 472657 w 600657"/>
                  <a:gd name="connsiteY22" fmla="*/ 412 h 559848"/>
                  <a:gd name="connsiteX23" fmla="*/ 520129 w 600657"/>
                  <a:gd name="connsiteY23" fmla="*/ 42280 h 559848"/>
                  <a:gd name="connsiteX24" fmla="*/ 547800 w 600657"/>
                  <a:gd name="connsiteY24" fmla="*/ 149095 h 559848"/>
                  <a:gd name="connsiteX25" fmla="*/ 544111 w 600657"/>
                  <a:gd name="connsiteY25" fmla="*/ 149095 h 559848"/>
                  <a:gd name="connsiteX26" fmla="*/ 544111 w 600657"/>
                  <a:gd name="connsiteY26" fmla="*/ 147253 h 559848"/>
                  <a:gd name="connsiteX27" fmla="*/ 123515 w 600657"/>
                  <a:gd name="connsiteY27" fmla="*/ 147253 h 559848"/>
                  <a:gd name="connsiteX28" fmla="*/ 37428 w 600657"/>
                  <a:gd name="connsiteY28" fmla="*/ 233196 h 559848"/>
                  <a:gd name="connsiteX29" fmla="*/ 37428 w 600657"/>
                  <a:gd name="connsiteY29" fmla="*/ 311772 h 559848"/>
                  <a:gd name="connsiteX30" fmla="*/ 2379 w 600657"/>
                  <a:gd name="connsiteY30" fmla="*/ 179789 h 559848"/>
                  <a:gd name="connsiteX31" fmla="*/ 42962 w 600657"/>
                  <a:gd name="connsiteY31" fmla="*/ 110420 h 559848"/>
                  <a:gd name="connsiteX32" fmla="*/ 450645 w 600657"/>
                  <a:gd name="connsiteY32" fmla="*/ 2378 h 559848"/>
                  <a:gd name="connsiteX33" fmla="*/ 472657 w 600657"/>
                  <a:gd name="connsiteY33" fmla="*/ 412 h 559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600657" h="559848">
                    <a:moveTo>
                      <a:pt x="103209" y="435200"/>
                    </a:moveTo>
                    <a:lnTo>
                      <a:pt x="103209" y="502743"/>
                    </a:lnTo>
                    <a:cubicBezTo>
                      <a:pt x="103209" y="511954"/>
                      <a:pt x="110587" y="521164"/>
                      <a:pt x="121655" y="521164"/>
                    </a:cubicBezTo>
                    <a:lnTo>
                      <a:pt x="544078" y="521164"/>
                    </a:lnTo>
                    <a:cubicBezTo>
                      <a:pt x="553301" y="521164"/>
                      <a:pt x="562525" y="513796"/>
                      <a:pt x="562525" y="502743"/>
                    </a:cubicBezTo>
                    <a:lnTo>
                      <a:pt x="564369" y="502743"/>
                    </a:lnTo>
                    <a:lnTo>
                      <a:pt x="564369" y="435200"/>
                    </a:lnTo>
                    <a:close/>
                    <a:moveTo>
                      <a:pt x="121655" y="216604"/>
                    </a:moveTo>
                    <a:cubicBezTo>
                      <a:pt x="112432" y="216604"/>
                      <a:pt x="103209" y="223972"/>
                      <a:pt x="103209" y="235025"/>
                    </a:cubicBezTo>
                    <a:lnTo>
                      <a:pt x="103209" y="303183"/>
                    </a:lnTo>
                    <a:lnTo>
                      <a:pt x="562525" y="303183"/>
                    </a:lnTo>
                    <a:lnTo>
                      <a:pt x="562525" y="235025"/>
                    </a:lnTo>
                    <a:cubicBezTo>
                      <a:pt x="562525" y="225815"/>
                      <a:pt x="555146" y="216604"/>
                      <a:pt x="544078" y="216604"/>
                    </a:cubicBezTo>
                    <a:close/>
                    <a:moveTo>
                      <a:pt x="121655" y="177920"/>
                    </a:moveTo>
                    <a:lnTo>
                      <a:pt x="544078" y="177920"/>
                    </a:lnTo>
                    <a:cubicBezTo>
                      <a:pt x="575437" y="177920"/>
                      <a:pt x="601262" y="203709"/>
                      <a:pt x="600647" y="235025"/>
                    </a:cubicBezTo>
                    <a:lnTo>
                      <a:pt x="600647" y="502743"/>
                    </a:lnTo>
                    <a:cubicBezTo>
                      <a:pt x="600647" y="534059"/>
                      <a:pt x="575437" y="559848"/>
                      <a:pt x="544078" y="559848"/>
                    </a:cubicBezTo>
                    <a:lnTo>
                      <a:pt x="121655" y="559848"/>
                    </a:lnTo>
                    <a:cubicBezTo>
                      <a:pt x="90296" y="559848"/>
                      <a:pt x="64471" y="534059"/>
                      <a:pt x="64471" y="502743"/>
                    </a:cubicBezTo>
                    <a:lnTo>
                      <a:pt x="64471" y="235025"/>
                    </a:lnTo>
                    <a:cubicBezTo>
                      <a:pt x="64471" y="203709"/>
                      <a:pt x="90296" y="177920"/>
                      <a:pt x="121655" y="177920"/>
                    </a:cubicBezTo>
                    <a:close/>
                    <a:moveTo>
                      <a:pt x="472657" y="412"/>
                    </a:moveTo>
                    <a:cubicBezTo>
                      <a:pt x="494534" y="3145"/>
                      <a:pt x="514595" y="19260"/>
                      <a:pt x="520129" y="42280"/>
                    </a:cubicBezTo>
                    <a:lnTo>
                      <a:pt x="547800" y="149095"/>
                    </a:lnTo>
                    <a:lnTo>
                      <a:pt x="544111" y="149095"/>
                    </a:lnTo>
                    <a:lnTo>
                      <a:pt x="544111" y="147253"/>
                    </a:lnTo>
                    <a:lnTo>
                      <a:pt x="123515" y="147253"/>
                    </a:lnTo>
                    <a:cubicBezTo>
                      <a:pt x="75552" y="147253"/>
                      <a:pt x="37428" y="185313"/>
                      <a:pt x="37428" y="233196"/>
                    </a:cubicBezTo>
                    <a:lnTo>
                      <a:pt x="37428" y="311772"/>
                    </a:lnTo>
                    <a:lnTo>
                      <a:pt x="2379" y="179789"/>
                    </a:lnTo>
                    <a:cubicBezTo>
                      <a:pt x="-6845" y="150936"/>
                      <a:pt x="11602" y="117787"/>
                      <a:pt x="42962" y="110420"/>
                    </a:cubicBezTo>
                    <a:lnTo>
                      <a:pt x="450645" y="2378"/>
                    </a:lnTo>
                    <a:cubicBezTo>
                      <a:pt x="457870" y="76"/>
                      <a:pt x="465364" y="-499"/>
                      <a:pt x="472657" y="412"/>
                    </a:cubicBezTo>
                    <a:close/>
                  </a:path>
                </a:pathLst>
              </a:custGeom>
              <a:solidFill>
                <a:schemeClr val="bg1"/>
              </a:solidFill>
              <a:ln w="381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a:p>
            </p:txBody>
          </p:sp>
        </p:grpSp>
        <p:grpSp>
          <p:nvGrpSpPr>
            <p:cNvPr id="11" name="îṧļïdê">
              <a:extLst>
                <a:ext uri="{FF2B5EF4-FFF2-40B4-BE49-F238E27FC236}">
                  <a16:creationId xmlns:a16="http://schemas.microsoft.com/office/drawing/2014/main" id="{A3C80906-9648-4B79-BE14-E31B06200CED}"/>
                </a:ext>
              </a:extLst>
            </p:cNvPr>
            <p:cNvGrpSpPr/>
            <p:nvPr/>
          </p:nvGrpSpPr>
          <p:grpSpPr>
            <a:xfrm>
              <a:off x="4810253" y="4493593"/>
              <a:ext cx="828440" cy="828662"/>
              <a:chOff x="4810253" y="4493593"/>
              <a:chExt cx="828440" cy="828662"/>
            </a:xfrm>
          </p:grpSpPr>
          <p:sp>
            <p:nvSpPr>
              <p:cNvPr id="21" name="íśľîḓê">
                <a:extLst>
                  <a:ext uri="{FF2B5EF4-FFF2-40B4-BE49-F238E27FC236}">
                    <a16:creationId xmlns:a16="http://schemas.microsoft.com/office/drawing/2014/main" id="{AE2F1C23-008D-4376-936D-1A86E77FAF49}"/>
                  </a:ext>
                </a:extLst>
              </p:cNvPr>
              <p:cNvSpPr/>
              <p:nvPr/>
            </p:nvSpPr>
            <p:spPr>
              <a:xfrm>
                <a:off x="4810253" y="4493593"/>
                <a:ext cx="828440" cy="828662"/>
              </a:xfrm>
              <a:custGeom>
                <a:avLst/>
                <a:gdLst/>
                <a:ahLst/>
                <a:cxnLst>
                  <a:cxn ang="0">
                    <a:pos x="wd2" y="hd2"/>
                  </a:cxn>
                  <a:cxn ang="5400000">
                    <a:pos x="wd2" y="hd2"/>
                  </a:cxn>
                  <a:cxn ang="10800000">
                    <a:pos x="wd2" y="hd2"/>
                  </a:cxn>
                  <a:cxn ang="16200000">
                    <a:pos x="wd2" y="hd2"/>
                  </a:cxn>
                </a:cxnLst>
                <a:rect l="0" t="0" r="r" b="b"/>
                <a:pathLst>
                  <a:path w="18915" h="18914" extrusionOk="0">
                    <a:moveTo>
                      <a:pt x="14186" y="17646"/>
                    </a:moveTo>
                    <a:cubicBezTo>
                      <a:pt x="9662" y="20257"/>
                      <a:pt x="3880" y="18707"/>
                      <a:pt x="1269" y="14185"/>
                    </a:cubicBezTo>
                    <a:cubicBezTo>
                      <a:pt x="-1343" y="9662"/>
                      <a:pt x="207" y="3879"/>
                      <a:pt x="4730" y="1268"/>
                    </a:cubicBezTo>
                    <a:cubicBezTo>
                      <a:pt x="9252" y="-1343"/>
                      <a:pt x="15035" y="207"/>
                      <a:pt x="17647" y="4729"/>
                    </a:cubicBezTo>
                    <a:cubicBezTo>
                      <a:pt x="20257" y="9252"/>
                      <a:pt x="18708" y="15035"/>
                      <a:pt x="14186" y="17646"/>
                    </a:cubicBezTo>
                    <a:close/>
                  </a:path>
                </a:pathLst>
              </a:custGeom>
              <a:solidFill>
                <a:schemeClr val="accent1"/>
              </a:solidFill>
              <a:ln w="38100" cap="flat">
                <a:solidFill>
                  <a:schemeClr val="bg1"/>
                </a:solidFill>
                <a:miter lim="400000"/>
              </a:ln>
              <a:effectLst/>
            </p:spPr>
            <p:txBody>
              <a:bodyPr wrap="square" lIns="91440" tIns="45720" rIns="91440" bIns="45720" numCol="1" anchor="ctr">
                <a:normAutofit/>
              </a:bodyPr>
              <a:lstStyle>
                <a:defPPr>
                  <a:defRPr lang="en-US"/>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a:p>
            </p:txBody>
          </p:sp>
          <p:sp>
            <p:nvSpPr>
              <p:cNvPr id="22" name="iṥļiḑê">
                <a:extLst>
                  <a:ext uri="{FF2B5EF4-FFF2-40B4-BE49-F238E27FC236}">
                    <a16:creationId xmlns:a16="http://schemas.microsoft.com/office/drawing/2014/main" id="{0F3FCC38-39C8-4E39-AD5A-2873F554EA00}"/>
                  </a:ext>
                </a:extLst>
              </p:cNvPr>
              <p:cNvSpPr/>
              <p:nvPr/>
            </p:nvSpPr>
            <p:spPr>
              <a:xfrm>
                <a:off x="4995020" y="4719932"/>
                <a:ext cx="458906" cy="375984"/>
              </a:xfrm>
              <a:custGeom>
                <a:avLst/>
                <a:gdLst>
                  <a:gd name="connsiteX0" fmla="*/ 489893 w 608595"/>
                  <a:gd name="connsiteY0" fmla="*/ 258138 h 498625"/>
                  <a:gd name="connsiteX1" fmla="*/ 520885 w 608595"/>
                  <a:gd name="connsiteY1" fmla="*/ 261994 h 498625"/>
                  <a:gd name="connsiteX2" fmla="*/ 520885 w 608595"/>
                  <a:gd name="connsiteY2" fmla="*/ 451976 h 498625"/>
                  <a:gd name="connsiteX3" fmla="*/ 474161 w 608595"/>
                  <a:gd name="connsiteY3" fmla="*/ 498625 h 498625"/>
                  <a:gd name="connsiteX4" fmla="*/ 261454 w 608595"/>
                  <a:gd name="connsiteY4" fmla="*/ 498625 h 498625"/>
                  <a:gd name="connsiteX5" fmla="*/ 249773 w 608595"/>
                  <a:gd name="connsiteY5" fmla="*/ 497120 h 498625"/>
                  <a:gd name="connsiteX6" fmla="*/ 258251 w 608595"/>
                  <a:gd name="connsiteY6" fmla="*/ 489690 h 498625"/>
                  <a:gd name="connsiteX7" fmla="*/ 484617 w 608595"/>
                  <a:gd name="connsiteY7" fmla="*/ 263781 h 498625"/>
                  <a:gd name="connsiteX8" fmla="*/ 489893 w 608595"/>
                  <a:gd name="connsiteY8" fmla="*/ 258138 h 498625"/>
                  <a:gd name="connsiteX9" fmla="*/ 278908 w 608595"/>
                  <a:gd name="connsiteY9" fmla="*/ 178167 h 498625"/>
                  <a:gd name="connsiteX10" fmla="*/ 272785 w 608595"/>
                  <a:gd name="connsiteY10" fmla="*/ 184187 h 498625"/>
                  <a:gd name="connsiteX11" fmla="*/ 258937 w 608595"/>
                  <a:gd name="connsiteY11" fmla="*/ 186445 h 498625"/>
                  <a:gd name="connsiteX12" fmla="*/ 205902 w 608595"/>
                  <a:gd name="connsiteY12" fmla="*/ 192747 h 498625"/>
                  <a:gd name="connsiteX13" fmla="*/ 194126 w 608595"/>
                  <a:gd name="connsiteY13" fmla="*/ 238932 h 498625"/>
                  <a:gd name="connsiteX14" fmla="*/ 205902 w 608595"/>
                  <a:gd name="connsiteY14" fmla="*/ 269974 h 498625"/>
                  <a:gd name="connsiteX15" fmla="*/ 209199 w 608595"/>
                  <a:gd name="connsiteY15" fmla="*/ 282390 h 498625"/>
                  <a:gd name="connsiteX16" fmla="*/ 187815 w 608595"/>
                  <a:gd name="connsiteY16" fmla="*/ 298569 h 498625"/>
                  <a:gd name="connsiteX17" fmla="*/ 172272 w 608595"/>
                  <a:gd name="connsiteY17" fmla="*/ 286717 h 498625"/>
                  <a:gd name="connsiteX18" fmla="*/ 157576 w 608595"/>
                  <a:gd name="connsiteY18" fmla="*/ 259438 h 498625"/>
                  <a:gd name="connsiteX19" fmla="*/ 148533 w 608595"/>
                  <a:gd name="connsiteY19" fmla="*/ 255864 h 498625"/>
                  <a:gd name="connsiteX20" fmla="*/ 134497 w 608595"/>
                  <a:gd name="connsiteY20" fmla="*/ 263577 h 498625"/>
                  <a:gd name="connsiteX21" fmla="*/ 129975 w 608595"/>
                  <a:gd name="connsiteY21" fmla="*/ 275806 h 498625"/>
                  <a:gd name="connsiteX22" fmla="*/ 143352 w 608595"/>
                  <a:gd name="connsiteY22" fmla="*/ 300074 h 498625"/>
                  <a:gd name="connsiteX23" fmla="*/ 142410 w 608595"/>
                  <a:gd name="connsiteY23" fmla="*/ 311738 h 498625"/>
                  <a:gd name="connsiteX24" fmla="*/ 135250 w 608595"/>
                  <a:gd name="connsiteY24" fmla="*/ 319075 h 498625"/>
                  <a:gd name="connsiteX25" fmla="*/ 134968 w 608595"/>
                  <a:gd name="connsiteY25" fmla="*/ 328482 h 498625"/>
                  <a:gd name="connsiteX26" fmla="*/ 145613 w 608595"/>
                  <a:gd name="connsiteY26" fmla="*/ 339017 h 498625"/>
                  <a:gd name="connsiteX27" fmla="*/ 154562 w 608595"/>
                  <a:gd name="connsiteY27" fmla="*/ 338829 h 498625"/>
                  <a:gd name="connsiteX28" fmla="*/ 164453 w 608595"/>
                  <a:gd name="connsiteY28" fmla="*/ 329046 h 498625"/>
                  <a:gd name="connsiteX29" fmla="*/ 174909 w 608595"/>
                  <a:gd name="connsiteY29" fmla="*/ 327729 h 498625"/>
                  <a:gd name="connsiteX30" fmla="*/ 205431 w 608595"/>
                  <a:gd name="connsiteY30" fmla="*/ 334314 h 498625"/>
                  <a:gd name="connsiteX31" fmla="*/ 245466 w 608595"/>
                  <a:gd name="connsiteY31" fmla="*/ 272796 h 498625"/>
                  <a:gd name="connsiteX32" fmla="*/ 235293 w 608595"/>
                  <a:gd name="connsiteY32" fmla="*/ 245705 h 498625"/>
                  <a:gd name="connsiteX33" fmla="*/ 230771 w 608595"/>
                  <a:gd name="connsiteY33" fmla="*/ 229714 h 498625"/>
                  <a:gd name="connsiteX34" fmla="*/ 248858 w 608595"/>
                  <a:gd name="connsiteY34" fmla="*/ 216075 h 498625"/>
                  <a:gd name="connsiteX35" fmla="*/ 256394 w 608595"/>
                  <a:gd name="connsiteY35" fmla="*/ 221060 h 498625"/>
                  <a:gd name="connsiteX36" fmla="*/ 275234 w 608595"/>
                  <a:gd name="connsiteY36" fmla="*/ 249279 h 498625"/>
                  <a:gd name="connsiteX37" fmla="*/ 284089 w 608595"/>
                  <a:gd name="connsiteY37" fmla="*/ 252854 h 498625"/>
                  <a:gd name="connsiteX38" fmla="*/ 300103 w 608595"/>
                  <a:gd name="connsiteY38" fmla="*/ 244012 h 498625"/>
                  <a:gd name="connsiteX39" fmla="*/ 303118 w 608595"/>
                  <a:gd name="connsiteY39" fmla="*/ 235358 h 498625"/>
                  <a:gd name="connsiteX40" fmla="*/ 292756 w 608595"/>
                  <a:gd name="connsiteY40" fmla="*/ 216075 h 498625"/>
                  <a:gd name="connsiteX41" fmla="*/ 293886 w 608595"/>
                  <a:gd name="connsiteY41" fmla="*/ 201495 h 498625"/>
                  <a:gd name="connsiteX42" fmla="*/ 293886 w 608595"/>
                  <a:gd name="connsiteY42" fmla="*/ 182306 h 498625"/>
                  <a:gd name="connsiteX43" fmla="*/ 289741 w 608595"/>
                  <a:gd name="connsiteY43" fmla="*/ 178167 h 498625"/>
                  <a:gd name="connsiteX44" fmla="*/ 278908 w 608595"/>
                  <a:gd name="connsiteY44" fmla="*/ 178167 h 498625"/>
                  <a:gd name="connsiteX45" fmla="*/ 366092 w 608595"/>
                  <a:gd name="connsiteY45" fmla="*/ 69711 h 498625"/>
                  <a:gd name="connsiteX46" fmla="*/ 338726 w 608595"/>
                  <a:gd name="connsiteY46" fmla="*/ 80999 h 498625"/>
                  <a:gd name="connsiteX47" fmla="*/ 338726 w 608595"/>
                  <a:gd name="connsiteY47" fmla="*/ 135650 h 498625"/>
                  <a:gd name="connsiteX48" fmla="*/ 393457 w 608595"/>
                  <a:gd name="connsiteY48" fmla="*/ 135650 h 498625"/>
                  <a:gd name="connsiteX49" fmla="*/ 395059 w 608595"/>
                  <a:gd name="connsiteY49" fmla="*/ 133769 h 498625"/>
                  <a:gd name="connsiteX50" fmla="*/ 449696 w 608595"/>
                  <a:gd name="connsiteY50" fmla="*/ 164057 h 498625"/>
                  <a:gd name="connsiteX51" fmla="*/ 568767 w 608595"/>
                  <a:gd name="connsiteY51" fmla="*/ 173840 h 498625"/>
                  <a:gd name="connsiteX52" fmla="*/ 552187 w 608595"/>
                  <a:gd name="connsiteY52" fmla="*/ 143457 h 498625"/>
                  <a:gd name="connsiteX53" fmla="*/ 551434 w 608595"/>
                  <a:gd name="connsiteY53" fmla="*/ 142705 h 498625"/>
                  <a:gd name="connsiteX54" fmla="*/ 477956 w 608595"/>
                  <a:gd name="connsiteY54" fmla="*/ 96425 h 498625"/>
                  <a:gd name="connsiteX55" fmla="*/ 474753 w 608595"/>
                  <a:gd name="connsiteY55" fmla="*/ 95014 h 498625"/>
                  <a:gd name="connsiteX56" fmla="*/ 475507 w 608595"/>
                  <a:gd name="connsiteY56" fmla="*/ 149477 h 498625"/>
                  <a:gd name="connsiteX57" fmla="*/ 456007 w 608595"/>
                  <a:gd name="connsiteY57" fmla="*/ 142046 h 498625"/>
                  <a:gd name="connsiteX58" fmla="*/ 404385 w 608595"/>
                  <a:gd name="connsiteY58" fmla="*/ 114015 h 498625"/>
                  <a:gd name="connsiteX59" fmla="*/ 393457 w 608595"/>
                  <a:gd name="connsiteY59" fmla="*/ 80999 h 498625"/>
                  <a:gd name="connsiteX60" fmla="*/ 366092 w 608595"/>
                  <a:gd name="connsiteY60" fmla="*/ 69711 h 498625"/>
                  <a:gd name="connsiteX61" fmla="*/ 287857 w 608595"/>
                  <a:gd name="connsiteY61" fmla="*/ 9 h 498625"/>
                  <a:gd name="connsiteX62" fmla="*/ 423508 w 608595"/>
                  <a:gd name="connsiteY62" fmla="*/ 1985 h 498625"/>
                  <a:gd name="connsiteX63" fmla="*/ 474000 w 608595"/>
                  <a:gd name="connsiteY63" fmla="*/ 52403 h 498625"/>
                  <a:gd name="connsiteX64" fmla="*/ 474000 w 608595"/>
                  <a:gd name="connsiteY64" fmla="*/ 52779 h 498625"/>
                  <a:gd name="connsiteX65" fmla="*/ 493029 w 608595"/>
                  <a:gd name="connsiteY65" fmla="*/ 59928 h 498625"/>
                  <a:gd name="connsiteX66" fmla="*/ 579223 w 608595"/>
                  <a:gd name="connsiteY66" fmla="*/ 114579 h 498625"/>
                  <a:gd name="connsiteX67" fmla="*/ 580354 w 608595"/>
                  <a:gd name="connsiteY67" fmla="*/ 115708 h 498625"/>
                  <a:gd name="connsiteX68" fmla="*/ 605223 w 608595"/>
                  <a:gd name="connsiteY68" fmla="*/ 188890 h 498625"/>
                  <a:gd name="connsiteX69" fmla="*/ 535796 w 608595"/>
                  <a:gd name="connsiteY69" fmla="*/ 222753 h 498625"/>
                  <a:gd name="connsiteX70" fmla="*/ 471456 w 608595"/>
                  <a:gd name="connsiteY70" fmla="*/ 213065 h 498625"/>
                  <a:gd name="connsiteX71" fmla="*/ 456667 w 608595"/>
                  <a:gd name="connsiteY71" fmla="*/ 235640 h 498625"/>
                  <a:gd name="connsiteX72" fmla="*/ 230206 w 608595"/>
                  <a:gd name="connsiteY72" fmla="*/ 461771 h 498625"/>
                  <a:gd name="connsiteX73" fmla="*/ 164076 w 608595"/>
                  <a:gd name="connsiteY73" fmla="*/ 461771 h 498625"/>
                  <a:gd name="connsiteX74" fmla="*/ 13636 w 608595"/>
                  <a:gd name="connsiteY74" fmla="*/ 311550 h 498625"/>
                  <a:gd name="connsiteX75" fmla="*/ 13636 w 608595"/>
                  <a:gd name="connsiteY75" fmla="*/ 245517 h 498625"/>
                  <a:gd name="connsiteX76" fmla="*/ 239814 w 608595"/>
                  <a:gd name="connsiteY76" fmla="*/ 19386 h 498625"/>
                  <a:gd name="connsiteX77" fmla="*/ 287857 w 608595"/>
                  <a:gd name="connsiteY77" fmla="*/ 9 h 49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608595" h="498625">
                    <a:moveTo>
                      <a:pt x="489893" y="258138"/>
                    </a:moveTo>
                    <a:cubicBezTo>
                      <a:pt x="500537" y="260113"/>
                      <a:pt x="510900" y="261336"/>
                      <a:pt x="520885" y="261994"/>
                    </a:cubicBezTo>
                    <a:lnTo>
                      <a:pt x="520885" y="451976"/>
                    </a:lnTo>
                    <a:cubicBezTo>
                      <a:pt x="520885" y="477652"/>
                      <a:pt x="499972" y="498625"/>
                      <a:pt x="474161" y="498625"/>
                    </a:cubicBezTo>
                    <a:lnTo>
                      <a:pt x="261454" y="498625"/>
                    </a:lnTo>
                    <a:cubicBezTo>
                      <a:pt x="257403" y="498625"/>
                      <a:pt x="253541" y="498155"/>
                      <a:pt x="249773" y="497120"/>
                    </a:cubicBezTo>
                    <a:cubicBezTo>
                      <a:pt x="252787" y="494863"/>
                      <a:pt x="255613" y="492324"/>
                      <a:pt x="258251" y="489690"/>
                    </a:cubicBezTo>
                    <a:lnTo>
                      <a:pt x="484617" y="263781"/>
                    </a:lnTo>
                    <a:cubicBezTo>
                      <a:pt x="486501" y="261900"/>
                      <a:pt x="488291" y="260019"/>
                      <a:pt x="489893" y="258138"/>
                    </a:cubicBezTo>
                    <a:close/>
                    <a:moveTo>
                      <a:pt x="278908" y="178167"/>
                    </a:moveTo>
                    <a:cubicBezTo>
                      <a:pt x="276741" y="180236"/>
                      <a:pt x="274763" y="182212"/>
                      <a:pt x="272785" y="184187"/>
                    </a:cubicBezTo>
                    <a:cubicBezTo>
                      <a:pt x="266756" y="190207"/>
                      <a:pt x="266756" y="190113"/>
                      <a:pt x="258937" y="186445"/>
                    </a:cubicBezTo>
                    <a:cubicBezTo>
                      <a:pt x="240003" y="177697"/>
                      <a:pt x="222010" y="178543"/>
                      <a:pt x="205902" y="192747"/>
                    </a:cubicBezTo>
                    <a:cubicBezTo>
                      <a:pt x="191771" y="205257"/>
                      <a:pt x="189699" y="221342"/>
                      <a:pt x="194126" y="238932"/>
                    </a:cubicBezTo>
                    <a:cubicBezTo>
                      <a:pt x="196764" y="249844"/>
                      <a:pt x="201945" y="259721"/>
                      <a:pt x="205902" y="269974"/>
                    </a:cubicBezTo>
                    <a:cubicBezTo>
                      <a:pt x="207597" y="274018"/>
                      <a:pt x="208822" y="278157"/>
                      <a:pt x="209199" y="282390"/>
                    </a:cubicBezTo>
                    <a:cubicBezTo>
                      <a:pt x="210423" y="294995"/>
                      <a:pt x="199684" y="303272"/>
                      <a:pt x="187815" y="298569"/>
                    </a:cubicBezTo>
                    <a:cubicBezTo>
                      <a:pt x="181598" y="296123"/>
                      <a:pt x="176417" y="292079"/>
                      <a:pt x="172272" y="286717"/>
                    </a:cubicBezTo>
                    <a:cubicBezTo>
                      <a:pt x="165866" y="278439"/>
                      <a:pt x="160685" y="269503"/>
                      <a:pt x="157576" y="259438"/>
                    </a:cubicBezTo>
                    <a:cubicBezTo>
                      <a:pt x="155692" y="253606"/>
                      <a:pt x="154091" y="252948"/>
                      <a:pt x="148533" y="255864"/>
                    </a:cubicBezTo>
                    <a:cubicBezTo>
                      <a:pt x="143729" y="258310"/>
                      <a:pt x="139113" y="260943"/>
                      <a:pt x="134497" y="263577"/>
                    </a:cubicBezTo>
                    <a:cubicBezTo>
                      <a:pt x="128185" y="267152"/>
                      <a:pt x="127526" y="268845"/>
                      <a:pt x="129975" y="275806"/>
                    </a:cubicBezTo>
                    <a:cubicBezTo>
                      <a:pt x="132990" y="284648"/>
                      <a:pt x="137888" y="292549"/>
                      <a:pt x="143352" y="300074"/>
                    </a:cubicBezTo>
                    <a:cubicBezTo>
                      <a:pt x="147685" y="306000"/>
                      <a:pt x="147685" y="306376"/>
                      <a:pt x="142410" y="311738"/>
                    </a:cubicBezTo>
                    <a:cubicBezTo>
                      <a:pt x="139960" y="314184"/>
                      <a:pt x="137605" y="316629"/>
                      <a:pt x="135250" y="319075"/>
                    </a:cubicBezTo>
                    <a:cubicBezTo>
                      <a:pt x="132236" y="322085"/>
                      <a:pt x="131953" y="325283"/>
                      <a:pt x="134968" y="328482"/>
                    </a:cubicBezTo>
                    <a:cubicBezTo>
                      <a:pt x="138453" y="331962"/>
                      <a:pt x="142033" y="335630"/>
                      <a:pt x="145613" y="339017"/>
                    </a:cubicBezTo>
                    <a:cubicBezTo>
                      <a:pt x="148533" y="341839"/>
                      <a:pt x="151641" y="341745"/>
                      <a:pt x="154562" y="338829"/>
                    </a:cubicBezTo>
                    <a:cubicBezTo>
                      <a:pt x="157859" y="335630"/>
                      <a:pt x="161344" y="332432"/>
                      <a:pt x="164453" y="329046"/>
                    </a:cubicBezTo>
                    <a:cubicBezTo>
                      <a:pt x="167656" y="325566"/>
                      <a:pt x="170764" y="325283"/>
                      <a:pt x="174909" y="327729"/>
                    </a:cubicBezTo>
                    <a:cubicBezTo>
                      <a:pt x="184329" y="333091"/>
                      <a:pt x="194597" y="335348"/>
                      <a:pt x="205431" y="334314"/>
                    </a:cubicBezTo>
                    <a:cubicBezTo>
                      <a:pt x="235198" y="331492"/>
                      <a:pt x="254039" y="302332"/>
                      <a:pt x="245466" y="272796"/>
                    </a:cubicBezTo>
                    <a:cubicBezTo>
                      <a:pt x="242829" y="263483"/>
                      <a:pt x="238966" y="254547"/>
                      <a:pt x="235293" y="245705"/>
                    </a:cubicBezTo>
                    <a:cubicBezTo>
                      <a:pt x="233220" y="240532"/>
                      <a:pt x="231430" y="235264"/>
                      <a:pt x="230771" y="229714"/>
                    </a:cubicBezTo>
                    <a:cubicBezTo>
                      <a:pt x="229546" y="218709"/>
                      <a:pt x="238590" y="212030"/>
                      <a:pt x="248858" y="216075"/>
                    </a:cubicBezTo>
                    <a:cubicBezTo>
                      <a:pt x="251778" y="217204"/>
                      <a:pt x="254133" y="219085"/>
                      <a:pt x="256394" y="221060"/>
                    </a:cubicBezTo>
                    <a:cubicBezTo>
                      <a:pt x="265060" y="228868"/>
                      <a:pt x="271372" y="238274"/>
                      <a:pt x="275234" y="249279"/>
                    </a:cubicBezTo>
                    <a:cubicBezTo>
                      <a:pt x="277118" y="254829"/>
                      <a:pt x="278908" y="255488"/>
                      <a:pt x="284089" y="252854"/>
                    </a:cubicBezTo>
                    <a:cubicBezTo>
                      <a:pt x="289459" y="250032"/>
                      <a:pt x="294828" y="246928"/>
                      <a:pt x="300103" y="244012"/>
                    </a:cubicBezTo>
                    <a:cubicBezTo>
                      <a:pt x="303777" y="242037"/>
                      <a:pt x="304531" y="239121"/>
                      <a:pt x="303118" y="235358"/>
                    </a:cubicBezTo>
                    <a:cubicBezTo>
                      <a:pt x="300480" y="228491"/>
                      <a:pt x="297089" y="222095"/>
                      <a:pt x="292756" y="216075"/>
                    </a:cubicBezTo>
                    <a:cubicBezTo>
                      <a:pt x="287104" y="208267"/>
                      <a:pt x="287104" y="208267"/>
                      <a:pt x="293886" y="201495"/>
                    </a:cubicBezTo>
                    <a:cubicBezTo>
                      <a:pt x="303400" y="191900"/>
                      <a:pt x="303400" y="191900"/>
                      <a:pt x="293886" y="182306"/>
                    </a:cubicBezTo>
                    <a:lnTo>
                      <a:pt x="289741" y="178167"/>
                    </a:lnTo>
                    <a:cubicBezTo>
                      <a:pt x="285031" y="173840"/>
                      <a:pt x="283524" y="173840"/>
                      <a:pt x="278908" y="178167"/>
                    </a:cubicBezTo>
                    <a:close/>
                    <a:moveTo>
                      <a:pt x="366092" y="69711"/>
                    </a:moveTo>
                    <a:cubicBezTo>
                      <a:pt x="356177" y="69711"/>
                      <a:pt x="346262" y="73473"/>
                      <a:pt x="338726" y="80999"/>
                    </a:cubicBezTo>
                    <a:cubicBezTo>
                      <a:pt x="323654" y="96049"/>
                      <a:pt x="323654" y="120600"/>
                      <a:pt x="338726" y="135650"/>
                    </a:cubicBezTo>
                    <a:cubicBezTo>
                      <a:pt x="353798" y="150700"/>
                      <a:pt x="378385" y="150700"/>
                      <a:pt x="393457" y="135650"/>
                    </a:cubicBezTo>
                    <a:cubicBezTo>
                      <a:pt x="393928" y="135085"/>
                      <a:pt x="394588" y="134427"/>
                      <a:pt x="395059" y="133769"/>
                    </a:cubicBezTo>
                    <a:cubicBezTo>
                      <a:pt x="410508" y="145056"/>
                      <a:pt x="429348" y="155591"/>
                      <a:pt x="449696" y="164057"/>
                    </a:cubicBezTo>
                    <a:cubicBezTo>
                      <a:pt x="518934" y="192841"/>
                      <a:pt x="564528" y="183999"/>
                      <a:pt x="568767" y="173840"/>
                    </a:cubicBezTo>
                    <a:cubicBezTo>
                      <a:pt x="570180" y="170454"/>
                      <a:pt x="568578" y="159918"/>
                      <a:pt x="552187" y="143457"/>
                    </a:cubicBezTo>
                    <a:lnTo>
                      <a:pt x="551434" y="142705"/>
                    </a:lnTo>
                    <a:cubicBezTo>
                      <a:pt x="534289" y="125491"/>
                      <a:pt x="507630" y="108747"/>
                      <a:pt x="477956" y="96425"/>
                    </a:cubicBezTo>
                    <a:cubicBezTo>
                      <a:pt x="476826" y="95955"/>
                      <a:pt x="475884" y="95578"/>
                      <a:pt x="474753" y="95014"/>
                    </a:cubicBezTo>
                    <a:lnTo>
                      <a:pt x="475507" y="149477"/>
                    </a:lnTo>
                    <a:cubicBezTo>
                      <a:pt x="469196" y="147314"/>
                      <a:pt x="462790" y="144868"/>
                      <a:pt x="456007" y="142046"/>
                    </a:cubicBezTo>
                    <a:cubicBezTo>
                      <a:pt x="437073" y="134145"/>
                      <a:pt x="419174" y="124550"/>
                      <a:pt x="404385" y="114015"/>
                    </a:cubicBezTo>
                    <a:cubicBezTo>
                      <a:pt x="405986" y="102351"/>
                      <a:pt x="402501" y="90029"/>
                      <a:pt x="393457" y="80999"/>
                    </a:cubicBezTo>
                    <a:cubicBezTo>
                      <a:pt x="385921" y="73473"/>
                      <a:pt x="376006" y="69711"/>
                      <a:pt x="366092" y="69711"/>
                    </a:cubicBezTo>
                    <a:close/>
                    <a:moveTo>
                      <a:pt x="287857" y="9"/>
                    </a:moveTo>
                    <a:lnTo>
                      <a:pt x="423508" y="1985"/>
                    </a:lnTo>
                    <a:cubicBezTo>
                      <a:pt x="451203" y="2361"/>
                      <a:pt x="473623" y="24654"/>
                      <a:pt x="474000" y="52403"/>
                    </a:cubicBezTo>
                    <a:lnTo>
                      <a:pt x="474000" y="52779"/>
                    </a:lnTo>
                    <a:cubicBezTo>
                      <a:pt x="480406" y="54943"/>
                      <a:pt x="486811" y="57294"/>
                      <a:pt x="493029" y="59928"/>
                    </a:cubicBezTo>
                    <a:cubicBezTo>
                      <a:pt x="527695" y="74320"/>
                      <a:pt x="558216" y="93697"/>
                      <a:pt x="579223" y="114579"/>
                    </a:cubicBezTo>
                    <a:lnTo>
                      <a:pt x="580354" y="115708"/>
                    </a:lnTo>
                    <a:cubicBezTo>
                      <a:pt x="614172" y="150136"/>
                      <a:pt x="610404" y="176286"/>
                      <a:pt x="605223" y="188890"/>
                    </a:cubicBezTo>
                    <a:cubicBezTo>
                      <a:pt x="599948" y="201401"/>
                      <a:pt x="584027" y="222471"/>
                      <a:pt x="535796" y="222753"/>
                    </a:cubicBezTo>
                    <a:cubicBezTo>
                      <a:pt x="516296" y="222847"/>
                      <a:pt x="494159" y="219461"/>
                      <a:pt x="471456" y="213065"/>
                    </a:cubicBezTo>
                    <a:cubicBezTo>
                      <a:pt x="468065" y="221436"/>
                      <a:pt x="463167" y="229150"/>
                      <a:pt x="456667" y="235640"/>
                    </a:cubicBezTo>
                    <a:lnTo>
                      <a:pt x="230206" y="461771"/>
                    </a:lnTo>
                    <a:cubicBezTo>
                      <a:pt x="211931" y="479925"/>
                      <a:pt x="182351" y="479925"/>
                      <a:pt x="164076" y="461771"/>
                    </a:cubicBezTo>
                    <a:lnTo>
                      <a:pt x="13636" y="311550"/>
                    </a:lnTo>
                    <a:cubicBezTo>
                      <a:pt x="-4545" y="293302"/>
                      <a:pt x="-4545" y="263765"/>
                      <a:pt x="13636" y="245517"/>
                    </a:cubicBezTo>
                    <a:lnTo>
                      <a:pt x="239814" y="19386"/>
                    </a:lnTo>
                    <a:cubicBezTo>
                      <a:pt x="252532" y="6782"/>
                      <a:pt x="269865" y="-273"/>
                      <a:pt x="287857" y="9"/>
                    </a:cubicBezTo>
                    <a:close/>
                  </a:path>
                </a:pathLst>
              </a:custGeom>
              <a:solidFill>
                <a:schemeClr val="bg1"/>
              </a:solidFill>
              <a:ln w="38100" cap="flat">
                <a:noFill/>
                <a:miter lim="400000"/>
              </a:ln>
              <a:effectLst/>
            </p:spPr>
            <p:txBody>
              <a:bodyPr wrap="square" lIns="91440" tIns="45720" rIns="91440" bIns="45720" numCol="1"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defRPr sz="1300" cap="all"/>
                </a:pPr>
                <a:endParaRPr/>
              </a:p>
            </p:txBody>
          </p:sp>
        </p:grpSp>
        <p:grpSp>
          <p:nvGrpSpPr>
            <p:cNvPr id="12" name="îṥļidé">
              <a:extLst>
                <a:ext uri="{FF2B5EF4-FFF2-40B4-BE49-F238E27FC236}">
                  <a16:creationId xmlns:a16="http://schemas.microsoft.com/office/drawing/2014/main" id="{F40787B5-DA4F-4312-9C84-2E0F0A0DED9B}"/>
                </a:ext>
              </a:extLst>
            </p:cNvPr>
            <p:cNvGrpSpPr/>
            <p:nvPr/>
          </p:nvGrpSpPr>
          <p:grpSpPr>
            <a:xfrm>
              <a:off x="4351338" y="1612489"/>
              <a:ext cx="3489325" cy="1210195"/>
              <a:chOff x="4351338" y="1236382"/>
              <a:chExt cx="3489325" cy="1210195"/>
            </a:xfrm>
          </p:grpSpPr>
          <p:sp>
            <p:nvSpPr>
              <p:cNvPr id="19" name="îṧľíďé">
                <a:extLst>
                  <a:ext uri="{FF2B5EF4-FFF2-40B4-BE49-F238E27FC236}">
                    <a16:creationId xmlns:a16="http://schemas.microsoft.com/office/drawing/2014/main" id="{CE8FB92D-27B0-49A1-BCA6-DB92F5D49307}"/>
                  </a:ext>
                </a:extLst>
              </p:cNvPr>
              <p:cNvSpPr/>
              <p:nvPr/>
            </p:nvSpPr>
            <p:spPr bwMode="auto">
              <a:xfrm>
                <a:off x="4351338" y="1778075"/>
                <a:ext cx="3489325" cy="66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lnSpc>
                    <a:spcPct val="150000"/>
                  </a:lnSpc>
                </a:pPr>
                <a:r>
                  <a:rPr lang="en-US" altLang="zh-CN" sz="1100" dirty="0"/>
                  <a:t>Copy paste fonts. Choose the only option to retain text……</a:t>
                </a:r>
              </a:p>
            </p:txBody>
          </p:sp>
          <p:sp>
            <p:nvSpPr>
              <p:cNvPr id="20" name="ïşľïḓé">
                <a:extLst>
                  <a:ext uri="{FF2B5EF4-FFF2-40B4-BE49-F238E27FC236}">
                    <a16:creationId xmlns:a16="http://schemas.microsoft.com/office/drawing/2014/main" id="{295FEF84-B090-45B0-B505-6C095F5B9C79}"/>
                  </a:ext>
                </a:extLst>
              </p:cNvPr>
              <p:cNvSpPr txBox="1"/>
              <p:nvPr/>
            </p:nvSpPr>
            <p:spPr bwMode="auto">
              <a:xfrm>
                <a:off x="4351338" y="1236382"/>
                <a:ext cx="3489325" cy="541692"/>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eaLnBrk="1" hangingPunct="1">
                  <a:lnSpc>
                    <a:spcPct val="100000"/>
                  </a:lnSpc>
                  <a:spcBef>
                    <a:spcPct val="0"/>
                  </a:spcBef>
                </a:pPr>
                <a:r>
                  <a:rPr lang="en-US" altLang="zh-CN" b="1" u="sng" dirty="0"/>
                  <a:t>01.Text here</a:t>
                </a:r>
              </a:p>
            </p:txBody>
          </p:sp>
        </p:grpSp>
        <p:grpSp>
          <p:nvGrpSpPr>
            <p:cNvPr id="13" name="í$1îḋê">
              <a:extLst>
                <a:ext uri="{FF2B5EF4-FFF2-40B4-BE49-F238E27FC236}">
                  <a16:creationId xmlns:a16="http://schemas.microsoft.com/office/drawing/2014/main" id="{3A1EBD5F-C9B5-4216-B4DF-43D8E1571B26}"/>
                </a:ext>
              </a:extLst>
            </p:cNvPr>
            <p:cNvGrpSpPr/>
            <p:nvPr/>
          </p:nvGrpSpPr>
          <p:grpSpPr>
            <a:xfrm>
              <a:off x="8029575" y="4302826"/>
              <a:ext cx="3489325" cy="1210195"/>
              <a:chOff x="4351338" y="1236382"/>
              <a:chExt cx="3489325" cy="1210195"/>
            </a:xfrm>
          </p:grpSpPr>
          <p:sp>
            <p:nvSpPr>
              <p:cNvPr id="17" name="ï$ľídê">
                <a:extLst>
                  <a:ext uri="{FF2B5EF4-FFF2-40B4-BE49-F238E27FC236}">
                    <a16:creationId xmlns:a16="http://schemas.microsoft.com/office/drawing/2014/main" id="{CE8FB92D-27B0-49A1-BCA6-DB92F5D49307}"/>
                  </a:ext>
                </a:extLst>
              </p:cNvPr>
              <p:cNvSpPr/>
              <p:nvPr/>
            </p:nvSpPr>
            <p:spPr bwMode="auto">
              <a:xfrm>
                <a:off x="4351338" y="1778075"/>
                <a:ext cx="3489325" cy="66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nSpc>
                    <a:spcPct val="150000"/>
                  </a:lnSpc>
                </a:pPr>
                <a:r>
                  <a:rPr lang="en-US" altLang="zh-CN" sz="1100" dirty="0"/>
                  <a:t>Copy paste fonts. Choose the only option to retain text……</a:t>
                </a:r>
              </a:p>
            </p:txBody>
          </p:sp>
          <p:sp>
            <p:nvSpPr>
              <p:cNvPr id="18" name="iŝľiḋè">
                <a:extLst>
                  <a:ext uri="{FF2B5EF4-FFF2-40B4-BE49-F238E27FC236}">
                    <a16:creationId xmlns:a16="http://schemas.microsoft.com/office/drawing/2014/main" id="{295FEF84-B090-45B0-B505-6C095F5B9C79}"/>
                  </a:ext>
                </a:extLst>
              </p:cNvPr>
              <p:cNvSpPr txBox="1"/>
              <p:nvPr/>
            </p:nvSpPr>
            <p:spPr bwMode="auto">
              <a:xfrm>
                <a:off x="4351338" y="1236382"/>
                <a:ext cx="3489325" cy="541692"/>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eaLnBrk="1" hangingPunct="1">
                  <a:lnSpc>
                    <a:spcPct val="100000"/>
                  </a:lnSpc>
                  <a:spcBef>
                    <a:spcPct val="0"/>
                  </a:spcBef>
                </a:pPr>
                <a:r>
                  <a:rPr lang="en-US" altLang="zh-CN" b="1" u="sng" dirty="0"/>
                  <a:t>02.Text here</a:t>
                </a:r>
              </a:p>
            </p:txBody>
          </p:sp>
        </p:grpSp>
        <p:grpSp>
          <p:nvGrpSpPr>
            <p:cNvPr id="14" name="ïšḻïḍê">
              <a:extLst>
                <a:ext uri="{FF2B5EF4-FFF2-40B4-BE49-F238E27FC236}">
                  <a16:creationId xmlns:a16="http://schemas.microsoft.com/office/drawing/2014/main" id="{253BD4E3-3CDE-4B60-BBE5-ADD41FB2B55A}"/>
                </a:ext>
              </a:extLst>
            </p:cNvPr>
            <p:cNvGrpSpPr/>
            <p:nvPr/>
          </p:nvGrpSpPr>
          <p:grpSpPr>
            <a:xfrm>
              <a:off x="673100" y="4302826"/>
              <a:ext cx="3489325" cy="1210195"/>
              <a:chOff x="4351338" y="1236382"/>
              <a:chExt cx="3489325" cy="1210195"/>
            </a:xfrm>
          </p:grpSpPr>
          <p:sp>
            <p:nvSpPr>
              <p:cNvPr id="15" name="íśľîďê">
                <a:extLst>
                  <a:ext uri="{FF2B5EF4-FFF2-40B4-BE49-F238E27FC236}">
                    <a16:creationId xmlns:a16="http://schemas.microsoft.com/office/drawing/2014/main" id="{CE8FB92D-27B0-49A1-BCA6-DB92F5D49307}"/>
                  </a:ext>
                </a:extLst>
              </p:cNvPr>
              <p:cNvSpPr/>
              <p:nvPr/>
            </p:nvSpPr>
            <p:spPr bwMode="auto">
              <a:xfrm>
                <a:off x="4351338" y="1778075"/>
                <a:ext cx="3489325" cy="668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a:lnSpc>
                    <a:spcPct val="150000"/>
                  </a:lnSpc>
                </a:pPr>
                <a:r>
                  <a:rPr lang="en-US" altLang="zh-CN" sz="1100" dirty="0"/>
                  <a:t>Copy paste fonts. Choose the only option to retain text……</a:t>
                </a:r>
              </a:p>
            </p:txBody>
          </p:sp>
          <p:sp>
            <p:nvSpPr>
              <p:cNvPr id="16" name="îṧḷïḋè">
                <a:extLst>
                  <a:ext uri="{FF2B5EF4-FFF2-40B4-BE49-F238E27FC236}">
                    <a16:creationId xmlns:a16="http://schemas.microsoft.com/office/drawing/2014/main" id="{295FEF84-B090-45B0-B505-6C095F5B9C79}"/>
                  </a:ext>
                </a:extLst>
              </p:cNvPr>
              <p:cNvSpPr txBox="1"/>
              <p:nvPr/>
            </p:nvSpPr>
            <p:spPr bwMode="auto">
              <a:xfrm>
                <a:off x="4351338" y="1236382"/>
                <a:ext cx="3489325" cy="541692"/>
              </a:xfrm>
              <a:prstGeom prst="rect">
                <a:avLst/>
              </a:prstGeom>
              <a:noFill/>
              <a:ln>
                <a:noFill/>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eaLnBrk="1" hangingPunct="1">
                  <a:lnSpc>
                    <a:spcPct val="100000"/>
                  </a:lnSpc>
                  <a:spcBef>
                    <a:spcPct val="0"/>
                  </a:spcBef>
                </a:pPr>
                <a:r>
                  <a:rPr lang="en-US" altLang="zh-CN" b="1" u="sng" dirty="0"/>
                  <a:t>03.Text here</a:t>
                </a:r>
              </a:p>
            </p:txBody>
          </p:sp>
        </p:grpSp>
      </p:grpSp>
    </p:spTree>
    <p:extLst>
      <p:ext uri="{BB962C8B-B14F-4D97-AF65-F5344CB8AC3E}">
        <p14:creationId xmlns:p14="http://schemas.microsoft.com/office/powerpoint/2010/main" val="92243847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a:t>Supporting text here.</a:t>
            </a:r>
          </a:p>
          <a:p>
            <a:pPr lvl="0">
              <a:lnSpc>
                <a:spcPct val="100000"/>
              </a:lnSpc>
            </a:pPr>
            <a:r>
              <a:rPr lang="en-US" altLang="zh-CN" dirty="0"/>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4620544" y="2712435"/>
            <a:ext cx="1252132" cy="1088682"/>
          </a:xfrm>
          <a:prstGeom prst="rect">
            <a:avLst/>
          </a:prstGeom>
          <a:solidFill>
            <a:schemeClr val="accent3"/>
          </a:solid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04</a:t>
            </a:r>
            <a:endParaRPr lang="zh-CN" altLang="en-US" spc="100" dirty="0">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32096446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B451587-412F-40B4-A34C-C9288E23B568}"/>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15CDC24A-26B6-4310-901F-827C24B35CAA}"/>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A54B5738-E868-4D27-A2F0-95FEB3005FC4}"/>
              </a:ext>
            </a:extLst>
          </p:cNvPr>
          <p:cNvSpPr>
            <a:spLocks noGrp="1"/>
          </p:cNvSpPr>
          <p:nvPr>
            <p:ph type="sldNum" sz="quarter" idx="12"/>
          </p:nvPr>
        </p:nvSpPr>
        <p:spPr/>
        <p:txBody>
          <a:bodyPr/>
          <a:lstStyle/>
          <a:p>
            <a:fld id="{5DD3DB80-B894-403A-B48E-6FDC1A72010E}" type="slidenum">
              <a:rPr lang="zh-CN" altLang="en-US" smtClean="0"/>
              <a:pPr/>
              <a:t>22</a:t>
            </a:fld>
            <a:endParaRPr lang="zh-CN" altLang="en-US"/>
          </a:p>
        </p:txBody>
      </p:sp>
      <p:grpSp>
        <p:nvGrpSpPr>
          <p:cNvPr id="5" name="27192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388EEC94-F5C6-421A-94F4-DCB4F5B0EBFF}"/>
              </a:ext>
            </a:extLst>
          </p:cNvPr>
          <p:cNvGrpSpPr>
            <a:grpSpLocks noChangeAspect="1"/>
          </p:cNvGrpSpPr>
          <p:nvPr/>
        </p:nvGrpSpPr>
        <p:grpSpPr>
          <a:xfrm>
            <a:off x="669925" y="1311500"/>
            <a:ext cx="10850563" cy="4235000"/>
            <a:chOff x="669925" y="1311500"/>
            <a:chExt cx="10850563" cy="4235000"/>
          </a:xfrm>
        </p:grpSpPr>
        <p:sp>
          <p:nvSpPr>
            <p:cNvPr id="6" name="íṩlîdê">
              <a:extLst>
                <a:ext uri="{FF2B5EF4-FFF2-40B4-BE49-F238E27FC236}">
                  <a16:creationId xmlns:a16="http://schemas.microsoft.com/office/drawing/2014/main" id="{FA4F42FC-B404-4169-9288-AE3000C422DD}"/>
                </a:ext>
              </a:extLst>
            </p:cNvPr>
            <p:cNvSpPr/>
            <p:nvPr/>
          </p:nvSpPr>
          <p:spPr>
            <a:xfrm rot="10800000">
              <a:off x="6098599" y="1311500"/>
              <a:ext cx="2117500" cy="2117500"/>
            </a:xfrm>
            <a:custGeom>
              <a:avLst/>
              <a:gdLst>
                <a:gd name="connsiteX0" fmla="*/ 1221434 w 2442868"/>
                <a:gd name="connsiteY0" fmla="*/ 2442868 h 2442868"/>
                <a:gd name="connsiteX1" fmla="*/ 0 w 2442868"/>
                <a:gd name="connsiteY1" fmla="*/ 1221434 h 2442868"/>
                <a:gd name="connsiteX2" fmla="*/ 1 w 2442868"/>
                <a:gd name="connsiteY2" fmla="*/ 1221434 h 2442868"/>
                <a:gd name="connsiteX3" fmla="*/ 1221435 w 2442868"/>
                <a:gd name="connsiteY3" fmla="*/ 0 h 2442868"/>
                <a:gd name="connsiteX4" fmla="*/ 1493563 w 2442868"/>
                <a:gd name="connsiteY4" fmla="*/ 0 h 2442868"/>
                <a:gd name="connsiteX5" fmla="*/ 1396545 w 2442868"/>
                <a:gd name="connsiteY5" fmla="*/ 4899 h 2442868"/>
                <a:gd name="connsiteX6" fmla="*/ 544335 w 2442868"/>
                <a:gd name="connsiteY6" fmla="*/ 949265 h 2442868"/>
                <a:gd name="connsiteX7" fmla="*/ 544334 w 2442868"/>
                <a:gd name="connsiteY7" fmla="*/ 949265 h 2442868"/>
                <a:gd name="connsiteX8" fmla="*/ 1493601 w 2442868"/>
                <a:gd name="connsiteY8" fmla="*/ 1898532 h 2442868"/>
                <a:gd name="connsiteX9" fmla="*/ 2442868 w 2442868"/>
                <a:gd name="connsiteY9" fmla="*/ 949265 h 2442868"/>
                <a:gd name="connsiteX10" fmla="*/ 2442868 w 2442868"/>
                <a:gd name="connsiteY10" fmla="*/ 1221434 h 2442868"/>
                <a:gd name="connsiteX11" fmla="*/ 1221434 w 2442868"/>
                <a:gd name="connsiteY11" fmla="*/ 2442868 h 244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2868" h="2442868">
                  <a:moveTo>
                    <a:pt x="1221434" y="2442868"/>
                  </a:moveTo>
                  <a:cubicBezTo>
                    <a:pt x="546855" y="2442868"/>
                    <a:pt x="0" y="1896013"/>
                    <a:pt x="0" y="1221434"/>
                  </a:cubicBezTo>
                  <a:lnTo>
                    <a:pt x="1" y="1221434"/>
                  </a:lnTo>
                  <a:cubicBezTo>
                    <a:pt x="1" y="546855"/>
                    <a:pt x="546856" y="0"/>
                    <a:pt x="1221435" y="0"/>
                  </a:cubicBezTo>
                  <a:lnTo>
                    <a:pt x="1493563" y="0"/>
                  </a:lnTo>
                  <a:lnTo>
                    <a:pt x="1396545" y="4899"/>
                  </a:lnTo>
                  <a:cubicBezTo>
                    <a:pt x="917871" y="53511"/>
                    <a:pt x="544335" y="457766"/>
                    <a:pt x="544335" y="949265"/>
                  </a:cubicBezTo>
                  <a:lnTo>
                    <a:pt x="544334" y="949265"/>
                  </a:lnTo>
                  <a:cubicBezTo>
                    <a:pt x="544334" y="1473531"/>
                    <a:pt x="969335" y="1898532"/>
                    <a:pt x="1493601" y="1898532"/>
                  </a:cubicBezTo>
                  <a:cubicBezTo>
                    <a:pt x="2017867" y="1898532"/>
                    <a:pt x="2442868" y="1473531"/>
                    <a:pt x="2442868" y="949265"/>
                  </a:cubicBezTo>
                  <a:lnTo>
                    <a:pt x="2442868" y="1221434"/>
                  </a:lnTo>
                  <a:cubicBezTo>
                    <a:pt x="2442868" y="1896013"/>
                    <a:pt x="1896013" y="2442868"/>
                    <a:pt x="1221434" y="2442868"/>
                  </a:cubicBezTo>
                  <a:close/>
                </a:path>
              </a:pathLst>
            </a:custGeom>
            <a:solidFill>
              <a:schemeClr val="bg1">
                <a:lumMod val="9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7" name="îŝļïde">
              <a:extLst>
                <a:ext uri="{FF2B5EF4-FFF2-40B4-BE49-F238E27FC236}">
                  <a16:creationId xmlns:a16="http://schemas.microsoft.com/office/drawing/2014/main" id="{9383F3B2-BAF3-48D6-BA40-B7AAC1DBD2CA}"/>
                </a:ext>
              </a:extLst>
            </p:cNvPr>
            <p:cNvSpPr/>
            <p:nvPr/>
          </p:nvSpPr>
          <p:spPr>
            <a:xfrm rot="10800000" flipV="1">
              <a:off x="6098599" y="3429000"/>
              <a:ext cx="2117500" cy="2117500"/>
            </a:xfrm>
            <a:custGeom>
              <a:avLst/>
              <a:gdLst>
                <a:gd name="connsiteX0" fmla="*/ 1221434 w 2442868"/>
                <a:gd name="connsiteY0" fmla="*/ 2442868 h 2442868"/>
                <a:gd name="connsiteX1" fmla="*/ 0 w 2442868"/>
                <a:gd name="connsiteY1" fmla="*/ 1221434 h 2442868"/>
                <a:gd name="connsiteX2" fmla="*/ 1 w 2442868"/>
                <a:gd name="connsiteY2" fmla="*/ 1221434 h 2442868"/>
                <a:gd name="connsiteX3" fmla="*/ 1221435 w 2442868"/>
                <a:gd name="connsiteY3" fmla="*/ 0 h 2442868"/>
                <a:gd name="connsiteX4" fmla="*/ 1493563 w 2442868"/>
                <a:gd name="connsiteY4" fmla="*/ 0 h 2442868"/>
                <a:gd name="connsiteX5" fmla="*/ 1396545 w 2442868"/>
                <a:gd name="connsiteY5" fmla="*/ 4899 h 2442868"/>
                <a:gd name="connsiteX6" fmla="*/ 544335 w 2442868"/>
                <a:gd name="connsiteY6" fmla="*/ 949265 h 2442868"/>
                <a:gd name="connsiteX7" fmla="*/ 544334 w 2442868"/>
                <a:gd name="connsiteY7" fmla="*/ 949265 h 2442868"/>
                <a:gd name="connsiteX8" fmla="*/ 1493601 w 2442868"/>
                <a:gd name="connsiteY8" fmla="*/ 1898532 h 2442868"/>
                <a:gd name="connsiteX9" fmla="*/ 2442868 w 2442868"/>
                <a:gd name="connsiteY9" fmla="*/ 949265 h 2442868"/>
                <a:gd name="connsiteX10" fmla="*/ 2442868 w 2442868"/>
                <a:gd name="connsiteY10" fmla="*/ 1221434 h 2442868"/>
                <a:gd name="connsiteX11" fmla="*/ 1221434 w 2442868"/>
                <a:gd name="connsiteY11" fmla="*/ 2442868 h 244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2868" h="2442868">
                  <a:moveTo>
                    <a:pt x="1221434" y="2442868"/>
                  </a:moveTo>
                  <a:cubicBezTo>
                    <a:pt x="546855" y="2442868"/>
                    <a:pt x="0" y="1896013"/>
                    <a:pt x="0" y="1221434"/>
                  </a:cubicBezTo>
                  <a:lnTo>
                    <a:pt x="1" y="1221434"/>
                  </a:lnTo>
                  <a:cubicBezTo>
                    <a:pt x="1" y="546855"/>
                    <a:pt x="546856" y="0"/>
                    <a:pt x="1221435" y="0"/>
                  </a:cubicBezTo>
                  <a:lnTo>
                    <a:pt x="1493563" y="0"/>
                  </a:lnTo>
                  <a:lnTo>
                    <a:pt x="1396545" y="4899"/>
                  </a:lnTo>
                  <a:cubicBezTo>
                    <a:pt x="917871" y="53511"/>
                    <a:pt x="544335" y="457766"/>
                    <a:pt x="544335" y="949265"/>
                  </a:cubicBezTo>
                  <a:lnTo>
                    <a:pt x="544334" y="949265"/>
                  </a:lnTo>
                  <a:cubicBezTo>
                    <a:pt x="544334" y="1473531"/>
                    <a:pt x="969335" y="1898532"/>
                    <a:pt x="1493601" y="1898532"/>
                  </a:cubicBezTo>
                  <a:cubicBezTo>
                    <a:pt x="2017867" y="1898532"/>
                    <a:pt x="2442868" y="1473531"/>
                    <a:pt x="2442868" y="949265"/>
                  </a:cubicBezTo>
                  <a:lnTo>
                    <a:pt x="2442868" y="1221434"/>
                  </a:lnTo>
                  <a:cubicBezTo>
                    <a:pt x="2442868" y="1896013"/>
                    <a:pt x="1896013" y="2442868"/>
                    <a:pt x="1221434" y="2442868"/>
                  </a:cubicBezTo>
                  <a:close/>
                </a:path>
              </a:pathLst>
            </a:custGeom>
            <a:solidFill>
              <a:schemeClr val="bg1">
                <a:lumMod val="9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8" name="iṧḷïḍé">
              <a:extLst>
                <a:ext uri="{FF2B5EF4-FFF2-40B4-BE49-F238E27FC236}">
                  <a16:creationId xmlns:a16="http://schemas.microsoft.com/office/drawing/2014/main" id="{D1E454CB-6B29-4F6D-9CD4-E80AC838CD56}"/>
                </a:ext>
              </a:extLst>
            </p:cNvPr>
            <p:cNvSpPr/>
            <p:nvPr/>
          </p:nvSpPr>
          <p:spPr>
            <a:xfrm rot="10800000" flipH="1">
              <a:off x="3975901" y="1311500"/>
              <a:ext cx="2117500" cy="2117500"/>
            </a:xfrm>
            <a:custGeom>
              <a:avLst/>
              <a:gdLst>
                <a:gd name="connsiteX0" fmla="*/ 1221434 w 2442868"/>
                <a:gd name="connsiteY0" fmla="*/ 2442868 h 2442868"/>
                <a:gd name="connsiteX1" fmla="*/ 0 w 2442868"/>
                <a:gd name="connsiteY1" fmla="*/ 1221434 h 2442868"/>
                <a:gd name="connsiteX2" fmla="*/ 1 w 2442868"/>
                <a:gd name="connsiteY2" fmla="*/ 1221434 h 2442868"/>
                <a:gd name="connsiteX3" fmla="*/ 1221435 w 2442868"/>
                <a:gd name="connsiteY3" fmla="*/ 0 h 2442868"/>
                <a:gd name="connsiteX4" fmla="*/ 1493563 w 2442868"/>
                <a:gd name="connsiteY4" fmla="*/ 0 h 2442868"/>
                <a:gd name="connsiteX5" fmla="*/ 1396545 w 2442868"/>
                <a:gd name="connsiteY5" fmla="*/ 4899 h 2442868"/>
                <a:gd name="connsiteX6" fmla="*/ 544335 w 2442868"/>
                <a:gd name="connsiteY6" fmla="*/ 949265 h 2442868"/>
                <a:gd name="connsiteX7" fmla="*/ 544334 w 2442868"/>
                <a:gd name="connsiteY7" fmla="*/ 949265 h 2442868"/>
                <a:gd name="connsiteX8" fmla="*/ 1493601 w 2442868"/>
                <a:gd name="connsiteY8" fmla="*/ 1898532 h 2442868"/>
                <a:gd name="connsiteX9" fmla="*/ 2442868 w 2442868"/>
                <a:gd name="connsiteY9" fmla="*/ 949265 h 2442868"/>
                <a:gd name="connsiteX10" fmla="*/ 2442868 w 2442868"/>
                <a:gd name="connsiteY10" fmla="*/ 1221434 h 2442868"/>
                <a:gd name="connsiteX11" fmla="*/ 1221434 w 2442868"/>
                <a:gd name="connsiteY11" fmla="*/ 2442868 h 244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2868" h="2442868">
                  <a:moveTo>
                    <a:pt x="1221434" y="2442868"/>
                  </a:moveTo>
                  <a:cubicBezTo>
                    <a:pt x="546855" y="2442868"/>
                    <a:pt x="0" y="1896013"/>
                    <a:pt x="0" y="1221434"/>
                  </a:cubicBezTo>
                  <a:lnTo>
                    <a:pt x="1" y="1221434"/>
                  </a:lnTo>
                  <a:cubicBezTo>
                    <a:pt x="1" y="546855"/>
                    <a:pt x="546856" y="0"/>
                    <a:pt x="1221435" y="0"/>
                  </a:cubicBezTo>
                  <a:lnTo>
                    <a:pt x="1493563" y="0"/>
                  </a:lnTo>
                  <a:lnTo>
                    <a:pt x="1396545" y="4899"/>
                  </a:lnTo>
                  <a:cubicBezTo>
                    <a:pt x="917871" y="53511"/>
                    <a:pt x="544335" y="457766"/>
                    <a:pt x="544335" y="949265"/>
                  </a:cubicBezTo>
                  <a:lnTo>
                    <a:pt x="544334" y="949265"/>
                  </a:lnTo>
                  <a:cubicBezTo>
                    <a:pt x="544334" y="1473531"/>
                    <a:pt x="969335" y="1898532"/>
                    <a:pt x="1493601" y="1898532"/>
                  </a:cubicBezTo>
                  <a:cubicBezTo>
                    <a:pt x="2017867" y="1898532"/>
                    <a:pt x="2442868" y="1473531"/>
                    <a:pt x="2442868" y="949265"/>
                  </a:cubicBezTo>
                  <a:lnTo>
                    <a:pt x="2442868" y="1221434"/>
                  </a:lnTo>
                  <a:cubicBezTo>
                    <a:pt x="2442868" y="1896013"/>
                    <a:pt x="1896013" y="2442868"/>
                    <a:pt x="1221434" y="2442868"/>
                  </a:cubicBezTo>
                  <a:close/>
                </a:path>
              </a:pathLst>
            </a:custGeom>
            <a:solidFill>
              <a:schemeClr val="bg1">
                <a:lumMod val="9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9" name="ïš1ïde">
              <a:extLst>
                <a:ext uri="{FF2B5EF4-FFF2-40B4-BE49-F238E27FC236}">
                  <a16:creationId xmlns:a16="http://schemas.microsoft.com/office/drawing/2014/main" id="{7F16844B-80B0-4D0B-A583-8228363EA040}"/>
                </a:ext>
              </a:extLst>
            </p:cNvPr>
            <p:cNvSpPr/>
            <p:nvPr/>
          </p:nvSpPr>
          <p:spPr>
            <a:xfrm rot="10800000" flipH="1" flipV="1">
              <a:off x="3975901" y="3429000"/>
              <a:ext cx="2117500" cy="2117500"/>
            </a:xfrm>
            <a:custGeom>
              <a:avLst/>
              <a:gdLst>
                <a:gd name="connsiteX0" fmla="*/ 1221434 w 2442868"/>
                <a:gd name="connsiteY0" fmla="*/ 2442868 h 2442868"/>
                <a:gd name="connsiteX1" fmla="*/ 0 w 2442868"/>
                <a:gd name="connsiteY1" fmla="*/ 1221434 h 2442868"/>
                <a:gd name="connsiteX2" fmla="*/ 1 w 2442868"/>
                <a:gd name="connsiteY2" fmla="*/ 1221434 h 2442868"/>
                <a:gd name="connsiteX3" fmla="*/ 1221435 w 2442868"/>
                <a:gd name="connsiteY3" fmla="*/ 0 h 2442868"/>
                <a:gd name="connsiteX4" fmla="*/ 1493563 w 2442868"/>
                <a:gd name="connsiteY4" fmla="*/ 0 h 2442868"/>
                <a:gd name="connsiteX5" fmla="*/ 1396545 w 2442868"/>
                <a:gd name="connsiteY5" fmla="*/ 4899 h 2442868"/>
                <a:gd name="connsiteX6" fmla="*/ 544335 w 2442868"/>
                <a:gd name="connsiteY6" fmla="*/ 949265 h 2442868"/>
                <a:gd name="connsiteX7" fmla="*/ 544334 w 2442868"/>
                <a:gd name="connsiteY7" fmla="*/ 949265 h 2442868"/>
                <a:gd name="connsiteX8" fmla="*/ 1493601 w 2442868"/>
                <a:gd name="connsiteY8" fmla="*/ 1898532 h 2442868"/>
                <a:gd name="connsiteX9" fmla="*/ 2442868 w 2442868"/>
                <a:gd name="connsiteY9" fmla="*/ 949265 h 2442868"/>
                <a:gd name="connsiteX10" fmla="*/ 2442868 w 2442868"/>
                <a:gd name="connsiteY10" fmla="*/ 1221434 h 2442868"/>
                <a:gd name="connsiteX11" fmla="*/ 1221434 w 2442868"/>
                <a:gd name="connsiteY11" fmla="*/ 2442868 h 24428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42868" h="2442868">
                  <a:moveTo>
                    <a:pt x="1221434" y="2442868"/>
                  </a:moveTo>
                  <a:cubicBezTo>
                    <a:pt x="546855" y="2442868"/>
                    <a:pt x="0" y="1896013"/>
                    <a:pt x="0" y="1221434"/>
                  </a:cubicBezTo>
                  <a:lnTo>
                    <a:pt x="1" y="1221434"/>
                  </a:lnTo>
                  <a:cubicBezTo>
                    <a:pt x="1" y="546855"/>
                    <a:pt x="546856" y="0"/>
                    <a:pt x="1221435" y="0"/>
                  </a:cubicBezTo>
                  <a:lnTo>
                    <a:pt x="1493563" y="0"/>
                  </a:lnTo>
                  <a:lnTo>
                    <a:pt x="1396545" y="4899"/>
                  </a:lnTo>
                  <a:cubicBezTo>
                    <a:pt x="917871" y="53511"/>
                    <a:pt x="544335" y="457766"/>
                    <a:pt x="544335" y="949265"/>
                  </a:cubicBezTo>
                  <a:lnTo>
                    <a:pt x="544334" y="949265"/>
                  </a:lnTo>
                  <a:cubicBezTo>
                    <a:pt x="544334" y="1473531"/>
                    <a:pt x="969335" y="1898532"/>
                    <a:pt x="1493601" y="1898532"/>
                  </a:cubicBezTo>
                  <a:cubicBezTo>
                    <a:pt x="2017867" y="1898532"/>
                    <a:pt x="2442868" y="1473531"/>
                    <a:pt x="2442868" y="949265"/>
                  </a:cubicBezTo>
                  <a:lnTo>
                    <a:pt x="2442868" y="1221434"/>
                  </a:lnTo>
                  <a:cubicBezTo>
                    <a:pt x="2442868" y="1896013"/>
                    <a:pt x="1896013" y="2442868"/>
                    <a:pt x="1221434" y="2442868"/>
                  </a:cubicBezTo>
                  <a:close/>
                </a:path>
              </a:pathLst>
            </a:custGeom>
            <a:solidFill>
              <a:schemeClr val="bg1">
                <a:lumMod val="95000"/>
                <a:alpha val="5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10" name="ïṡlïḓê">
              <a:extLst>
                <a:ext uri="{FF2B5EF4-FFF2-40B4-BE49-F238E27FC236}">
                  <a16:creationId xmlns:a16="http://schemas.microsoft.com/office/drawing/2014/main" id="{E402BEF0-E811-4B4C-838F-8CDAAE4685C0}"/>
                </a:ext>
              </a:extLst>
            </p:cNvPr>
            <p:cNvSpPr/>
            <p:nvPr/>
          </p:nvSpPr>
          <p:spPr>
            <a:xfrm>
              <a:off x="5003292" y="2409444"/>
              <a:ext cx="2185416" cy="2185416"/>
            </a:xfrm>
            <a:prstGeom prst="ellipse">
              <a:avLst/>
            </a:prstGeom>
            <a:solidFill>
              <a:schemeClr val="accent1"/>
            </a:solidFill>
            <a:ln w="57150" cmpd="thickThin">
              <a:solidFill>
                <a:schemeClr val="bg1"/>
              </a:solid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anchor="ctr">
              <a:normAutofit/>
            </a:bodyPr>
            <a:lstStyle/>
            <a:p>
              <a:pPr algn="ctr" defTabSz="914377"/>
              <a:r>
                <a:rPr lang="en-US" altLang="zh-CN" sz="2000" b="1" i="1"/>
                <a:t>…text</a:t>
              </a:r>
              <a:endParaRPr lang="zh-CN" altLang="en-US" sz="2000" b="1" i="1"/>
            </a:p>
          </p:txBody>
        </p:sp>
        <p:grpSp>
          <p:nvGrpSpPr>
            <p:cNvPr id="11" name="íṣ1îdé">
              <a:extLst>
                <a:ext uri="{FF2B5EF4-FFF2-40B4-BE49-F238E27FC236}">
                  <a16:creationId xmlns:a16="http://schemas.microsoft.com/office/drawing/2014/main" id="{8DE4970D-3D12-422C-BCA1-32DD34E03FE5}"/>
                </a:ext>
              </a:extLst>
            </p:cNvPr>
            <p:cNvGrpSpPr/>
            <p:nvPr/>
          </p:nvGrpSpPr>
          <p:grpSpPr>
            <a:xfrm>
              <a:off x="6694932" y="3931920"/>
              <a:ext cx="612648" cy="612648"/>
              <a:chOff x="8668512" y="3986784"/>
              <a:chExt cx="612648" cy="612648"/>
            </a:xfrm>
          </p:grpSpPr>
          <p:sp>
            <p:nvSpPr>
              <p:cNvPr id="35" name="íṣľïḍé">
                <a:extLst>
                  <a:ext uri="{FF2B5EF4-FFF2-40B4-BE49-F238E27FC236}">
                    <a16:creationId xmlns:a16="http://schemas.microsoft.com/office/drawing/2014/main" id="{C29BADD0-55BE-45C4-9DCE-CC7307321147}"/>
                  </a:ext>
                </a:extLst>
              </p:cNvPr>
              <p:cNvSpPr/>
              <p:nvPr/>
            </p:nvSpPr>
            <p:spPr>
              <a:xfrm>
                <a:off x="8668512" y="3986784"/>
                <a:ext cx="612648" cy="612648"/>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36" name="îşľîḑè">
                <a:extLst>
                  <a:ext uri="{FF2B5EF4-FFF2-40B4-BE49-F238E27FC236}">
                    <a16:creationId xmlns:a16="http://schemas.microsoft.com/office/drawing/2014/main" id="{ABD7621A-264C-44E2-A239-D1E768F60295}"/>
                  </a:ext>
                </a:extLst>
              </p:cNvPr>
              <p:cNvSpPr/>
              <p:nvPr/>
            </p:nvSpPr>
            <p:spPr bwMode="auto">
              <a:xfrm>
                <a:off x="8814816" y="4170508"/>
                <a:ext cx="320040" cy="245200"/>
              </a:xfrm>
              <a:custGeom>
                <a:avLst/>
                <a:gdLst>
                  <a:gd name="T0" fmla="*/ 633 w 718"/>
                  <a:gd name="T1" fmla="*/ 0 h 549"/>
                  <a:gd name="T2" fmla="*/ 549 w 718"/>
                  <a:gd name="T3" fmla="*/ 84 h 549"/>
                  <a:gd name="T4" fmla="*/ 578 w 718"/>
                  <a:gd name="T5" fmla="*/ 148 h 549"/>
                  <a:gd name="T6" fmla="*/ 475 w 718"/>
                  <a:gd name="T7" fmla="*/ 302 h 549"/>
                  <a:gd name="T8" fmla="*/ 443 w 718"/>
                  <a:gd name="T9" fmla="*/ 296 h 549"/>
                  <a:gd name="T10" fmla="*/ 369 w 718"/>
                  <a:gd name="T11" fmla="*/ 340 h 549"/>
                  <a:gd name="T12" fmla="*/ 310 w 718"/>
                  <a:gd name="T13" fmla="*/ 305 h 549"/>
                  <a:gd name="T14" fmla="*/ 316 w 718"/>
                  <a:gd name="T15" fmla="*/ 275 h 549"/>
                  <a:gd name="T16" fmla="*/ 232 w 718"/>
                  <a:gd name="T17" fmla="*/ 190 h 549"/>
                  <a:gd name="T18" fmla="*/ 147 w 718"/>
                  <a:gd name="T19" fmla="*/ 275 h 549"/>
                  <a:gd name="T20" fmla="*/ 176 w 718"/>
                  <a:gd name="T21" fmla="*/ 338 h 549"/>
                  <a:gd name="T22" fmla="*/ 133 w 718"/>
                  <a:gd name="T23" fmla="*/ 396 h 549"/>
                  <a:gd name="T24" fmla="*/ 84 w 718"/>
                  <a:gd name="T25" fmla="*/ 380 h 549"/>
                  <a:gd name="T26" fmla="*/ 0 w 718"/>
                  <a:gd name="T27" fmla="*/ 465 h 549"/>
                  <a:gd name="T28" fmla="*/ 84 w 718"/>
                  <a:gd name="T29" fmla="*/ 549 h 549"/>
                  <a:gd name="T30" fmla="*/ 168 w 718"/>
                  <a:gd name="T31" fmla="*/ 465 h 549"/>
                  <a:gd name="T32" fmla="*/ 148 w 718"/>
                  <a:gd name="T33" fmla="*/ 411 h 549"/>
                  <a:gd name="T34" fmla="*/ 194 w 718"/>
                  <a:gd name="T35" fmla="*/ 350 h 549"/>
                  <a:gd name="T36" fmla="*/ 232 w 718"/>
                  <a:gd name="T37" fmla="*/ 359 h 549"/>
                  <a:gd name="T38" fmla="*/ 300 w 718"/>
                  <a:gd name="T39" fmla="*/ 324 h 549"/>
                  <a:gd name="T40" fmla="*/ 361 w 718"/>
                  <a:gd name="T41" fmla="*/ 360 h 549"/>
                  <a:gd name="T42" fmla="*/ 359 w 718"/>
                  <a:gd name="T43" fmla="*/ 380 h 549"/>
                  <a:gd name="T44" fmla="*/ 443 w 718"/>
                  <a:gd name="T45" fmla="*/ 465 h 549"/>
                  <a:gd name="T46" fmla="*/ 528 w 718"/>
                  <a:gd name="T47" fmla="*/ 380 h 549"/>
                  <a:gd name="T48" fmla="*/ 494 w 718"/>
                  <a:gd name="T49" fmla="*/ 313 h 549"/>
                  <a:gd name="T50" fmla="*/ 596 w 718"/>
                  <a:gd name="T51" fmla="*/ 160 h 549"/>
                  <a:gd name="T52" fmla="*/ 633 w 718"/>
                  <a:gd name="T53" fmla="*/ 169 h 549"/>
                  <a:gd name="T54" fmla="*/ 718 w 718"/>
                  <a:gd name="T55" fmla="*/ 84 h 549"/>
                  <a:gd name="T56" fmla="*/ 633 w 718"/>
                  <a:gd name="T57" fmla="*/ 0 h 549"/>
                  <a:gd name="T58" fmla="*/ 84 w 718"/>
                  <a:gd name="T59" fmla="*/ 507 h 549"/>
                  <a:gd name="T60" fmla="*/ 42 w 718"/>
                  <a:gd name="T61" fmla="*/ 465 h 549"/>
                  <a:gd name="T62" fmla="*/ 84 w 718"/>
                  <a:gd name="T63" fmla="*/ 422 h 549"/>
                  <a:gd name="T64" fmla="*/ 126 w 718"/>
                  <a:gd name="T65" fmla="*/ 465 h 549"/>
                  <a:gd name="T66" fmla="*/ 84 w 718"/>
                  <a:gd name="T67" fmla="*/ 507 h 549"/>
                  <a:gd name="T68" fmla="*/ 232 w 718"/>
                  <a:gd name="T69" fmla="*/ 317 h 549"/>
                  <a:gd name="T70" fmla="*/ 190 w 718"/>
                  <a:gd name="T71" fmla="*/ 275 h 549"/>
                  <a:gd name="T72" fmla="*/ 232 w 718"/>
                  <a:gd name="T73" fmla="*/ 233 h 549"/>
                  <a:gd name="T74" fmla="*/ 274 w 718"/>
                  <a:gd name="T75" fmla="*/ 275 h 549"/>
                  <a:gd name="T76" fmla="*/ 232 w 718"/>
                  <a:gd name="T77" fmla="*/ 317 h 549"/>
                  <a:gd name="T78" fmla="*/ 443 w 718"/>
                  <a:gd name="T79" fmla="*/ 422 h 549"/>
                  <a:gd name="T80" fmla="*/ 401 w 718"/>
                  <a:gd name="T81" fmla="*/ 380 h 549"/>
                  <a:gd name="T82" fmla="*/ 443 w 718"/>
                  <a:gd name="T83" fmla="*/ 338 h 549"/>
                  <a:gd name="T84" fmla="*/ 486 w 718"/>
                  <a:gd name="T85" fmla="*/ 380 h 549"/>
                  <a:gd name="T86" fmla="*/ 443 w 718"/>
                  <a:gd name="T87" fmla="*/ 422 h 549"/>
                  <a:gd name="T88" fmla="*/ 633 w 718"/>
                  <a:gd name="T89" fmla="*/ 127 h 549"/>
                  <a:gd name="T90" fmla="*/ 591 w 718"/>
                  <a:gd name="T91" fmla="*/ 84 h 549"/>
                  <a:gd name="T92" fmla="*/ 633 w 718"/>
                  <a:gd name="T93" fmla="*/ 42 h 549"/>
                  <a:gd name="T94" fmla="*/ 675 w 718"/>
                  <a:gd name="T95" fmla="*/ 84 h 549"/>
                  <a:gd name="T96" fmla="*/ 633 w 718"/>
                  <a:gd name="T97" fmla="*/ 12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8" h="549">
                    <a:moveTo>
                      <a:pt x="633" y="0"/>
                    </a:moveTo>
                    <a:cubicBezTo>
                      <a:pt x="587" y="0"/>
                      <a:pt x="549" y="38"/>
                      <a:pt x="549" y="84"/>
                    </a:cubicBezTo>
                    <a:cubicBezTo>
                      <a:pt x="549" y="110"/>
                      <a:pt x="561" y="132"/>
                      <a:pt x="578" y="148"/>
                    </a:cubicBezTo>
                    <a:cubicBezTo>
                      <a:pt x="475" y="302"/>
                      <a:pt x="475" y="302"/>
                      <a:pt x="475" y="302"/>
                    </a:cubicBezTo>
                    <a:cubicBezTo>
                      <a:pt x="466" y="298"/>
                      <a:pt x="455" y="296"/>
                      <a:pt x="443" y="296"/>
                    </a:cubicBezTo>
                    <a:cubicBezTo>
                      <a:pt x="411" y="296"/>
                      <a:pt x="383" y="314"/>
                      <a:pt x="369" y="340"/>
                    </a:cubicBezTo>
                    <a:cubicBezTo>
                      <a:pt x="310" y="305"/>
                      <a:pt x="310" y="305"/>
                      <a:pt x="310" y="305"/>
                    </a:cubicBezTo>
                    <a:cubicBezTo>
                      <a:pt x="314" y="296"/>
                      <a:pt x="316" y="285"/>
                      <a:pt x="316" y="275"/>
                    </a:cubicBezTo>
                    <a:cubicBezTo>
                      <a:pt x="316" y="228"/>
                      <a:pt x="278" y="190"/>
                      <a:pt x="232" y="190"/>
                    </a:cubicBezTo>
                    <a:cubicBezTo>
                      <a:pt x="185" y="190"/>
                      <a:pt x="147" y="228"/>
                      <a:pt x="147" y="275"/>
                    </a:cubicBezTo>
                    <a:cubicBezTo>
                      <a:pt x="147" y="300"/>
                      <a:pt x="159" y="322"/>
                      <a:pt x="176" y="338"/>
                    </a:cubicBezTo>
                    <a:cubicBezTo>
                      <a:pt x="133" y="396"/>
                      <a:pt x="133" y="396"/>
                      <a:pt x="133" y="396"/>
                    </a:cubicBezTo>
                    <a:cubicBezTo>
                      <a:pt x="119" y="386"/>
                      <a:pt x="102" y="380"/>
                      <a:pt x="84" y="380"/>
                    </a:cubicBezTo>
                    <a:cubicBezTo>
                      <a:pt x="38" y="380"/>
                      <a:pt x="0" y="418"/>
                      <a:pt x="0" y="465"/>
                    </a:cubicBezTo>
                    <a:cubicBezTo>
                      <a:pt x="0" y="511"/>
                      <a:pt x="38" y="549"/>
                      <a:pt x="84" y="549"/>
                    </a:cubicBezTo>
                    <a:cubicBezTo>
                      <a:pt x="130" y="549"/>
                      <a:pt x="168" y="511"/>
                      <a:pt x="168" y="465"/>
                    </a:cubicBezTo>
                    <a:cubicBezTo>
                      <a:pt x="168" y="444"/>
                      <a:pt x="160" y="425"/>
                      <a:pt x="148" y="411"/>
                    </a:cubicBezTo>
                    <a:cubicBezTo>
                      <a:pt x="194" y="350"/>
                      <a:pt x="194" y="350"/>
                      <a:pt x="194" y="350"/>
                    </a:cubicBezTo>
                    <a:cubicBezTo>
                      <a:pt x="205" y="355"/>
                      <a:pt x="218" y="359"/>
                      <a:pt x="232" y="359"/>
                    </a:cubicBezTo>
                    <a:cubicBezTo>
                      <a:pt x="260" y="359"/>
                      <a:pt x="285" y="345"/>
                      <a:pt x="300" y="324"/>
                    </a:cubicBezTo>
                    <a:cubicBezTo>
                      <a:pt x="361" y="360"/>
                      <a:pt x="361" y="360"/>
                      <a:pt x="361" y="360"/>
                    </a:cubicBezTo>
                    <a:cubicBezTo>
                      <a:pt x="360" y="367"/>
                      <a:pt x="359" y="373"/>
                      <a:pt x="359" y="380"/>
                    </a:cubicBezTo>
                    <a:cubicBezTo>
                      <a:pt x="359" y="427"/>
                      <a:pt x="397" y="465"/>
                      <a:pt x="443" y="465"/>
                    </a:cubicBezTo>
                    <a:cubicBezTo>
                      <a:pt x="490" y="465"/>
                      <a:pt x="528" y="427"/>
                      <a:pt x="528" y="380"/>
                    </a:cubicBezTo>
                    <a:cubicBezTo>
                      <a:pt x="528" y="352"/>
                      <a:pt x="514" y="328"/>
                      <a:pt x="494" y="313"/>
                    </a:cubicBezTo>
                    <a:cubicBezTo>
                      <a:pt x="596" y="160"/>
                      <a:pt x="596" y="160"/>
                      <a:pt x="596" y="160"/>
                    </a:cubicBezTo>
                    <a:cubicBezTo>
                      <a:pt x="607" y="165"/>
                      <a:pt x="620" y="169"/>
                      <a:pt x="633" y="169"/>
                    </a:cubicBezTo>
                    <a:cubicBezTo>
                      <a:pt x="680" y="169"/>
                      <a:pt x="718" y="131"/>
                      <a:pt x="718" y="84"/>
                    </a:cubicBezTo>
                    <a:cubicBezTo>
                      <a:pt x="718" y="38"/>
                      <a:pt x="680" y="0"/>
                      <a:pt x="633" y="0"/>
                    </a:cubicBezTo>
                    <a:close/>
                    <a:moveTo>
                      <a:pt x="84" y="507"/>
                    </a:moveTo>
                    <a:cubicBezTo>
                      <a:pt x="61" y="507"/>
                      <a:pt x="42" y="488"/>
                      <a:pt x="42" y="465"/>
                    </a:cubicBezTo>
                    <a:cubicBezTo>
                      <a:pt x="42" y="441"/>
                      <a:pt x="61" y="422"/>
                      <a:pt x="84" y="422"/>
                    </a:cubicBezTo>
                    <a:cubicBezTo>
                      <a:pt x="107" y="422"/>
                      <a:pt x="126" y="441"/>
                      <a:pt x="126" y="465"/>
                    </a:cubicBezTo>
                    <a:cubicBezTo>
                      <a:pt x="126" y="488"/>
                      <a:pt x="107" y="507"/>
                      <a:pt x="84" y="507"/>
                    </a:cubicBezTo>
                    <a:close/>
                    <a:moveTo>
                      <a:pt x="232" y="317"/>
                    </a:moveTo>
                    <a:cubicBezTo>
                      <a:pt x="209" y="317"/>
                      <a:pt x="190" y="298"/>
                      <a:pt x="190" y="275"/>
                    </a:cubicBezTo>
                    <a:cubicBezTo>
                      <a:pt x="190" y="251"/>
                      <a:pt x="209" y="233"/>
                      <a:pt x="232" y="233"/>
                    </a:cubicBezTo>
                    <a:cubicBezTo>
                      <a:pt x="255" y="233"/>
                      <a:pt x="274" y="251"/>
                      <a:pt x="274" y="275"/>
                    </a:cubicBezTo>
                    <a:cubicBezTo>
                      <a:pt x="274" y="298"/>
                      <a:pt x="255" y="317"/>
                      <a:pt x="232" y="317"/>
                    </a:cubicBezTo>
                    <a:close/>
                    <a:moveTo>
                      <a:pt x="443" y="422"/>
                    </a:moveTo>
                    <a:cubicBezTo>
                      <a:pt x="420" y="422"/>
                      <a:pt x="401" y="403"/>
                      <a:pt x="401" y="380"/>
                    </a:cubicBezTo>
                    <a:cubicBezTo>
                      <a:pt x="401" y="357"/>
                      <a:pt x="420" y="338"/>
                      <a:pt x="443" y="338"/>
                    </a:cubicBezTo>
                    <a:cubicBezTo>
                      <a:pt x="467" y="338"/>
                      <a:pt x="486" y="357"/>
                      <a:pt x="486" y="380"/>
                    </a:cubicBezTo>
                    <a:cubicBezTo>
                      <a:pt x="486" y="403"/>
                      <a:pt x="467" y="422"/>
                      <a:pt x="443" y="422"/>
                    </a:cubicBezTo>
                    <a:close/>
                    <a:moveTo>
                      <a:pt x="633" y="127"/>
                    </a:moveTo>
                    <a:cubicBezTo>
                      <a:pt x="610" y="127"/>
                      <a:pt x="591" y="108"/>
                      <a:pt x="591" y="84"/>
                    </a:cubicBezTo>
                    <a:cubicBezTo>
                      <a:pt x="591" y="61"/>
                      <a:pt x="610" y="42"/>
                      <a:pt x="633" y="42"/>
                    </a:cubicBezTo>
                    <a:cubicBezTo>
                      <a:pt x="657" y="42"/>
                      <a:pt x="675" y="61"/>
                      <a:pt x="675" y="84"/>
                    </a:cubicBezTo>
                    <a:cubicBezTo>
                      <a:pt x="675" y="108"/>
                      <a:pt x="657" y="127"/>
                      <a:pt x="633" y="127"/>
                    </a:cubicBezTo>
                    <a:close/>
                  </a:path>
                </a:pathLst>
              </a:custGeom>
              <a:solidFill>
                <a:schemeClr val="bg1"/>
              </a:solidFill>
              <a:ln>
                <a:noFill/>
              </a:ln>
            </p:spPr>
            <p:txBody>
              <a:bodyPr wrap="square" lIns="91440" tIns="45720" rIns="91440" bIns="45720" anchor="ctr">
                <a:normAutofit fontScale="62500" lnSpcReduction="20000"/>
              </a:bodyPr>
              <a:lstStyle/>
              <a:p>
                <a:pPr algn="ctr"/>
                <a:endParaRPr/>
              </a:p>
            </p:txBody>
          </p:sp>
        </p:grpSp>
        <p:grpSp>
          <p:nvGrpSpPr>
            <p:cNvPr id="12" name="îSļiḑê">
              <a:extLst>
                <a:ext uri="{FF2B5EF4-FFF2-40B4-BE49-F238E27FC236}">
                  <a16:creationId xmlns:a16="http://schemas.microsoft.com/office/drawing/2014/main" id="{7B066314-CFD0-4AB4-AC67-5C0E8348946D}"/>
                </a:ext>
              </a:extLst>
            </p:cNvPr>
            <p:cNvGrpSpPr/>
            <p:nvPr/>
          </p:nvGrpSpPr>
          <p:grpSpPr>
            <a:xfrm>
              <a:off x="4866132" y="3931920"/>
              <a:ext cx="612648" cy="612648"/>
              <a:chOff x="8668512" y="3986784"/>
              <a:chExt cx="612648" cy="612648"/>
            </a:xfrm>
          </p:grpSpPr>
          <p:sp>
            <p:nvSpPr>
              <p:cNvPr id="33" name="iṩlïḍé">
                <a:extLst>
                  <a:ext uri="{FF2B5EF4-FFF2-40B4-BE49-F238E27FC236}">
                    <a16:creationId xmlns:a16="http://schemas.microsoft.com/office/drawing/2014/main" id="{98C52007-22C3-47B2-BDF7-1AA20C84B156}"/>
                  </a:ext>
                </a:extLst>
              </p:cNvPr>
              <p:cNvSpPr/>
              <p:nvPr/>
            </p:nvSpPr>
            <p:spPr>
              <a:xfrm>
                <a:off x="8668512" y="3986784"/>
                <a:ext cx="612648" cy="612648"/>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34" name="isļíďè">
                <a:extLst>
                  <a:ext uri="{FF2B5EF4-FFF2-40B4-BE49-F238E27FC236}">
                    <a16:creationId xmlns:a16="http://schemas.microsoft.com/office/drawing/2014/main" id="{77A2DC90-2E46-4032-AEFE-18E3BF1EE2FB}"/>
                  </a:ext>
                </a:extLst>
              </p:cNvPr>
              <p:cNvSpPr/>
              <p:nvPr/>
            </p:nvSpPr>
            <p:spPr bwMode="auto">
              <a:xfrm>
                <a:off x="8814816" y="4170508"/>
                <a:ext cx="320040" cy="245200"/>
              </a:xfrm>
              <a:custGeom>
                <a:avLst/>
                <a:gdLst>
                  <a:gd name="T0" fmla="*/ 633 w 718"/>
                  <a:gd name="T1" fmla="*/ 0 h 549"/>
                  <a:gd name="T2" fmla="*/ 549 w 718"/>
                  <a:gd name="T3" fmla="*/ 84 h 549"/>
                  <a:gd name="T4" fmla="*/ 578 w 718"/>
                  <a:gd name="T5" fmla="*/ 148 h 549"/>
                  <a:gd name="T6" fmla="*/ 475 w 718"/>
                  <a:gd name="T7" fmla="*/ 302 h 549"/>
                  <a:gd name="T8" fmla="*/ 443 w 718"/>
                  <a:gd name="T9" fmla="*/ 296 h 549"/>
                  <a:gd name="T10" fmla="*/ 369 w 718"/>
                  <a:gd name="T11" fmla="*/ 340 h 549"/>
                  <a:gd name="T12" fmla="*/ 310 w 718"/>
                  <a:gd name="T13" fmla="*/ 305 h 549"/>
                  <a:gd name="T14" fmla="*/ 316 w 718"/>
                  <a:gd name="T15" fmla="*/ 275 h 549"/>
                  <a:gd name="T16" fmla="*/ 232 w 718"/>
                  <a:gd name="T17" fmla="*/ 190 h 549"/>
                  <a:gd name="T18" fmla="*/ 147 w 718"/>
                  <a:gd name="T19" fmla="*/ 275 h 549"/>
                  <a:gd name="T20" fmla="*/ 176 w 718"/>
                  <a:gd name="T21" fmla="*/ 338 h 549"/>
                  <a:gd name="T22" fmla="*/ 133 w 718"/>
                  <a:gd name="T23" fmla="*/ 396 h 549"/>
                  <a:gd name="T24" fmla="*/ 84 w 718"/>
                  <a:gd name="T25" fmla="*/ 380 h 549"/>
                  <a:gd name="T26" fmla="*/ 0 w 718"/>
                  <a:gd name="T27" fmla="*/ 465 h 549"/>
                  <a:gd name="T28" fmla="*/ 84 w 718"/>
                  <a:gd name="T29" fmla="*/ 549 h 549"/>
                  <a:gd name="T30" fmla="*/ 168 w 718"/>
                  <a:gd name="T31" fmla="*/ 465 h 549"/>
                  <a:gd name="T32" fmla="*/ 148 w 718"/>
                  <a:gd name="T33" fmla="*/ 411 h 549"/>
                  <a:gd name="T34" fmla="*/ 194 w 718"/>
                  <a:gd name="T35" fmla="*/ 350 h 549"/>
                  <a:gd name="T36" fmla="*/ 232 w 718"/>
                  <a:gd name="T37" fmla="*/ 359 h 549"/>
                  <a:gd name="T38" fmla="*/ 300 w 718"/>
                  <a:gd name="T39" fmla="*/ 324 h 549"/>
                  <a:gd name="T40" fmla="*/ 361 w 718"/>
                  <a:gd name="T41" fmla="*/ 360 h 549"/>
                  <a:gd name="T42" fmla="*/ 359 w 718"/>
                  <a:gd name="T43" fmla="*/ 380 h 549"/>
                  <a:gd name="T44" fmla="*/ 443 w 718"/>
                  <a:gd name="T45" fmla="*/ 465 h 549"/>
                  <a:gd name="T46" fmla="*/ 528 w 718"/>
                  <a:gd name="T47" fmla="*/ 380 h 549"/>
                  <a:gd name="T48" fmla="*/ 494 w 718"/>
                  <a:gd name="T49" fmla="*/ 313 h 549"/>
                  <a:gd name="T50" fmla="*/ 596 w 718"/>
                  <a:gd name="T51" fmla="*/ 160 h 549"/>
                  <a:gd name="T52" fmla="*/ 633 w 718"/>
                  <a:gd name="T53" fmla="*/ 169 h 549"/>
                  <a:gd name="T54" fmla="*/ 718 w 718"/>
                  <a:gd name="T55" fmla="*/ 84 h 549"/>
                  <a:gd name="T56" fmla="*/ 633 w 718"/>
                  <a:gd name="T57" fmla="*/ 0 h 549"/>
                  <a:gd name="T58" fmla="*/ 84 w 718"/>
                  <a:gd name="T59" fmla="*/ 507 h 549"/>
                  <a:gd name="T60" fmla="*/ 42 w 718"/>
                  <a:gd name="T61" fmla="*/ 465 h 549"/>
                  <a:gd name="T62" fmla="*/ 84 w 718"/>
                  <a:gd name="T63" fmla="*/ 422 h 549"/>
                  <a:gd name="T64" fmla="*/ 126 w 718"/>
                  <a:gd name="T65" fmla="*/ 465 h 549"/>
                  <a:gd name="T66" fmla="*/ 84 w 718"/>
                  <a:gd name="T67" fmla="*/ 507 h 549"/>
                  <a:gd name="T68" fmla="*/ 232 w 718"/>
                  <a:gd name="T69" fmla="*/ 317 h 549"/>
                  <a:gd name="T70" fmla="*/ 190 w 718"/>
                  <a:gd name="T71" fmla="*/ 275 h 549"/>
                  <a:gd name="T72" fmla="*/ 232 w 718"/>
                  <a:gd name="T73" fmla="*/ 233 h 549"/>
                  <a:gd name="T74" fmla="*/ 274 w 718"/>
                  <a:gd name="T75" fmla="*/ 275 h 549"/>
                  <a:gd name="T76" fmla="*/ 232 w 718"/>
                  <a:gd name="T77" fmla="*/ 317 h 549"/>
                  <a:gd name="T78" fmla="*/ 443 w 718"/>
                  <a:gd name="T79" fmla="*/ 422 h 549"/>
                  <a:gd name="T80" fmla="*/ 401 w 718"/>
                  <a:gd name="T81" fmla="*/ 380 h 549"/>
                  <a:gd name="T82" fmla="*/ 443 w 718"/>
                  <a:gd name="T83" fmla="*/ 338 h 549"/>
                  <a:gd name="T84" fmla="*/ 486 w 718"/>
                  <a:gd name="T85" fmla="*/ 380 h 549"/>
                  <a:gd name="T86" fmla="*/ 443 w 718"/>
                  <a:gd name="T87" fmla="*/ 422 h 549"/>
                  <a:gd name="T88" fmla="*/ 633 w 718"/>
                  <a:gd name="T89" fmla="*/ 127 h 549"/>
                  <a:gd name="T90" fmla="*/ 591 w 718"/>
                  <a:gd name="T91" fmla="*/ 84 h 549"/>
                  <a:gd name="T92" fmla="*/ 633 w 718"/>
                  <a:gd name="T93" fmla="*/ 42 h 549"/>
                  <a:gd name="T94" fmla="*/ 675 w 718"/>
                  <a:gd name="T95" fmla="*/ 84 h 549"/>
                  <a:gd name="T96" fmla="*/ 633 w 718"/>
                  <a:gd name="T97" fmla="*/ 12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8" h="549">
                    <a:moveTo>
                      <a:pt x="633" y="0"/>
                    </a:moveTo>
                    <a:cubicBezTo>
                      <a:pt x="587" y="0"/>
                      <a:pt x="549" y="38"/>
                      <a:pt x="549" y="84"/>
                    </a:cubicBezTo>
                    <a:cubicBezTo>
                      <a:pt x="549" y="110"/>
                      <a:pt x="561" y="132"/>
                      <a:pt x="578" y="148"/>
                    </a:cubicBezTo>
                    <a:cubicBezTo>
                      <a:pt x="475" y="302"/>
                      <a:pt x="475" y="302"/>
                      <a:pt x="475" y="302"/>
                    </a:cubicBezTo>
                    <a:cubicBezTo>
                      <a:pt x="466" y="298"/>
                      <a:pt x="455" y="296"/>
                      <a:pt x="443" y="296"/>
                    </a:cubicBezTo>
                    <a:cubicBezTo>
                      <a:pt x="411" y="296"/>
                      <a:pt x="383" y="314"/>
                      <a:pt x="369" y="340"/>
                    </a:cubicBezTo>
                    <a:cubicBezTo>
                      <a:pt x="310" y="305"/>
                      <a:pt x="310" y="305"/>
                      <a:pt x="310" y="305"/>
                    </a:cubicBezTo>
                    <a:cubicBezTo>
                      <a:pt x="314" y="296"/>
                      <a:pt x="316" y="285"/>
                      <a:pt x="316" y="275"/>
                    </a:cubicBezTo>
                    <a:cubicBezTo>
                      <a:pt x="316" y="228"/>
                      <a:pt x="278" y="190"/>
                      <a:pt x="232" y="190"/>
                    </a:cubicBezTo>
                    <a:cubicBezTo>
                      <a:pt x="185" y="190"/>
                      <a:pt x="147" y="228"/>
                      <a:pt x="147" y="275"/>
                    </a:cubicBezTo>
                    <a:cubicBezTo>
                      <a:pt x="147" y="300"/>
                      <a:pt x="159" y="322"/>
                      <a:pt x="176" y="338"/>
                    </a:cubicBezTo>
                    <a:cubicBezTo>
                      <a:pt x="133" y="396"/>
                      <a:pt x="133" y="396"/>
                      <a:pt x="133" y="396"/>
                    </a:cubicBezTo>
                    <a:cubicBezTo>
                      <a:pt x="119" y="386"/>
                      <a:pt x="102" y="380"/>
                      <a:pt x="84" y="380"/>
                    </a:cubicBezTo>
                    <a:cubicBezTo>
                      <a:pt x="38" y="380"/>
                      <a:pt x="0" y="418"/>
                      <a:pt x="0" y="465"/>
                    </a:cubicBezTo>
                    <a:cubicBezTo>
                      <a:pt x="0" y="511"/>
                      <a:pt x="38" y="549"/>
                      <a:pt x="84" y="549"/>
                    </a:cubicBezTo>
                    <a:cubicBezTo>
                      <a:pt x="130" y="549"/>
                      <a:pt x="168" y="511"/>
                      <a:pt x="168" y="465"/>
                    </a:cubicBezTo>
                    <a:cubicBezTo>
                      <a:pt x="168" y="444"/>
                      <a:pt x="160" y="425"/>
                      <a:pt x="148" y="411"/>
                    </a:cubicBezTo>
                    <a:cubicBezTo>
                      <a:pt x="194" y="350"/>
                      <a:pt x="194" y="350"/>
                      <a:pt x="194" y="350"/>
                    </a:cubicBezTo>
                    <a:cubicBezTo>
                      <a:pt x="205" y="355"/>
                      <a:pt x="218" y="359"/>
                      <a:pt x="232" y="359"/>
                    </a:cubicBezTo>
                    <a:cubicBezTo>
                      <a:pt x="260" y="359"/>
                      <a:pt x="285" y="345"/>
                      <a:pt x="300" y="324"/>
                    </a:cubicBezTo>
                    <a:cubicBezTo>
                      <a:pt x="361" y="360"/>
                      <a:pt x="361" y="360"/>
                      <a:pt x="361" y="360"/>
                    </a:cubicBezTo>
                    <a:cubicBezTo>
                      <a:pt x="360" y="367"/>
                      <a:pt x="359" y="373"/>
                      <a:pt x="359" y="380"/>
                    </a:cubicBezTo>
                    <a:cubicBezTo>
                      <a:pt x="359" y="427"/>
                      <a:pt x="397" y="465"/>
                      <a:pt x="443" y="465"/>
                    </a:cubicBezTo>
                    <a:cubicBezTo>
                      <a:pt x="490" y="465"/>
                      <a:pt x="528" y="427"/>
                      <a:pt x="528" y="380"/>
                    </a:cubicBezTo>
                    <a:cubicBezTo>
                      <a:pt x="528" y="352"/>
                      <a:pt x="514" y="328"/>
                      <a:pt x="494" y="313"/>
                    </a:cubicBezTo>
                    <a:cubicBezTo>
                      <a:pt x="596" y="160"/>
                      <a:pt x="596" y="160"/>
                      <a:pt x="596" y="160"/>
                    </a:cubicBezTo>
                    <a:cubicBezTo>
                      <a:pt x="607" y="165"/>
                      <a:pt x="620" y="169"/>
                      <a:pt x="633" y="169"/>
                    </a:cubicBezTo>
                    <a:cubicBezTo>
                      <a:pt x="680" y="169"/>
                      <a:pt x="718" y="131"/>
                      <a:pt x="718" y="84"/>
                    </a:cubicBezTo>
                    <a:cubicBezTo>
                      <a:pt x="718" y="38"/>
                      <a:pt x="680" y="0"/>
                      <a:pt x="633" y="0"/>
                    </a:cubicBezTo>
                    <a:close/>
                    <a:moveTo>
                      <a:pt x="84" y="507"/>
                    </a:moveTo>
                    <a:cubicBezTo>
                      <a:pt x="61" y="507"/>
                      <a:pt x="42" y="488"/>
                      <a:pt x="42" y="465"/>
                    </a:cubicBezTo>
                    <a:cubicBezTo>
                      <a:pt x="42" y="441"/>
                      <a:pt x="61" y="422"/>
                      <a:pt x="84" y="422"/>
                    </a:cubicBezTo>
                    <a:cubicBezTo>
                      <a:pt x="107" y="422"/>
                      <a:pt x="126" y="441"/>
                      <a:pt x="126" y="465"/>
                    </a:cubicBezTo>
                    <a:cubicBezTo>
                      <a:pt x="126" y="488"/>
                      <a:pt x="107" y="507"/>
                      <a:pt x="84" y="507"/>
                    </a:cubicBezTo>
                    <a:close/>
                    <a:moveTo>
                      <a:pt x="232" y="317"/>
                    </a:moveTo>
                    <a:cubicBezTo>
                      <a:pt x="209" y="317"/>
                      <a:pt x="190" y="298"/>
                      <a:pt x="190" y="275"/>
                    </a:cubicBezTo>
                    <a:cubicBezTo>
                      <a:pt x="190" y="251"/>
                      <a:pt x="209" y="233"/>
                      <a:pt x="232" y="233"/>
                    </a:cubicBezTo>
                    <a:cubicBezTo>
                      <a:pt x="255" y="233"/>
                      <a:pt x="274" y="251"/>
                      <a:pt x="274" y="275"/>
                    </a:cubicBezTo>
                    <a:cubicBezTo>
                      <a:pt x="274" y="298"/>
                      <a:pt x="255" y="317"/>
                      <a:pt x="232" y="317"/>
                    </a:cubicBezTo>
                    <a:close/>
                    <a:moveTo>
                      <a:pt x="443" y="422"/>
                    </a:moveTo>
                    <a:cubicBezTo>
                      <a:pt x="420" y="422"/>
                      <a:pt x="401" y="403"/>
                      <a:pt x="401" y="380"/>
                    </a:cubicBezTo>
                    <a:cubicBezTo>
                      <a:pt x="401" y="357"/>
                      <a:pt x="420" y="338"/>
                      <a:pt x="443" y="338"/>
                    </a:cubicBezTo>
                    <a:cubicBezTo>
                      <a:pt x="467" y="338"/>
                      <a:pt x="486" y="357"/>
                      <a:pt x="486" y="380"/>
                    </a:cubicBezTo>
                    <a:cubicBezTo>
                      <a:pt x="486" y="403"/>
                      <a:pt x="467" y="422"/>
                      <a:pt x="443" y="422"/>
                    </a:cubicBezTo>
                    <a:close/>
                    <a:moveTo>
                      <a:pt x="633" y="127"/>
                    </a:moveTo>
                    <a:cubicBezTo>
                      <a:pt x="610" y="127"/>
                      <a:pt x="591" y="108"/>
                      <a:pt x="591" y="84"/>
                    </a:cubicBezTo>
                    <a:cubicBezTo>
                      <a:pt x="591" y="61"/>
                      <a:pt x="610" y="42"/>
                      <a:pt x="633" y="42"/>
                    </a:cubicBezTo>
                    <a:cubicBezTo>
                      <a:pt x="657" y="42"/>
                      <a:pt x="675" y="61"/>
                      <a:pt x="675" y="84"/>
                    </a:cubicBezTo>
                    <a:cubicBezTo>
                      <a:pt x="675" y="108"/>
                      <a:pt x="657" y="127"/>
                      <a:pt x="633" y="127"/>
                    </a:cubicBezTo>
                    <a:close/>
                  </a:path>
                </a:pathLst>
              </a:custGeom>
              <a:solidFill>
                <a:schemeClr val="bg1"/>
              </a:solidFill>
              <a:ln>
                <a:noFill/>
              </a:ln>
            </p:spPr>
            <p:txBody>
              <a:bodyPr wrap="square" lIns="91440" tIns="45720" rIns="91440" bIns="45720" anchor="ctr">
                <a:normAutofit fontScale="62500" lnSpcReduction="20000"/>
              </a:bodyPr>
              <a:lstStyle/>
              <a:p>
                <a:pPr algn="ctr"/>
                <a:endParaRPr/>
              </a:p>
            </p:txBody>
          </p:sp>
        </p:grpSp>
        <p:grpSp>
          <p:nvGrpSpPr>
            <p:cNvPr id="13" name="ïslïḓê">
              <a:extLst>
                <a:ext uri="{FF2B5EF4-FFF2-40B4-BE49-F238E27FC236}">
                  <a16:creationId xmlns:a16="http://schemas.microsoft.com/office/drawing/2014/main" id="{744D03A5-E9D2-48F7-B903-5FE8F4F6E349}"/>
                </a:ext>
              </a:extLst>
            </p:cNvPr>
            <p:cNvGrpSpPr/>
            <p:nvPr/>
          </p:nvGrpSpPr>
          <p:grpSpPr>
            <a:xfrm>
              <a:off x="6694932" y="2510029"/>
              <a:ext cx="612648" cy="612648"/>
              <a:chOff x="8668512" y="3986784"/>
              <a:chExt cx="612648" cy="612648"/>
            </a:xfrm>
          </p:grpSpPr>
          <p:sp>
            <p:nvSpPr>
              <p:cNvPr id="31" name="îṥliďé">
                <a:extLst>
                  <a:ext uri="{FF2B5EF4-FFF2-40B4-BE49-F238E27FC236}">
                    <a16:creationId xmlns:a16="http://schemas.microsoft.com/office/drawing/2014/main" id="{5269A96D-6CF6-4858-8C80-0DA8EAE9DE9A}"/>
                  </a:ext>
                </a:extLst>
              </p:cNvPr>
              <p:cNvSpPr/>
              <p:nvPr/>
            </p:nvSpPr>
            <p:spPr>
              <a:xfrm>
                <a:off x="8668512" y="3986784"/>
                <a:ext cx="612648" cy="612648"/>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32" name="îšḻïḍè">
                <a:extLst>
                  <a:ext uri="{FF2B5EF4-FFF2-40B4-BE49-F238E27FC236}">
                    <a16:creationId xmlns:a16="http://schemas.microsoft.com/office/drawing/2014/main" id="{5FA93738-E22A-4A05-B8DA-D5F84D3B37FA}"/>
                  </a:ext>
                </a:extLst>
              </p:cNvPr>
              <p:cNvSpPr/>
              <p:nvPr/>
            </p:nvSpPr>
            <p:spPr bwMode="auto">
              <a:xfrm>
                <a:off x="8814816" y="4170508"/>
                <a:ext cx="320040" cy="245200"/>
              </a:xfrm>
              <a:custGeom>
                <a:avLst/>
                <a:gdLst>
                  <a:gd name="T0" fmla="*/ 633 w 718"/>
                  <a:gd name="T1" fmla="*/ 0 h 549"/>
                  <a:gd name="T2" fmla="*/ 549 w 718"/>
                  <a:gd name="T3" fmla="*/ 84 h 549"/>
                  <a:gd name="T4" fmla="*/ 578 w 718"/>
                  <a:gd name="T5" fmla="*/ 148 h 549"/>
                  <a:gd name="T6" fmla="*/ 475 w 718"/>
                  <a:gd name="T7" fmla="*/ 302 h 549"/>
                  <a:gd name="T8" fmla="*/ 443 w 718"/>
                  <a:gd name="T9" fmla="*/ 296 h 549"/>
                  <a:gd name="T10" fmla="*/ 369 w 718"/>
                  <a:gd name="T11" fmla="*/ 340 h 549"/>
                  <a:gd name="T12" fmla="*/ 310 w 718"/>
                  <a:gd name="T13" fmla="*/ 305 h 549"/>
                  <a:gd name="T14" fmla="*/ 316 w 718"/>
                  <a:gd name="T15" fmla="*/ 275 h 549"/>
                  <a:gd name="T16" fmla="*/ 232 w 718"/>
                  <a:gd name="T17" fmla="*/ 190 h 549"/>
                  <a:gd name="T18" fmla="*/ 147 w 718"/>
                  <a:gd name="T19" fmla="*/ 275 h 549"/>
                  <a:gd name="T20" fmla="*/ 176 w 718"/>
                  <a:gd name="T21" fmla="*/ 338 h 549"/>
                  <a:gd name="T22" fmla="*/ 133 w 718"/>
                  <a:gd name="T23" fmla="*/ 396 h 549"/>
                  <a:gd name="T24" fmla="*/ 84 w 718"/>
                  <a:gd name="T25" fmla="*/ 380 h 549"/>
                  <a:gd name="T26" fmla="*/ 0 w 718"/>
                  <a:gd name="T27" fmla="*/ 465 h 549"/>
                  <a:gd name="T28" fmla="*/ 84 w 718"/>
                  <a:gd name="T29" fmla="*/ 549 h 549"/>
                  <a:gd name="T30" fmla="*/ 168 w 718"/>
                  <a:gd name="T31" fmla="*/ 465 h 549"/>
                  <a:gd name="T32" fmla="*/ 148 w 718"/>
                  <a:gd name="T33" fmla="*/ 411 h 549"/>
                  <a:gd name="T34" fmla="*/ 194 w 718"/>
                  <a:gd name="T35" fmla="*/ 350 h 549"/>
                  <a:gd name="T36" fmla="*/ 232 w 718"/>
                  <a:gd name="T37" fmla="*/ 359 h 549"/>
                  <a:gd name="T38" fmla="*/ 300 w 718"/>
                  <a:gd name="T39" fmla="*/ 324 h 549"/>
                  <a:gd name="T40" fmla="*/ 361 w 718"/>
                  <a:gd name="T41" fmla="*/ 360 h 549"/>
                  <a:gd name="T42" fmla="*/ 359 w 718"/>
                  <a:gd name="T43" fmla="*/ 380 h 549"/>
                  <a:gd name="T44" fmla="*/ 443 w 718"/>
                  <a:gd name="T45" fmla="*/ 465 h 549"/>
                  <a:gd name="T46" fmla="*/ 528 w 718"/>
                  <a:gd name="T47" fmla="*/ 380 h 549"/>
                  <a:gd name="T48" fmla="*/ 494 w 718"/>
                  <a:gd name="T49" fmla="*/ 313 h 549"/>
                  <a:gd name="T50" fmla="*/ 596 w 718"/>
                  <a:gd name="T51" fmla="*/ 160 h 549"/>
                  <a:gd name="T52" fmla="*/ 633 w 718"/>
                  <a:gd name="T53" fmla="*/ 169 h 549"/>
                  <a:gd name="T54" fmla="*/ 718 w 718"/>
                  <a:gd name="T55" fmla="*/ 84 h 549"/>
                  <a:gd name="T56" fmla="*/ 633 w 718"/>
                  <a:gd name="T57" fmla="*/ 0 h 549"/>
                  <a:gd name="T58" fmla="*/ 84 w 718"/>
                  <a:gd name="T59" fmla="*/ 507 h 549"/>
                  <a:gd name="T60" fmla="*/ 42 w 718"/>
                  <a:gd name="T61" fmla="*/ 465 h 549"/>
                  <a:gd name="T62" fmla="*/ 84 w 718"/>
                  <a:gd name="T63" fmla="*/ 422 h 549"/>
                  <a:gd name="T64" fmla="*/ 126 w 718"/>
                  <a:gd name="T65" fmla="*/ 465 h 549"/>
                  <a:gd name="T66" fmla="*/ 84 w 718"/>
                  <a:gd name="T67" fmla="*/ 507 h 549"/>
                  <a:gd name="T68" fmla="*/ 232 w 718"/>
                  <a:gd name="T69" fmla="*/ 317 h 549"/>
                  <a:gd name="T70" fmla="*/ 190 w 718"/>
                  <a:gd name="T71" fmla="*/ 275 h 549"/>
                  <a:gd name="T72" fmla="*/ 232 w 718"/>
                  <a:gd name="T73" fmla="*/ 233 h 549"/>
                  <a:gd name="T74" fmla="*/ 274 w 718"/>
                  <a:gd name="T75" fmla="*/ 275 h 549"/>
                  <a:gd name="T76" fmla="*/ 232 w 718"/>
                  <a:gd name="T77" fmla="*/ 317 h 549"/>
                  <a:gd name="T78" fmla="*/ 443 w 718"/>
                  <a:gd name="T79" fmla="*/ 422 h 549"/>
                  <a:gd name="T80" fmla="*/ 401 w 718"/>
                  <a:gd name="T81" fmla="*/ 380 h 549"/>
                  <a:gd name="T82" fmla="*/ 443 w 718"/>
                  <a:gd name="T83" fmla="*/ 338 h 549"/>
                  <a:gd name="T84" fmla="*/ 486 w 718"/>
                  <a:gd name="T85" fmla="*/ 380 h 549"/>
                  <a:gd name="T86" fmla="*/ 443 w 718"/>
                  <a:gd name="T87" fmla="*/ 422 h 549"/>
                  <a:gd name="T88" fmla="*/ 633 w 718"/>
                  <a:gd name="T89" fmla="*/ 127 h 549"/>
                  <a:gd name="T90" fmla="*/ 591 w 718"/>
                  <a:gd name="T91" fmla="*/ 84 h 549"/>
                  <a:gd name="T92" fmla="*/ 633 w 718"/>
                  <a:gd name="T93" fmla="*/ 42 h 549"/>
                  <a:gd name="T94" fmla="*/ 675 w 718"/>
                  <a:gd name="T95" fmla="*/ 84 h 549"/>
                  <a:gd name="T96" fmla="*/ 633 w 718"/>
                  <a:gd name="T97" fmla="*/ 12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8" h="549">
                    <a:moveTo>
                      <a:pt x="633" y="0"/>
                    </a:moveTo>
                    <a:cubicBezTo>
                      <a:pt x="587" y="0"/>
                      <a:pt x="549" y="38"/>
                      <a:pt x="549" y="84"/>
                    </a:cubicBezTo>
                    <a:cubicBezTo>
                      <a:pt x="549" y="110"/>
                      <a:pt x="561" y="132"/>
                      <a:pt x="578" y="148"/>
                    </a:cubicBezTo>
                    <a:cubicBezTo>
                      <a:pt x="475" y="302"/>
                      <a:pt x="475" y="302"/>
                      <a:pt x="475" y="302"/>
                    </a:cubicBezTo>
                    <a:cubicBezTo>
                      <a:pt x="466" y="298"/>
                      <a:pt x="455" y="296"/>
                      <a:pt x="443" y="296"/>
                    </a:cubicBezTo>
                    <a:cubicBezTo>
                      <a:pt x="411" y="296"/>
                      <a:pt x="383" y="314"/>
                      <a:pt x="369" y="340"/>
                    </a:cubicBezTo>
                    <a:cubicBezTo>
                      <a:pt x="310" y="305"/>
                      <a:pt x="310" y="305"/>
                      <a:pt x="310" y="305"/>
                    </a:cubicBezTo>
                    <a:cubicBezTo>
                      <a:pt x="314" y="296"/>
                      <a:pt x="316" y="285"/>
                      <a:pt x="316" y="275"/>
                    </a:cubicBezTo>
                    <a:cubicBezTo>
                      <a:pt x="316" y="228"/>
                      <a:pt x="278" y="190"/>
                      <a:pt x="232" y="190"/>
                    </a:cubicBezTo>
                    <a:cubicBezTo>
                      <a:pt x="185" y="190"/>
                      <a:pt x="147" y="228"/>
                      <a:pt x="147" y="275"/>
                    </a:cubicBezTo>
                    <a:cubicBezTo>
                      <a:pt x="147" y="300"/>
                      <a:pt x="159" y="322"/>
                      <a:pt x="176" y="338"/>
                    </a:cubicBezTo>
                    <a:cubicBezTo>
                      <a:pt x="133" y="396"/>
                      <a:pt x="133" y="396"/>
                      <a:pt x="133" y="396"/>
                    </a:cubicBezTo>
                    <a:cubicBezTo>
                      <a:pt x="119" y="386"/>
                      <a:pt x="102" y="380"/>
                      <a:pt x="84" y="380"/>
                    </a:cubicBezTo>
                    <a:cubicBezTo>
                      <a:pt x="38" y="380"/>
                      <a:pt x="0" y="418"/>
                      <a:pt x="0" y="465"/>
                    </a:cubicBezTo>
                    <a:cubicBezTo>
                      <a:pt x="0" y="511"/>
                      <a:pt x="38" y="549"/>
                      <a:pt x="84" y="549"/>
                    </a:cubicBezTo>
                    <a:cubicBezTo>
                      <a:pt x="130" y="549"/>
                      <a:pt x="168" y="511"/>
                      <a:pt x="168" y="465"/>
                    </a:cubicBezTo>
                    <a:cubicBezTo>
                      <a:pt x="168" y="444"/>
                      <a:pt x="160" y="425"/>
                      <a:pt x="148" y="411"/>
                    </a:cubicBezTo>
                    <a:cubicBezTo>
                      <a:pt x="194" y="350"/>
                      <a:pt x="194" y="350"/>
                      <a:pt x="194" y="350"/>
                    </a:cubicBezTo>
                    <a:cubicBezTo>
                      <a:pt x="205" y="355"/>
                      <a:pt x="218" y="359"/>
                      <a:pt x="232" y="359"/>
                    </a:cubicBezTo>
                    <a:cubicBezTo>
                      <a:pt x="260" y="359"/>
                      <a:pt x="285" y="345"/>
                      <a:pt x="300" y="324"/>
                    </a:cubicBezTo>
                    <a:cubicBezTo>
                      <a:pt x="361" y="360"/>
                      <a:pt x="361" y="360"/>
                      <a:pt x="361" y="360"/>
                    </a:cubicBezTo>
                    <a:cubicBezTo>
                      <a:pt x="360" y="367"/>
                      <a:pt x="359" y="373"/>
                      <a:pt x="359" y="380"/>
                    </a:cubicBezTo>
                    <a:cubicBezTo>
                      <a:pt x="359" y="427"/>
                      <a:pt x="397" y="465"/>
                      <a:pt x="443" y="465"/>
                    </a:cubicBezTo>
                    <a:cubicBezTo>
                      <a:pt x="490" y="465"/>
                      <a:pt x="528" y="427"/>
                      <a:pt x="528" y="380"/>
                    </a:cubicBezTo>
                    <a:cubicBezTo>
                      <a:pt x="528" y="352"/>
                      <a:pt x="514" y="328"/>
                      <a:pt x="494" y="313"/>
                    </a:cubicBezTo>
                    <a:cubicBezTo>
                      <a:pt x="596" y="160"/>
                      <a:pt x="596" y="160"/>
                      <a:pt x="596" y="160"/>
                    </a:cubicBezTo>
                    <a:cubicBezTo>
                      <a:pt x="607" y="165"/>
                      <a:pt x="620" y="169"/>
                      <a:pt x="633" y="169"/>
                    </a:cubicBezTo>
                    <a:cubicBezTo>
                      <a:pt x="680" y="169"/>
                      <a:pt x="718" y="131"/>
                      <a:pt x="718" y="84"/>
                    </a:cubicBezTo>
                    <a:cubicBezTo>
                      <a:pt x="718" y="38"/>
                      <a:pt x="680" y="0"/>
                      <a:pt x="633" y="0"/>
                    </a:cubicBezTo>
                    <a:close/>
                    <a:moveTo>
                      <a:pt x="84" y="507"/>
                    </a:moveTo>
                    <a:cubicBezTo>
                      <a:pt x="61" y="507"/>
                      <a:pt x="42" y="488"/>
                      <a:pt x="42" y="465"/>
                    </a:cubicBezTo>
                    <a:cubicBezTo>
                      <a:pt x="42" y="441"/>
                      <a:pt x="61" y="422"/>
                      <a:pt x="84" y="422"/>
                    </a:cubicBezTo>
                    <a:cubicBezTo>
                      <a:pt x="107" y="422"/>
                      <a:pt x="126" y="441"/>
                      <a:pt x="126" y="465"/>
                    </a:cubicBezTo>
                    <a:cubicBezTo>
                      <a:pt x="126" y="488"/>
                      <a:pt x="107" y="507"/>
                      <a:pt x="84" y="507"/>
                    </a:cubicBezTo>
                    <a:close/>
                    <a:moveTo>
                      <a:pt x="232" y="317"/>
                    </a:moveTo>
                    <a:cubicBezTo>
                      <a:pt x="209" y="317"/>
                      <a:pt x="190" y="298"/>
                      <a:pt x="190" y="275"/>
                    </a:cubicBezTo>
                    <a:cubicBezTo>
                      <a:pt x="190" y="251"/>
                      <a:pt x="209" y="233"/>
                      <a:pt x="232" y="233"/>
                    </a:cubicBezTo>
                    <a:cubicBezTo>
                      <a:pt x="255" y="233"/>
                      <a:pt x="274" y="251"/>
                      <a:pt x="274" y="275"/>
                    </a:cubicBezTo>
                    <a:cubicBezTo>
                      <a:pt x="274" y="298"/>
                      <a:pt x="255" y="317"/>
                      <a:pt x="232" y="317"/>
                    </a:cubicBezTo>
                    <a:close/>
                    <a:moveTo>
                      <a:pt x="443" y="422"/>
                    </a:moveTo>
                    <a:cubicBezTo>
                      <a:pt x="420" y="422"/>
                      <a:pt x="401" y="403"/>
                      <a:pt x="401" y="380"/>
                    </a:cubicBezTo>
                    <a:cubicBezTo>
                      <a:pt x="401" y="357"/>
                      <a:pt x="420" y="338"/>
                      <a:pt x="443" y="338"/>
                    </a:cubicBezTo>
                    <a:cubicBezTo>
                      <a:pt x="467" y="338"/>
                      <a:pt x="486" y="357"/>
                      <a:pt x="486" y="380"/>
                    </a:cubicBezTo>
                    <a:cubicBezTo>
                      <a:pt x="486" y="403"/>
                      <a:pt x="467" y="422"/>
                      <a:pt x="443" y="422"/>
                    </a:cubicBezTo>
                    <a:close/>
                    <a:moveTo>
                      <a:pt x="633" y="127"/>
                    </a:moveTo>
                    <a:cubicBezTo>
                      <a:pt x="610" y="127"/>
                      <a:pt x="591" y="108"/>
                      <a:pt x="591" y="84"/>
                    </a:cubicBezTo>
                    <a:cubicBezTo>
                      <a:pt x="591" y="61"/>
                      <a:pt x="610" y="42"/>
                      <a:pt x="633" y="42"/>
                    </a:cubicBezTo>
                    <a:cubicBezTo>
                      <a:pt x="657" y="42"/>
                      <a:pt x="675" y="61"/>
                      <a:pt x="675" y="84"/>
                    </a:cubicBezTo>
                    <a:cubicBezTo>
                      <a:pt x="675" y="108"/>
                      <a:pt x="657" y="127"/>
                      <a:pt x="633" y="127"/>
                    </a:cubicBezTo>
                    <a:close/>
                  </a:path>
                </a:pathLst>
              </a:custGeom>
              <a:solidFill>
                <a:schemeClr val="bg1"/>
              </a:solidFill>
              <a:ln>
                <a:noFill/>
              </a:ln>
            </p:spPr>
            <p:txBody>
              <a:bodyPr wrap="square" lIns="91440" tIns="45720" rIns="91440" bIns="45720" anchor="ctr">
                <a:normAutofit fontScale="62500" lnSpcReduction="20000"/>
              </a:bodyPr>
              <a:lstStyle/>
              <a:p>
                <a:pPr algn="ctr"/>
                <a:endParaRPr/>
              </a:p>
            </p:txBody>
          </p:sp>
        </p:grpSp>
        <p:grpSp>
          <p:nvGrpSpPr>
            <p:cNvPr id="14" name="ïṣ1iďe">
              <a:extLst>
                <a:ext uri="{FF2B5EF4-FFF2-40B4-BE49-F238E27FC236}">
                  <a16:creationId xmlns:a16="http://schemas.microsoft.com/office/drawing/2014/main" id="{33576F78-ADB0-4B1D-A1B8-CA4910AE8310}"/>
                </a:ext>
              </a:extLst>
            </p:cNvPr>
            <p:cNvGrpSpPr/>
            <p:nvPr/>
          </p:nvGrpSpPr>
          <p:grpSpPr>
            <a:xfrm>
              <a:off x="4866132" y="2510029"/>
              <a:ext cx="612648" cy="612648"/>
              <a:chOff x="8668512" y="3986784"/>
              <a:chExt cx="612648" cy="612648"/>
            </a:xfrm>
          </p:grpSpPr>
          <p:sp>
            <p:nvSpPr>
              <p:cNvPr id="29" name="îṩľiḋè">
                <a:extLst>
                  <a:ext uri="{FF2B5EF4-FFF2-40B4-BE49-F238E27FC236}">
                    <a16:creationId xmlns:a16="http://schemas.microsoft.com/office/drawing/2014/main" id="{6574026D-05E1-4602-924A-8B8874DA2E77}"/>
                  </a:ext>
                </a:extLst>
              </p:cNvPr>
              <p:cNvSpPr/>
              <p:nvPr/>
            </p:nvSpPr>
            <p:spPr>
              <a:xfrm>
                <a:off x="8668512" y="3986784"/>
                <a:ext cx="612648" cy="612648"/>
              </a:xfrm>
              <a:prstGeom prst="ellipse">
                <a:avLst/>
              </a:prstGeom>
              <a:solidFill>
                <a:schemeClr val="accent2"/>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zh-CN" altLang="en-US"/>
              </a:p>
            </p:txBody>
          </p:sp>
          <p:sp>
            <p:nvSpPr>
              <p:cNvPr id="30" name="í$lîḓé">
                <a:extLst>
                  <a:ext uri="{FF2B5EF4-FFF2-40B4-BE49-F238E27FC236}">
                    <a16:creationId xmlns:a16="http://schemas.microsoft.com/office/drawing/2014/main" id="{0285413D-5326-4188-8B11-477025C1EA2B}"/>
                  </a:ext>
                </a:extLst>
              </p:cNvPr>
              <p:cNvSpPr/>
              <p:nvPr/>
            </p:nvSpPr>
            <p:spPr bwMode="auto">
              <a:xfrm>
                <a:off x="8814816" y="4170508"/>
                <a:ext cx="320040" cy="245200"/>
              </a:xfrm>
              <a:custGeom>
                <a:avLst/>
                <a:gdLst>
                  <a:gd name="T0" fmla="*/ 633 w 718"/>
                  <a:gd name="T1" fmla="*/ 0 h 549"/>
                  <a:gd name="T2" fmla="*/ 549 w 718"/>
                  <a:gd name="T3" fmla="*/ 84 h 549"/>
                  <a:gd name="T4" fmla="*/ 578 w 718"/>
                  <a:gd name="T5" fmla="*/ 148 h 549"/>
                  <a:gd name="T6" fmla="*/ 475 w 718"/>
                  <a:gd name="T7" fmla="*/ 302 h 549"/>
                  <a:gd name="T8" fmla="*/ 443 w 718"/>
                  <a:gd name="T9" fmla="*/ 296 h 549"/>
                  <a:gd name="T10" fmla="*/ 369 w 718"/>
                  <a:gd name="T11" fmla="*/ 340 h 549"/>
                  <a:gd name="T12" fmla="*/ 310 w 718"/>
                  <a:gd name="T13" fmla="*/ 305 h 549"/>
                  <a:gd name="T14" fmla="*/ 316 w 718"/>
                  <a:gd name="T15" fmla="*/ 275 h 549"/>
                  <a:gd name="T16" fmla="*/ 232 w 718"/>
                  <a:gd name="T17" fmla="*/ 190 h 549"/>
                  <a:gd name="T18" fmla="*/ 147 w 718"/>
                  <a:gd name="T19" fmla="*/ 275 h 549"/>
                  <a:gd name="T20" fmla="*/ 176 w 718"/>
                  <a:gd name="T21" fmla="*/ 338 h 549"/>
                  <a:gd name="T22" fmla="*/ 133 w 718"/>
                  <a:gd name="T23" fmla="*/ 396 h 549"/>
                  <a:gd name="T24" fmla="*/ 84 w 718"/>
                  <a:gd name="T25" fmla="*/ 380 h 549"/>
                  <a:gd name="T26" fmla="*/ 0 w 718"/>
                  <a:gd name="T27" fmla="*/ 465 h 549"/>
                  <a:gd name="T28" fmla="*/ 84 w 718"/>
                  <a:gd name="T29" fmla="*/ 549 h 549"/>
                  <a:gd name="T30" fmla="*/ 168 w 718"/>
                  <a:gd name="T31" fmla="*/ 465 h 549"/>
                  <a:gd name="T32" fmla="*/ 148 w 718"/>
                  <a:gd name="T33" fmla="*/ 411 h 549"/>
                  <a:gd name="T34" fmla="*/ 194 w 718"/>
                  <a:gd name="T35" fmla="*/ 350 h 549"/>
                  <a:gd name="T36" fmla="*/ 232 w 718"/>
                  <a:gd name="T37" fmla="*/ 359 h 549"/>
                  <a:gd name="T38" fmla="*/ 300 w 718"/>
                  <a:gd name="T39" fmla="*/ 324 h 549"/>
                  <a:gd name="T40" fmla="*/ 361 w 718"/>
                  <a:gd name="T41" fmla="*/ 360 h 549"/>
                  <a:gd name="T42" fmla="*/ 359 w 718"/>
                  <a:gd name="T43" fmla="*/ 380 h 549"/>
                  <a:gd name="T44" fmla="*/ 443 w 718"/>
                  <a:gd name="T45" fmla="*/ 465 h 549"/>
                  <a:gd name="T46" fmla="*/ 528 w 718"/>
                  <a:gd name="T47" fmla="*/ 380 h 549"/>
                  <a:gd name="T48" fmla="*/ 494 w 718"/>
                  <a:gd name="T49" fmla="*/ 313 h 549"/>
                  <a:gd name="T50" fmla="*/ 596 w 718"/>
                  <a:gd name="T51" fmla="*/ 160 h 549"/>
                  <a:gd name="T52" fmla="*/ 633 w 718"/>
                  <a:gd name="T53" fmla="*/ 169 h 549"/>
                  <a:gd name="T54" fmla="*/ 718 w 718"/>
                  <a:gd name="T55" fmla="*/ 84 h 549"/>
                  <a:gd name="T56" fmla="*/ 633 w 718"/>
                  <a:gd name="T57" fmla="*/ 0 h 549"/>
                  <a:gd name="T58" fmla="*/ 84 w 718"/>
                  <a:gd name="T59" fmla="*/ 507 h 549"/>
                  <a:gd name="T60" fmla="*/ 42 w 718"/>
                  <a:gd name="T61" fmla="*/ 465 h 549"/>
                  <a:gd name="T62" fmla="*/ 84 w 718"/>
                  <a:gd name="T63" fmla="*/ 422 h 549"/>
                  <a:gd name="T64" fmla="*/ 126 w 718"/>
                  <a:gd name="T65" fmla="*/ 465 h 549"/>
                  <a:gd name="T66" fmla="*/ 84 w 718"/>
                  <a:gd name="T67" fmla="*/ 507 h 549"/>
                  <a:gd name="T68" fmla="*/ 232 w 718"/>
                  <a:gd name="T69" fmla="*/ 317 h 549"/>
                  <a:gd name="T70" fmla="*/ 190 w 718"/>
                  <a:gd name="T71" fmla="*/ 275 h 549"/>
                  <a:gd name="T72" fmla="*/ 232 w 718"/>
                  <a:gd name="T73" fmla="*/ 233 h 549"/>
                  <a:gd name="T74" fmla="*/ 274 w 718"/>
                  <a:gd name="T75" fmla="*/ 275 h 549"/>
                  <a:gd name="T76" fmla="*/ 232 w 718"/>
                  <a:gd name="T77" fmla="*/ 317 h 549"/>
                  <a:gd name="T78" fmla="*/ 443 w 718"/>
                  <a:gd name="T79" fmla="*/ 422 h 549"/>
                  <a:gd name="T80" fmla="*/ 401 w 718"/>
                  <a:gd name="T81" fmla="*/ 380 h 549"/>
                  <a:gd name="T82" fmla="*/ 443 w 718"/>
                  <a:gd name="T83" fmla="*/ 338 h 549"/>
                  <a:gd name="T84" fmla="*/ 486 w 718"/>
                  <a:gd name="T85" fmla="*/ 380 h 549"/>
                  <a:gd name="T86" fmla="*/ 443 w 718"/>
                  <a:gd name="T87" fmla="*/ 422 h 549"/>
                  <a:gd name="T88" fmla="*/ 633 w 718"/>
                  <a:gd name="T89" fmla="*/ 127 h 549"/>
                  <a:gd name="T90" fmla="*/ 591 w 718"/>
                  <a:gd name="T91" fmla="*/ 84 h 549"/>
                  <a:gd name="T92" fmla="*/ 633 w 718"/>
                  <a:gd name="T93" fmla="*/ 42 h 549"/>
                  <a:gd name="T94" fmla="*/ 675 w 718"/>
                  <a:gd name="T95" fmla="*/ 84 h 549"/>
                  <a:gd name="T96" fmla="*/ 633 w 718"/>
                  <a:gd name="T97" fmla="*/ 127 h 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18" h="549">
                    <a:moveTo>
                      <a:pt x="633" y="0"/>
                    </a:moveTo>
                    <a:cubicBezTo>
                      <a:pt x="587" y="0"/>
                      <a:pt x="549" y="38"/>
                      <a:pt x="549" y="84"/>
                    </a:cubicBezTo>
                    <a:cubicBezTo>
                      <a:pt x="549" y="110"/>
                      <a:pt x="561" y="132"/>
                      <a:pt x="578" y="148"/>
                    </a:cubicBezTo>
                    <a:cubicBezTo>
                      <a:pt x="475" y="302"/>
                      <a:pt x="475" y="302"/>
                      <a:pt x="475" y="302"/>
                    </a:cubicBezTo>
                    <a:cubicBezTo>
                      <a:pt x="466" y="298"/>
                      <a:pt x="455" y="296"/>
                      <a:pt x="443" y="296"/>
                    </a:cubicBezTo>
                    <a:cubicBezTo>
                      <a:pt x="411" y="296"/>
                      <a:pt x="383" y="314"/>
                      <a:pt x="369" y="340"/>
                    </a:cubicBezTo>
                    <a:cubicBezTo>
                      <a:pt x="310" y="305"/>
                      <a:pt x="310" y="305"/>
                      <a:pt x="310" y="305"/>
                    </a:cubicBezTo>
                    <a:cubicBezTo>
                      <a:pt x="314" y="296"/>
                      <a:pt x="316" y="285"/>
                      <a:pt x="316" y="275"/>
                    </a:cubicBezTo>
                    <a:cubicBezTo>
                      <a:pt x="316" y="228"/>
                      <a:pt x="278" y="190"/>
                      <a:pt x="232" y="190"/>
                    </a:cubicBezTo>
                    <a:cubicBezTo>
                      <a:pt x="185" y="190"/>
                      <a:pt x="147" y="228"/>
                      <a:pt x="147" y="275"/>
                    </a:cubicBezTo>
                    <a:cubicBezTo>
                      <a:pt x="147" y="300"/>
                      <a:pt x="159" y="322"/>
                      <a:pt x="176" y="338"/>
                    </a:cubicBezTo>
                    <a:cubicBezTo>
                      <a:pt x="133" y="396"/>
                      <a:pt x="133" y="396"/>
                      <a:pt x="133" y="396"/>
                    </a:cubicBezTo>
                    <a:cubicBezTo>
                      <a:pt x="119" y="386"/>
                      <a:pt x="102" y="380"/>
                      <a:pt x="84" y="380"/>
                    </a:cubicBezTo>
                    <a:cubicBezTo>
                      <a:pt x="38" y="380"/>
                      <a:pt x="0" y="418"/>
                      <a:pt x="0" y="465"/>
                    </a:cubicBezTo>
                    <a:cubicBezTo>
                      <a:pt x="0" y="511"/>
                      <a:pt x="38" y="549"/>
                      <a:pt x="84" y="549"/>
                    </a:cubicBezTo>
                    <a:cubicBezTo>
                      <a:pt x="130" y="549"/>
                      <a:pt x="168" y="511"/>
                      <a:pt x="168" y="465"/>
                    </a:cubicBezTo>
                    <a:cubicBezTo>
                      <a:pt x="168" y="444"/>
                      <a:pt x="160" y="425"/>
                      <a:pt x="148" y="411"/>
                    </a:cubicBezTo>
                    <a:cubicBezTo>
                      <a:pt x="194" y="350"/>
                      <a:pt x="194" y="350"/>
                      <a:pt x="194" y="350"/>
                    </a:cubicBezTo>
                    <a:cubicBezTo>
                      <a:pt x="205" y="355"/>
                      <a:pt x="218" y="359"/>
                      <a:pt x="232" y="359"/>
                    </a:cubicBezTo>
                    <a:cubicBezTo>
                      <a:pt x="260" y="359"/>
                      <a:pt x="285" y="345"/>
                      <a:pt x="300" y="324"/>
                    </a:cubicBezTo>
                    <a:cubicBezTo>
                      <a:pt x="361" y="360"/>
                      <a:pt x="361" y="360"/>
                      <a:pt x="361" y="360"/>
                    </a:cubicBezTo>
                    <a:cubicBezTo>
                      <a:pt x="360" y="367"/>
                      <a:pt x="359" y="373"/>
                      <a:pt x="359" y="380"/>
                    </a:cubicBezTo>
                    <a:cubicBezTo>
                      <a:pt x="359" y="427"/>
                      <a:pt x="397" y="465"/>
                      <a:pt x="443" y="465"/>
                    </a:cubicBezTo>
                    <a:cubicBezTo>
                      <a:pt x="490" y="465"/>
                      <a:pt x="528" y="427"/>
                      <a:pt x="528" y="380"/>
                    </a:cubicBezTo>
                    <a:cubicBezTo>
                      <a:pt x="528" y="352"/>
                      <a:pt x="514" y="328"/>
                      <a:pt x="494" y="313"/>
                    </a:cubicBezTo>
                    <a:cubicBezTo>
                      <a:pt x="596" y="160"/>
                      <a:pt x="596" y="160"/>
                      <a:pt x="596" y="160"/>
                    </a:cubicBezTo>
                    <a:cubicBezTo>
                      <a:pt x="607" y="165"/>
                      <a:pt x="620" y="169"/>
                      <a:pt x="633" y="169"/>
                    </a:cubicBezTo>
                    <a:cubicBezTo>
                      <a:pt x="680" y="169"/>
                      <a:pt x="718" y="131"/>
                      <a:pt x="718" y="84"/>
                    </a:cubicBezTo>
                    <a:cubicBezTo>
                      <a:pt x="718" y="38"/>
                      <a:pt x="680" y="0"/>
                      <a:pt x="633" y="0"/>
                    </a:cubicBezTo>
                    <a:close/>
                    <a:moveTo>
                      <a:pt x="84" y="507"/>
                    </a:moveTo>
                    <a:cubicBezTo>
                      <a:pt x="61" y="507"/>
                      <a:pt x="42" y="488"/>
                      <a:pt x="42" y="465"/>
                    </a:cubicBezTo>
                    <a:cubicBezTo>
                      <a:pt x="42" y="441"/>
                      <a:pt x="61" y="422"/>
                      <a:pt x="84" y="422"/>
                    </a:cubicBezTo>
                    <a:cubicBezTo>
                      <a:pt x="107" y="422"/>
                      <a:pt x="126" y="441"/>
                      <a:pt x="126" y="465"/>
                    </a:cubicBezTo>
                    <a:cubicBezTo>
                      <a:pt x="126" y="488"/>
                      <a:pt x="107" y="507"/>
                      <a:pt x="84" y="507"/>
                    </a:cubicBezTo>
                    <a:close/>
                    <a:moveTo>
                      <a:pt x="232" y="317"/>
                    </a:moveTo>
                    <a:cubicBezTo>
                      <a:pt x="209" y="317"/>
                      <a:pt x="190" y="298"/>
                      <a:pt x="190" y="275"/>
                    </a:cubicBezTo>
                    <a:cubicBezTo>
                      <a:pt x="190" y="251"/>
                      <a:pt x="209" y="233"/>
                      <a:pt x="232" y="233"/>
                    </a:cubicBezTo>
                    <a:cubicBezTo>
                      <a:pt x="255" y="233"/>
                      <a:pt x="274" y="251"/>
                      <a:pt x="274" y="275"/>
                    </a:cubicBezTo>
                    <a:cubicBezTo>
                      <a:pt x="274" y="298"/>
                      <a:pt x="255" y="317"/>
                      <a:pt x="232" y="317"/>
                    </a:cubicBezTo>
                    <a:close/>
                    <a:moveTo>
                      <a:pt x="443" y="422"/>
                    </a:moveTo>
                    <a:cubicBezTo>
                      <a:pt x="420" y="422"/>
                      <a:pt x="401" y="403"/>
                      <a:pt x="401" y="380"/>
                    </a:cubicBezTo>
                    <a:cubicBezTo>
                      <a:pt x="401" y="357"/>
                      <a:pt x="420" y="338"/>
                      <a:pt x="443" y="338"/>
                    </a:cubicBezTo>
                    <a:cubicBezTo>
                      <a:pt x="467" y="338"/>
                      <a:pt x="486" y="357"/>
                      <a:pt x="486" y="380"/>
                    </a:cubicBezTo>
                    <a:cubicBezTo>
                      <a:pt x="486" y="403"/>
                      <a:pt x="467" y="422"/>
                      <a:pt x="443" y="422"/>
                    </a:cubicBezTo>
                    <a:close/>
                    <a:moveTo>
                      <a:pt x="633" y="127"/>
                    </a:moveTo>
                    <a:cubicBezTo>
                      <a:pt x="610" y="127"/>
                      <a:pt x="591" y="108"/>
                      <a:pt x="591" y="84"/>
                    </a:cubicBezTo>
                    <a:cubicBezTo>
                      <a:pt x="591" y="61"/>
                      <a:pt x="610" y="42"/>
                      <a:pt x="633" y="42"/>
                    </a:cubicBezTo>
                    <a:cubicBezTo>
                      <a:pt x="657" y="42"/>
                      <a:pt x="675" y="61"/>
                      <a:pt x="675" y="84"/>
                    </a:cubicBezTo>
                    <a:cubicBezTo>
                      <a:pt x="675" y="108"/>
                      <a:pt x="657" y="127"/>
                      <a:pt x="633" y="127"/>
                    </a:cubicBezTo>
                    <a:close/>
                  </a:path>
                </a:pathLst>
              </a:custGeom>
              <a:solidFill>
                <a:schemeClr val="bg1"/>
              </a:solidFill>
              <a:ln>
                <a:noFill/>
              </a:ln>
            </p:spPr>
            <p:txBody>
              <a:bodyPr wrap="square" lIns="91440" tIns="45720" rIns="91440" bIns="45720" anchor="ctr">
                <a:normAutofit fontScale="62500" lnSpcReduction="20000"/>
              </a:bodyPr>
              <a:lstStyle/>
              <a:p>
                <a:pPr algn="ctr"/>
                <a:endParaRPr/>
              </a:p>
            </p:txBody>
          </p:sp>
        </p:grpSp>
        <p:cxnSp>
          <p:nvCxnSpPr>
            <p:cNvPr id="15" name="直接连接符 14">
              <a:extLst>
                <a:ext uri="{FF2B5EF4-FFF2-40B4-BE49-F238E27FC236}">
                  <a16:creationId xmlns:a16="http://schemas.microsoft.com/office/drawing/2014/main" id="{E077A7C3-BF26-453B-82AB-809422D6FA10}"/>
                </a:ext>
              </a:extLst>
            </p:cNvPr>
            <p:cNvCxnSpPr/>
            <p:nvPr/>
          </p:nvCxnSpPr>
          <p:spPr>
            <a:xfrm>
              <a:off x="669925" y="3429000"/>
              <a:ext cx="399351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BEFE49DB-2101-4CAF-917D-BCA7E59A4C79}"/>
                </a:ext>
              </a:extLst>
            </p:cNvPr>
            <p:cNvCxnSpPr/>
            <p:nvPr/>
          </p:nvCxnSpPr>
          <p:spPr>
            <a:xfrm>
              <a:off x="7526973" y="3429000"/>
              <a:ext cx="3993515"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grpSp>
          <p:nvGrpSpPr>
            <p:cNvPr id="17" name="ísļïdé">
              <a:extLst>
                <a:ext uri="{FF2B5EF4-FFF2-40B4-BE49-F238E27FC236}">
                  <a16:creationId xmlns:a16="http://schemas.microsoft.com/office/drawing/2014/main" id="{E4B7C272-976E-41F4-B2F2-E6C9896D32D1}"/>
                </a:ext>
              </a:extLst>
            </p:cNvPr>
            <p:cNvGrpSpPr/>
            <p:nvPr/>
          </p:nvGrpSpPr>
          <p:grpSpPr>
            <a:xfrm>
              <a:off x="8256900" y="2142294"/>
              <a:ext cx="3262000" cy="1216841"/>
              <a:chOff x="7874000" y="2120966"/>
              <a:chExt cx="3262000" cy="1216841"/>
            </a:xfrm>
          </p:grpSpPr>
          <p:sp>
            <p:nvSpPr>
              <p:cNvPr id="27" name="ïš1îḓé">
                <a:extLst>
                  <a:ext uri="{FF2B5EF4-FFF2-40B4-BE49-F238E27FC236}">
                    <a16:creationId xmlns:a16="http://schemas.microsoft.com/office/drawing/2014/main" id="{EA3BE7ED-0D5E-4190-9B79-650DE04D3BEC}"/>
                  </a:ext>
                </a:extLst>
              </p:cNvPr>
              <p:cNvSpPr/>
              <p:nvPr/>
            </p:nvSpPr>
            <p:spPr bwMode="auto">
              <a:xfrm>
                <a:off x="7874000" y="2533846"/>
                <a:ext cx="3262000" cy="803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50000"/>
                  </a:lnSpc>
                  <a:spcBef>
                    <a:spcPct val="0"/>
                  </a:spcBef>
                </a:pPr>
                <a:r>
                  <a:rPr lang="en-US" altLang="zh-CN" sz="1100" dirty="0"/>
                  <a:t>Copy paste fonts. Choose the only option to retain text.</a:t>
                </a:r>
              </a:p>
              <a:p>
                <a:pPr algn="r">
                  <a:lnSpc>
                    <a:spcPct val="150000"/>
                  </a:lnSpc>
                  <a:spcBef>
                    <a:spcPct val="0"/>
                  </a:spcBef>
                </a:pPr>
                <a:r>
                  <a:rPr lang="en-US" altLang="zh-CN" sz="1100" dirty="0"/>
                  <a:t>……</a:t>
                </a:r>
              </a:p>
            </p:txBody>
          </p:sp>
          <p:sp>
            <p:nvSpPr>
              <p:cNvPr id="28" name="i$ļïdê">
                <a:extLst>
                  <a:ext uri="{FF2B5EF4-FFF2-40B4-BE49-F238E27FC236}">
                    <a16:creationId xmlns:a16="http://schemas.microsoft.com/office/drawing/2014/main" id="{B7D8A072-5BFC-4D05-BF49-5A55A8820499}"/>
                  </a:ext>
                </a:extLst>
              </p:cNvPr>
              <p:cNvSpPr txBox="1"/>
              <p:nvPr/>
            </p:nvSpPr>
            <p:spPr bwMode="auto">
              <a:xfrm>
                <a:off x="7874000" y="2120966"/>
                <a:ext cx="32620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sz="1800" b="1" dirty="0"/>
                  <a:t>Text here</a:t>
                </a:r>
              </a:p>
            </p:txBody>
          </p:sp>
        </p:grpSp>
        <p:grpSp>
          <p:nvGrpSpPr>
            <p:cNvPr id="18" name="íṥḷïďè">
              <a:extLst>
                <a:ext uri="{FF2B5EF4-FFF2-40B4-BE49-F238E27FC236}">
                  <a16:creationId xmlns:a16="http://schemas.microsoft.com/office/drawing/2014/main" id="{A16BFE0F-3485-4206-852F-5CCBB1618516}"/>
                </a:ext>
              </a:extLst>
            </p:cNvPr>
            <p:cNvGrpSpPr/>
            <p:nvPr/>
          </p:nvGrpSpPr>
          <p:grpSpPr>
            <a:xfrm>
              <a:off x="8256900" y="3889060"/>
              <a:ext cx="3262000" cy="1216841"/>
              <a:chOff x="7874000" y="2120966"/>
              <a:chExt cx="3262000" cy="1216841"/>
            </a:xfrm>
          </p:grpSpPr>
          <p:sp>
            <p:nvSpPr>
              <p:cNvPr id="25" name="iṡ1îdé">
                <a:extLst>
                  <a:ext uri="{FF2B5EF4-FFF2-40B4-BE49-F238E27FC236}">
                    <a16:creationId xmlns:a16="http://schemas.microsoft.com/office/drawing/2014/main" id="{C8B38532-4082-4A0A-A6BE-65E8963786DE}"/>
                  </a:ext>
                </a:extLst>
              </p:cNvPr>
              <p:cNvSpPr/>
              <p:nvPr/>
            </p:nvSpPr>
            <p:spPr bwMode="auto">
              <a:xfrm>
                <a:off x="7874000" y="2533846"/>
                <a:ext cx="3262000" cy="803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50000"/>
                  </a:lnSpc>
                  <a:spcBef>
                    <a:spcPct val="0"/>
                  </a:spcBef>
                </a:pPr>
                <a:r>
                  <a:rPr lang="en-US" altLang="zh-CN" sz="1100" dirty="0"/>
                  <a:t>Copy paste fonts. Choose the only option to retain text.</a:t>
                </a:r>
              </a:p>
              <a:p>
                <a:pPr algn="r">
                  <a:lnSpc>
                    <a:spcPct val="150000"/>
                  </a:lnSpc>
                  <a:spcBef>
                    <a:spcPct val="0"/>
                  </a:spcBef>
                </a:pPr>
                <a:r>
                  <a:rPr lang="en-US" altLang="zh-CN" sz="1100" dirty="0"/>
                  <a:t>……</a:t>
                </a:r>
              </a:p>
            </p:txBody>
          </p:sp>
          <p:sp>
            <p:nvSpPr>
              <p:cNvPr id="26" name="í$1ïḋê">
                <a:extLst>
                  <a:ext uri="{FF2B5EF4-FFF2-40B4-BE49-F238E27FC236}">
                    <a16:creationId xmlns:a16="http://schemas.microsoft.com/office/drawing/2014/main" id="{10088A45-9779-408E-80BE-DBBAE69EC851}"/>
                  </a:ext>
                </a:extLst>
              </p:cNvPr>
              <p:cNvSpPr txBox="1"/>
              <p:nvPr/>
            </p:nvSpPr>
            <p:spPr bwMode="auto">
              <a:xfrm>
                <a:off x="7874000" y="2120966"/>
                <a:ext cx="32620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sz="1800" b="1" dirty="0"/>
                  <a:t>Text here</a:t>
                </a:r>
              </a:p>
            </p:txBody>
          </p:sp>
        </p:grpSp>
        <p:grpSp>
          <p:nvGrpSpPr>
            <p:cNvPr id="19" name="îṩ1íďè">
              <a:extLst>
                <a:ext uri="{FF2B5EF4-FFF2-40B4-BE49-F238E27FC236}">
                  <a16:creationId xmlns:a16="http://schemas.microsoft.com/office/drawing/2014/main" id="{6ABB4B67-E3AE-43DB-804D-8936AAFD0A09}"/>
                </a:ext>
              </a:extLst>
            </p:cNvPr>
            <p:cNvGrpSpPr/>
            <p:nvPr/>
          </p:nvGrpSpPr>
          <p:grpSpPr>
            <a:xfrm>
              <a:off x="673100" y="2160875"/>
              <a:ext cx="3262000" cy="1216841"/>
              <a:chOff x="7874000" y="2120966"/>
              <a:chExt cx="3262000" cy="1216841"/>
            </a:xfrm>
          </p:grpSpPr>
          <p:sp>
            <p:nvSpPr>
              <p:cNvPr id="23" name="iṧḷiďé">
                <a:extLst>
                  <a:ext uri="{FF2B5EF4-FFF2-40B4-BE49-F238E27FC236}">
                    <a16:creationId xmlns:a16="http://schemas.microsoft.com/office/drawing/2014/main" id="{0A0FAD64-9579-4E72-8B6A-D26ED899BE36}"/>
                  </a:ext>
                </a:extLst>
              </p:cNvPr>
              <p:cNvSpPr/>
              <p:nvPr/>
            </p:nvSpPr>
            <p:spPr bwMode="auto">
              <a:xfrm>
                <a:off x="7874000" y="2533846"/>
                <a:ext cx="3262000" cy="803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en-US" altLang="zh-CN" sz="1100" dirty="0"/>
                  <a:t>Copy paste fonts. Choose the only option to retain text.</a:t>
                </a:r>
              </a:p>
              <a:p>
                <a:pPr>
                  <a:lnSpc>
                    <a:spcPct val="150000"/>
                  </a:lnSpc>
                  <a:spcBef>
                    <a:spcPct val="0"/>
                  </a:spcBef>
                </a:pPr>
                <a:r>
                  <a:rPr lang="en-US" altLang="zh-CN" sz="1100" dirty="0"/>
                  <a:t>……</a:t>
                </a:r>
              </a:p>
            </p:txBody>
          </p:sp>
          <p:sp>
            <p:nvSpPr>
              <p:cNvPr id="24" name="isḷîḋe">
                <a:extLst>
                  <a:ext uri="{FF2B5EF4-FFF2-40B4-BE49-F238E27FC236}">
                    <a16:creationId xmlns:a16="http://schemas.microsoft.com/office/drawing/2014/main" id="{AB281C50-12DE-49CE-BC35-2FD461DC5182}"/>
                  </a:ext>
                </a:extLst>
              </p:cNvPr>
              <p:cNvSpPr txBox="1"/>
              <p:nvPr/>
            </p:nvSpPr>
            <p:spPr bwMode="auto">
              <a:xfrm>
                <a:off x="7874000" y="2120966"/>
                <a:ext cx="32620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sz="1800" b="1" dirty="0"/>
                  <a:t>Text here</a:t>
                </a:r>
              </a:p>
            </p:txBody>
          </p:sp>
        </p:grpSp>
        <p:grpSp>
          <p:nvGrpSpPr>
            <p:cNvPr id="20" name="íṩľíḑè">
              <a:extLst>
                <a:ext uri="{FF2B5EF4-FFF2-40B4-BE49-F238E27FC236}">
                  <a16:creationId xmlns:a16="http://schemas.microsoft.com/office/drawing/2014/main" id="{FA0F0872-8A8F-4ADE-B53D-A3EB60960B33}"/>
                </a:ext>
              </a:extLst>
            </p:cNvPr>
            <p:cNvGrpSpPr/>
            <p:nvPr/>
          </p:nvGrpSpPr>
          <p:grpSpPr>
            <a:xfrm>
              <a:off x="673100" y="3911772"/>
              <a:ext cx="3262000" cy="1216841"/>
              <a:chOff x="7874000" y="2120966"/>
              <a:chExt cx="3262000" cy="1216841"/>
            </a:xfrm>
          </p:grpSpPr>
          <p:sp>
            <p:nvSpPr>
              <p:cNvPr id="21" name="îşlíḑe">
                <a:extLst>
                  <a:ext uri="{FF2B5EF4-FFF2-40B4-BE49-F238E27FC236}">
                    <a16:creationId xmlns:a16="http://schemas.microsoft.com/office/drawing/2014/main" id="{3016D717-A0BD-49FB-B538-6EDEE5761830}"/>
                  </a:ext>
                </a:extLst>
              </p:cNvPr>
              <p:cNvSpPr/>
              <p:nvPr/>
            </p:nvSpPr>
            <p:spPr bwMode="auto">
              <a:xfrm>
                <a:off x="7874000" y="2533846"/>
                <a:ext cx="3262000" cy="8039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50000"/>
                  </a:lnSpc>
                  <a:spcBef>
                    <a:spcPct val="0"/>
                  </a:spcBef>
                </a:pPr>
                <a:r>
                  <a:rPr lang="en-US" altLang="zh-CN" sz="1100" dirty="0"/>
                  <a:t>Copy paste fonts. Choose the only option to retain text.</a:t>
                </a:r>
              </a:p>
              <a:p>
                <a:pPr>
                  <a:lnSpc>
                    <a:spcPct val="150000"/>
                  </a:lnSpc>
                  <a:spcBef>
                    <a:spcPct val="0"/>
                  </a:spcBef>
                </a:pPr>
                <a:r>
                  <a:rPr lang="en-US" altLang="zh-CN" sz="1100" dirty="0"/>
                  <a:t>……</a:t>
                </a:r>
              </a:p>
            </p:txBody>
          </p:sp>
          <p:sp>
            <p:nvSpPr>
              <p:cNvPr id="22" name="îṣľîdê">
                <a:extLst>
                  <a:ext uri="{FF2B5EF4-FFF2-40B4-BE49-F238E27FC236}">
                    <a16:creationId xmlns:a16="http://schemas.microsoft.com/office/drawing/2014/main" id="{5272B15D-D651-4BF0-8B3E-4A25230A79AC}"/>
                  </a:ext>
                </a:extLst>
              </p:cNvPr>
              <p:cNvSpPr txBox="1"/>
              <p:nvPr/>
            </p:nvSpPr>
            <p:spPr bwMode="auto">
              <a:xfrm>
                <a:off x="7874000" y="2120966"/>
                <a:ext cx="3262000" cy="41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sz="1800" b="1" dirty="0"/>
                  <a:t>Text here</a:t>
                </a:r>
              </a:p>
            </p:txBody>
          </p:sp>
        </p:grpSp>
      </p:grpSp>
    </p:spTree>
    <p:extLst>
      <p:ext uri="{BB962C8B-B14F-4D97-AF65-F5344CB8AC3E}">
        <p14:creationId xmlns:p14="http://schemas.microsoft.com/office/powerpoint/2010/main" val="22208442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8C1EF94-D4EB-4D08-99F2-A4381BEDD988}"/>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3E2E3067-4435-4E7F-ACFB-751DF991C83F}"/>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9A21A01F-7BC4-4277-B8F9-D5556E03F44B}"/>
              </a:ext>
            </a:extLst>
          </p:cNvPr>
          <p:cNvSpPr>
            <a:spLocks noGrp="1"/>
          </p:cNvSpPr>
          <p:nvPr>
            <p:ph type="sldNum" sz="quarter" idx="12"/>
          </p:nvPr>
        </p:nvSpPr>
        <p:spPr/>
        <p:txBody>
          <a:bodyPr/>
          <a:lstStyle/>
          <a:p>
            <a:fld id="{5DD3DB80-B894-403A-B48E-6FDC1A72010E}" type="slidenum">
              <a:rPr lang="zh-CN" altLang="en-US" smtClean="0"/>
              <a:pPr/>
              <a:t>23</a:t>
            </a:fld>
            <a:endParaRPr lang="zh-CN" altLang="en-US"/>
          </a:p>
        </p:txBody>
      </p:sp>
      <p:grpSp>
        <p:nvGrpSpPr>
          <p:cNvPr id="5" name="271934"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AD3C482-4747-485A-8683-4BAE546FE37B}"/>
              </a:ext>
            </a:extLst>
          </p:cNvPr>
          <p:cNvGrpSpPr>
            <a:grpSpLocks noChangeAspect="1"/>
          </p:cNvGrpSpPr>
          <p:nvPr/>
        </p:nvGrpSpPr>
        <p:grpSpPr>
          <a:xfrm>
            <a:off x="1232972" y="1123950"/>
            <a:ext cx="9726056" cy="5892863"/>
            <a:chOff x="1232972" y="1123950"/>
            <a:chExt cx="9726056" cy="5892863"/>
          </a:xfrm>
        </p:grpSpPr>
        <p:sp>
          <p:nvSpPr>
            <p:cNvPr id="6" name="ïṧḷíḑè">
              <a:extLst>
                <a:ext uri="{FF2B5EF4-FFF2-40B4-BE49-F238E27FC236}">
                  <a16:creationId xmlns:a16="http://schemas.microsoft.com/office/drawing/2014/main" id="{2842B369-5626-4306-ABB4-BD543078A7AF}"/>
                </a:ext>
              </a:extLst>
            </p:cNvPr>
            <p:cNvSpPr/>
            <p:nvPr/>
          </p:nvSpPr>
          <p:spPr>
            <a:xfrm>
              <a:off x="1714500" y="1587381"/>
              <a:ext cx="8763000" cy="5429432"/>
            </a:xfrm>
            <a:prstGeom prst="blockArc">
              <a:avLst>
                <a:gd name="adj1" fmla="val 11783847"/>
                <a:gd name="adj2" fmla="val 20476304"/>
                <a:gd name="adj3" fmla="val 10206"/>
              </a:avLst>
            </a:prstGeom>
            <a:gradFill flip="none" rotWithShape="1">
              <a:gsLst>
                <a:gs pos="0">
                  <a:schemeClr val="bg1">
                    <a:alpha val="0"/>
                  </a:schemeClr>
                </a:gs>
                <a:gs pos="100000">
                  <a:schemeClr val="bg1">
                    <a:lumMod val="95000"/>
                    <a:alpha val="80000"/>
                  </a:schemeClr>
                </a:gs>
              </a:gsLst>
              <a:lin ang="16200000" scaled="1"/>
              <a:tileRect/>
            </a:gradFill>
            <a:ln w="12700" cap="rnd">
              <a:noFill/>
              <a:prstDash val="solid"/>
              <a:round/>
              <a:headEnd/>
              <a:tailEn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rmAutofit/>
            </a:bodyPr>
            <a:lstStyle/>
            <a:p>
              <a:pPr algn="ctr" defTabSz="914354"/>
              <a:endParaRPr lang="zh-CN" altLang="en-US" sz="2000" b="1" dirty="0">
                <a:solidFill>
                  <a:schemeClr val="bg1"/>
                </a:solidFill>
              </a:endParaRPr>
            </a:p>
          </p:txBody>
        </p:sp>
        <p:grpSp>
          <p:nvGrpSpPr>
            <p:cNvPr id="7" name="iŝḻîḋê">
              <a:extLst>
                <a:ext uri="{FF2B5EF4-FFF2-40B4-BE49-F238E27FC236}">
                  <a16:creationId xmlns:a16="http://schemas.microsoft.com/office/drawing/2014/main" id="{D8144A2B-E6F3-45F7-8255-46DB578B81A2}"/>
                </a:ext>
              </a:extLst>
            </p:cNvPr>
            <p:cNvGrpSpPr/>
            <p:nvPr/>
          </p:nvGrpSpPr>
          <p:grpSpPr>
            <a:xfrm>
              <a:off x="1899724" y="2313274"/>
              <a:ext cx="1504892" cy="1745674"/>
              <a:chOff x="3542463" y="637308"/>
              <a:chExt cx="1504892" cy="1745674"/>
            </a:xfrm>
          </p:grpSpPr>
          <p:sp>
            <p:nvSpPr>
              <p:cNvPr id="22" name="ïsḷiḋe">
                <a:extLst>
                  <a:ext uri="{FF2B5EF4-FFF2-40B4-BE49-F238E27FC236}">
                    <a16:creationId xmlns:a16="http://schemas.microsoft.com/office/drawing/2014/main" id="{7D0C0F21-DBA7-4F0E-A41C-9B86B174A37E}"/>
                  </a:ext>
                </a:extLst>
              </p:cNvPr>
              <p:cNvSpPr/>
              <p:nvPr/>
            </p:nvSpPr>
            <p:spPr>
              <a:xfrm rot="16200000">
                <a:off x="3422072" y="757699"/>
                <a:ext cx="1745674" cy="1504892"/>
              </a:xfrm>
              <a:prstGeom prst="hexagon">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a:p>
            </p:txBody>
          </p:sp>
          <p:sp>
            <p:nvSpPr>
              <p:cNvPr id="23" name="ïšḻïḓe">
                <a:extLst>
                  <a:ext uri="{FF2B5EF4-FFF2-40B4-BE49-F238E27FC236}">
                    <a16:creationId xmlns:a16="http://schemas.microsoft.com/office/drawing/2014/main" id="{D7720533-0197-40EF-BA37-01C45FA9C8A8}"/>
                  </a:ext>
                </a:extLst>
              </p:cNvPr>
              <p:cNvSpPr/>
              <p:nvPr/>
            </p:nvSpPr>
            <p:spPr bwMode="auto">
              <a:xfrm>
                <a:off x="3963340" y="1220339"/>
                <a:ext cx="663138" cy="608542"/>
              </a:xfrm>
              <a:custGeom>
                <a:avLst/>
                <a:gdLst>
                  <a:gd name="connsiteX0" fmla="*/ 350851 w 599171"/>
                  <a:gd name="connsiteY0" fmla="*/ 405257 h 549846"/>
                  <a:gd name="connsiteX1" fmla="*/ 394672 w 599171"/>
                  <a:gd name="connsiteY1" fmla="*/ 405257 h 549846"/>
                  <a:gd name="connsiteX2" fmla="*/ 394672 w 599171"/>
                  <a:gd name="connsiteY2" fmla="*/ 528464 h 549846"/>
                  <a:gd name="connsiteX3" fmla="*/ 350851 w 599171"/>
                  <a:gd name="connsiteY3" fmla="*/ 528464 h 549846"/>
                  <a:gd name="connsiteX4" fmla="*/ 418947 w 599171"/>
                  <a:gd name="connsiteY4" fmla="*/ 362989 h 549846"/>
                  <a:gd name="connsiteX5" fmla="*/ 462839 w 599171"/>
                  <a:gd name="connsiteY5" fmla="*/ 362989 h 549846"/>
                  <a:gd name="connsiteX6" fmla="*/ 462839 w 599171"/>
                  <a:gd name="connsiteY6" fmla="*/ 528465 h 549846"/>
                  <a:gd name="connsiteX7" fmla="*/ 418947 w 599171"/>
                  <a:gd name="connsiteY7" fmla="*/ 528465 h 549846"/>
                  <a:gd name="connsiteX8" fmla="*/ 487113 w 599171"/>
                  <a:gd name="connsiteY8" fmla="*/ 320932 h 549846"/>
                  <a:gd name="connsiteX9" fmla="*/ 531005 w 599171"/>
                  <a:gd name="connsiteY9" fmla="*/ 320932 h 549846"/>
                  <a:gd name="connsiteX10" fmla="*/ 531005 w 599171"/>
                  <a:gd name="connsiteY10" fmla="*/ 528465 h 549846"/>
                  <a:gd name="connsiteX11" fmla="*/ 487113 w 599171"/>
                  <a:gd name="connsiteY11" fmla="*/ 528465 h 549846"/>
                  <a:gd name="connsiteX12" fmla="*/ 555279 w 599171"/>
                  <a:gd name="connsiteY12" fmla="*/ 278945 h 549846"/>
                  <a:gd name="connsiteX13" fmla="*/ 599171 w 599171"/>
                  <a:gd name="connsiteY13" fmla="*/ 278945 h 549846"/>
                  <a:gd name="connsiteX14" fmla="*/ 599171 w 599171"/>
                  <a:gd name="connsiteY14" fmla="*/ 528464 h 549846"/>
                  <a:gd name="connsiteX15" fmla="*/ 555279 w 599171"/>
                  <a:gd name="connsiteY15" fmla="*/ 528464 h 549846"/>
                  <a:gd name="connsiteX16" fmla="*/ 257092 w 599171"/>
                  <a:gd name="connsiteY16" fmla="*/ 0 h 549846"/>
                  <a:gd name="connsiteX17" fmla="*/ 399061 w 599171"/>
                  <a:gd name="connsiteY17" fmla="*/ 142037 h 549846"/>
                  <a:gd name="connsiteX18" fmla="*/ 320591 w 599171"/>
                  <a:gd name="connsiteY18" fmla="*/ 290261 h 549846"/>
                  <a:gd name="connsiteX19" fmla="*/ 424874 w 599171"/>
                  <a:gd name="connsiteY19" fmla="*/ 341559 h 549846"/>
                  <a:gd name="connsiteX20" fmla="*/ 397512 w 599171"/>
                  <a:gd name="connsiteY20" fmla="*/ 341559 h 549846"/>
                  <a:gd name="connsiteX21" fmla="*/ 397512 w 599171"/>
                  <a:gd name="connsiteY21" fmla="*/ 383578 h 549846"/>
                  <a:gd name="connsiteX22" fmla="*/ 329367 w 599171"/>
                  <a:gd name="connsiteY22" fmla="*/ 383578 h 549846"/>
                  <a:gd name="connsiteX23" fmla="*/ 329367 w 599171"/>
                  <a:gd name="connsiteY23" fmla="*/ 547526 h 549846"/>
                  <a:gd name="connsiteX24" fmla="*/ 257092 w 599171"/>
                  <a:gd name="connsiteY24" fmla="*/ 549846 h 549846"/>
                  <a:gd name="connsiteX25" fmla="*/ 329109 w 599171"/>
                  <a:gd name="connsiteY25" fmla="*/ 477925 h 549846"/>
                  <a:gd name="connsiteX26" fmla="*/ 268450 w 599171"/>
                  <a:gd name="connsiteY26" fmla="*/ 331506 h 549846"/>
                  <a:gd name="connsiteX27" fmla="*/ 269224 w 599171"/>
                  <a:gd name="connsiteY27" fmla="*/ 331506 h 549846"/>
                  <a:gd name="connsiteX28" fmla="*/ 292714 w 599171"/>
                  <a:gd name="connsiteY28" fmla="*/ 304439 h 549846"/>
                  <a:gd name="connsiteX29" fmla="*/ 257092 w 599171"/>
                  <a:gd name="connsiteY29" fmla="*/ 311141 h 549846"/>
                  <a:gd name="connsiteX30" fmla="*/ 221471 w 599171"/>
                  <a:gd name="connsiteY30" fmla="*/ 304439 h 549846"/>
                  <a:gd name="connsiteX31" fmla="*/ 245219 w 599171"/>
                  <a:gd name="connsiteY31" fmla="*/ 331506 h 549846"/>
                  <a:gd name="connsiteX32" fmla="*/ 245735 w 599171"/>
                  <a:gd name="connsiteY32" fmla="*/ 331506 h 549846"/>
                  <a:gd name="connsiteX33" fmla="*/ 185075 w 599171"/>
                  <a:gd name="connsiteY33" fmla="*/ 477925 h 549846"/>
                  <a:gd name="connsiteX34" fmla="*/ 257092 w 599171"/>
                  <a:gd name="connsiteY34" fmla="*/ 549846 h 549846"/>
                  <a:gd name="connsiteX35" fmla="*/ 0 w 599171"/>
                  <a:gd name="connsiteY35" fmla="*/ 486432 h 549846"/>
                  <a:gd name="connsiteX36" fmla="*/ 193594 w 599171"/>
                  <a:gd name="connsiteY36" fmla="*/ 290261 h 549846"/>
                  <a:gd name="connsiteX37" fmla="*/ 115124 w 599171"/>
                  <a:gd name="connsiteY37" fmla="*/ 142037 h 549846"/>
                  <a:gd name="connsiteX38" fmla="*/ 257092 w 599171"/>
                  <a:gd name="connsiteY38" fmla="*/ 0 h 54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99171" h="549846">
                    <a:moveTo>
                      <a:pt x="350851" y="405257"/>
                    </a:moveTo>
                    <a:lnTo>
                      <a:pt x="394672" y="405257"/>
                    </a:lnTo>
                    <a:lnTo>
                      <a:pt x="394672" y="528464"/>
                    </a:lnTo>
                    <a:lnTo>
                      <a:pt x="350851" y="528464"/>
                    </a:lnTo>
                    <a:close/>
                    <a:moveTo>
                      <a:pt x="418947" y="362989"/>
                    </a:moveTo>
                    <a:lnTo>
                      <a:pt x="462839" y="362989"/>
                    </a:lnTo>
                    <a:lnTo>
                      <a:pt x="462839" y="528465"/>
                    </a:lnTo>
                    <a:lnTo>
                      <a:pt x="418947" y="528465"/>
                    </a:lnTo>
                    <a:close/>
                    <a:moveTo>
                      <a:pt x="487113" y="320932"/>
                    </a:moveTo>
                    <a:lnTo>
                      <a:pt x="531005" y="320932"/>
                    </a:lnTo>
                    <a:lnTo>
                      <a:pt x="531005" y="528465"/>
                    </a:lnTo>
                    <a:lnTo>
                      <a:pt x="487113" y="528465"/>
                    </a:lnTo>
                    <a:close/>
                    <a:moveTo>
                      <a:pt x="555279" y="278945"/>
                    </a:moveTo>
                    <a:lnTo>
                      <a:pt x="599171" y="278945"/>
                    </a:lnTo>
                    <a:lnTo>
                      <a:pt x="599171" y="528464"/>
                    </a:lnTo>
                    <a:lnTo>
                      <a:pt x="555279" y="528464"/>
                    </a:lnTo>
                    <a:close/>
                    <a:moveTo>
                      <a:pt x="257092" y="0"/>
                    </a:moveTo>
                    <a:cubicBezTo>
                      <a:pt x="335562" y="0"/>
                      <a:pt x="399061" y="63672"/>
                      <a:pt x="399061" y="142037"/>
                    </a:cubicBezTo>
                    <a:cubicBezTo>
                      <a:pt x="399061" y="197460"/>
                      <a:pt x="367054" y="259069"/>
                      <a:pt x="320591" y="290261"/>
                    </a:cubicBezTo>
                    <a:cubicBezTo>
                      <a:pt x="359826" y="300314"/>
                      <a:pt x="395447" y="318875"/>
                      <a:pt x="424874" y="341559"/>
                    </a:cubicBezTo>
                    <a:lnTo>
                      <a:pt x="397512" y="341559"/>
                    </a:lnTo>
                    <a:lnTo>
                      <a:pt x="397512" y="383578"/>
                    </a:lnTo>
                    <a:lnTo>
                      <a:pt x="329367" y="383578"/>
                    </a:lnTo>
                    <a:lnTo>
                      <a:pt x="329367" y="547526"/>
                    </a:lnTo>
                    <a:cubicBezTo>
                      <a:pt x="305878" y="549073"/>
                      <a:pt x="281614" y="549846"/>
                      <a:pt x="257092" y="549846"/>
                    </a:cubicBezTo>
                    <a:lnTo>
                      <a:pt x="329109" y="477925"/>
                    </a:lnTo>
                    <a:lnTo>
                      <a:pt x="268450" y="331506"/>
                    </a:lnTo>
                    <a:lnTo>
                      <a:pt x="269224" y="331506"/>
                    </a:lnTo>
                    <a:lnTo>
                      <a:pt x="292714" y="304439"/>
                    </a:lnTo>
                    <a:cubicBezTo>
                      <a:pt x="281356" y="308563"/>
                      <a:pt x="269482" y="311141"/>
                      <a:pt x="257092" y="311141"/>
                    </a:cubicBezTo>
                    <a:cubicBezTo>
                      <a:pt x="244961" y="311141"/>
                      <a:pt x="233087" y="308563"/>
                      <a:pt x="221471" y="304439"/>
                    </a:cubicBezTo>
                    <a:lnTo>
                      <a:pt x="245219" y="331506"/>
                    </a:lnTo>
                    <a:lnTo>
                      <a:pt x="245735" y="331506"/>
                    </a:lnTo>
                    <a:lnTo>
                      <a:pt x="185075" y="477925"/>
                    </a:lnTo>
                    <a:lnTo>
                      <a:pt x="257092" y="549846"/>
                    </a:lnTo>
                    <a:cubicBezTo>
                      <a:pt x="128546" y="549846"/>
                      <a:pt x="0" y="528708"/>
                      <a:pt x="0" y="486432"/>
                    </a:cubicBezTo>
                    <a:cubicBezTo>
                      <a:pt x="0" y="415027"/>
                      <a:pt x="82342" y="318617"/>
                      <a:pt x="193594" y="290261"/>
                    </a:cubicBezTo>
                    <a:cubicBezTo>
                      <a:pt x="147131" y="259069"/>
                      <a:pt x="115124" y="197460"/>
                      <a:pt x="115124" y="142037"/>
                    </a:cubicBezTo>
                    <a:cubicBezTo>
                      <a:pt x="115124" y="63672"/>
                      <a:pt x="178622" y="0"/>
                      <a:pt x="257092"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798">
                  <a:solidFill>
                    <a:schemeClr val="bg1"/>
                  </a:solidFill>
                </a:endParaRPr>
              </a:p>
            </p:txBody>
          </p:sp>
        </p:grpSp>
        <p:grpSp>
          <p:nvGrpSpPr>
            <p:cNvPr id="8" name="işľîḋe">
              <a:extLst>
                <a:ext uri="{FF2B5EF4-FFF2-40B4-BE49-F238E27FC236}">
                  <a16:creationId xmlns:a16="http://schemas.microsoft.com/office/drawing/2014/main" id="{3A96545A-CD3B-412E-8521-9E70DD7B6BF5}"/>
                </a:ext>
              </a:extLst>
            </p:cNvPr>
            <p:cNvGrpSpPr/>
            <p:nvPr/>
          </p:nvGrpSpPr>
          <p:grpSpPr>
            <a:xfrm>
              <a:off x="1232972" y="4087879"/>
              <a:ext cx="2838396" cy="1207106"/>
              <a:chOff x="1232972" y="4087879"/>
              <a:chExt cx="2838396" cy="1207106"/>
            </a:xfrm>
          </p:grpSpPr>
          <p:sp>
            <p:nvSpPr>
              <p:cNvPr id="20" name="išlïḋè">
                <a:extLst>
                  <a:ext uri="{FF2B5EF4-FFF2-40B4-BE49-F238E27FC236}">
                    <a16:creationId xmlns:a16="http://schemas.microsoft.com/office/drawing/2014/main" id="{DCFDEE8A-E9BD-435F-A3F6-CB304595E118}"/>
                  </a:ext>
                </a:extLst>
              </p:cNvPr>
              <p:cNvSpPr/>
              <p:nvPr/>
            </p:nvSpPr>
            <p:spPr bwMode="auto">
              <a:xfrm>
                <a:off x="1232972" y="4529684"/>
                <a:ext cx="2838396"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p>
              <a:p>
                <a:pPr algn="ctr">
                  <a:lnSpc>
                    <a:spcPct val="120000"/>
                  </a:lnSpc>
                </a:pPr>
                <a:r>
                  <a:rPr lang="en-US" altLang="zh-CN" sz="1100" dirty="0"/>
                  <a:t>……</a:t>
                </a:r>
              </a:p>
            </p:txBody>
          </p:sp>
          <p:sp>
            <p:nvSpPr>
              <p:cNvPr id="21" name="ïŝḷïḓè">
                <a:extLst>
                  <a:ext uri="{FF2B5EF4-FFF2-40B4-BE49-F238E27FC236}">
                    <a16:creationId xmlns:a16="http://schemas.microsoft.com/office/drawing/2014/main" id="{5A5C5F73-3502-4673-BD69-369B7A9C94E6}"/>
                  </a:ext>
                </a:extLst>
              </p:cNvPr>
              <p:cNvSpPr txBox="1"/>
              <p:nvPr/>
            </p:nvSpPr>
            <p:spPr bwMode="auto">
              <a:xfrm>
                <a:off x="1232972" y="4087879"/>
                <a:ext cx="283839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a:t>Text </a:t>
                </a:r>
                <a:r>
                  <a:rPr lang="en-US" altLang="zh-CN" b="1" dirty="0"/>
                  <a:t>here</a:t>
                </a:r>
              </a:p>
            </p:txBody>
          </p:sp>
        </p:grpSp>
        <p:grpSp>
          <p:nvGrpSpPr>
            <p:cNvPr id="9" name="ïśḷîďé">
              <a:extLst>
                <a:ext uri="{FF2B5EF4-FFF2-40B4-BE49-F238E27FC236}">
                  <a16:creationId xmlns:a16="http://schemas.microsoft.com/office/drawing/2014/main" id="{A86F33E5-982F-4539-A98B-A0828EBF1B85}"/>
                </a:ext>
              </a:extLst>
            </p:cNvPr>
            <p:cNvGrpSpPr/>
            <p:nvPr/>
          </p:nvGrpSpPr>
          <p:grpSpPr>
            <a:xfrm>
              <a:off x="4676802" y="3063042"/>
              <a:ext cx="2838396" cy="1207106"/>
              <a:chOff x="4676802" y="3063042"/>
              <a:chExt cx="2838396" cy="1207106"/>
            </a:xfrm>
          </p:grpSpPr>
          <p:sp>
            <p:nvSpPr>
              <p:cNvPr id="18" name="îSľiḓè">
                <a:extLst>
                  <a:ext uri="{FF2B5EF4-FFF2-40B4-BE49-F238E27FC236}">
                    <a16:creationId xmlns:a16="http://schemas.microsoft.com/office/drawing/2014/main" id="{934B3875-2ACB-49D3-B729-DF49860B2B53}"/>
                  </a:ext>
                </a:extLst>
              </p:cNvPr>
              <p:cNvSpPr/>
              <p:nvPr/>
            </p:nvSpPr>
            <p:spPr bwMode="auto">
              <a:xfrm>
                <a:off x="4676802" y="3504847"/>
                <a:ext cx="2838396"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p>
              <a:p>
                <a:pPr algn="ctr">
                  <a:lnSpc>
                    <a:spcPct val="120000"/>
                  </a:lnSpc>
                </a:pPr>
                <a:r>
                  <a:rPr lang="en-US" altLang="zh-CN" sz="1100" dirty="0"/>
                  <a:t>……</a:t>
                </a:r>
              </a:p>
            </p:txBody>
          </p:sp>
          <p:sp>
            <p:nvSpPr>
              <p:cNvPr id="19" name="ïşḻídé">
                <a:extLst>
                  <a:ext uri="{FF2B5EF4-FFF2-40B4-BE49-F238E27FC236}">
                    <a16:creationId xmlns:a16="http://schemas.microsoft.com/office/drawing/2014/main" id="{C031274A-A324-49B9-8EB5-11E4CC3BFD59}"/>
                  </a:ext>
                </a:extLst>
              </p:cNvPr>
              <p:cNvSpPr txBox="1"/>
              <p:nvPr/>
            </p:nvSpPr>
            <p:spPr bwMode="auto">
              <a:xfrm>
                <a:off x="4676802" y="3063042"/>
                <a:ext cx="283839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a:t>Text </a:t>
                </a:r>
                <a:r>
                  <a:rPr lang="en-US" altLang="zh-CN" b="1" dirty="0"/>
                  <a:t>here</a:t>
                </a:r>
              </a:p>
            </p:txBody>
          </p:sp>
        </p:grpSp>
        <p:grpSp>
          <p:nvGrpSpPr>
            <p:cNvPr id="10" name="ïṡļiḑê">
              <a:extLst>
                <a:ext uri="{FF2B5EF4-FFF2-40B4-BE49-F238E27FC236}">
                  <a16:creationId xmlns:a16="http://schemas.microsoft.com/office/drawing/2014/main" id="{7E4390F1-867D-4299-9213-1BD3CB6FD5C3}"/>
                </a:ext>
              </a:extLst>
            </p:cNvPr>
            <p:cNvGrpSpPr/>
            <p:nvPr/>
          </p:nvGrpSpPr>
          <p:grpSpPr>
            <a:xfrm>
              <a:off x="8120632" y="2313274"/>
              <a:ext cx="2838396" cy="2981711"/>
              <a:chOff x="7514531" y="2870488"/>
              <a:chExt cx="2838396" cy="2981711"/>
            </a:xfrm>
          </p:grpSpPr>
          <p:grpSp>
            <p:nvGrpSpPr>
              <p:cNvPr id="12" name="íṩliḍè">
                <a:extLst>
                  <a:ext uri="{FF2B5EF4-FFF2-40B4-BE49-F238E27FC236}">
                    <a16:creationId xmlns:a16="http://schemas.microsoft.com/office/drawing/2014/main" id="{CA4436F3-2773-4DC7-B364-BE845BEE3FEB}"/>
                  </a:ext>
                </a:extLst>
              </p:cNvPr>
              <p:cNvGrpSpPr/>
              <p:nvPr/>
            </p:nvGrpSpPr>
            <p:grpSpPr>
              <a:xfrm>
                <a:off x="8181283" y="2870488"/>
                <a:ext cx="1504892" cy="1745674"/>
                <a:chOff x="3542463" y="637308"/>
                <a:chExt cx="1504892" cy="1745674"/>
              </a:xfrm>
            </p:grpSpPr>
            <p:sp>
              <p:nvSpPr>
                <p:cNvPr id="16" name="îṥliḋe">
                  <a:extLst>
                    <a:ext uri="{FF2B5EF4-FFF2-40B4-BE49-F238E27FC236}">
                      <a16:creationId xmlns:a16="http://schemas.microsoft.com/office/drawing/2014/main" id="{68B6371C-D800-45EC-85E2-D6AFF16A0935}"/>
                    </a:ext>
                  </a:extLst>
                </p:cNvPr>
                <p:cNvSpPr/>
                <p:nvPr/>
              </p:nvSpPr>
              <p:spPr>
                <a:xfrm rot="16200000">
                  <a:off x="3422072" y="757699"/>
                  <a:ext cx="1745674" cy="1504892"/>
                </a:xfrm>
                <a:prstGeom prst="hexagon">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a:p>
              </p:txBody>
            </p:sp>
            <p:sp>
              <p:nvSpPr>
                <p:cNvPr id="17" name="íṣḷíḋê">
                  <a:extLst>
                    <a:ext uri="{FF2B5EF4-FFF2-40B4-BE49-F238E27FC236}">
                      <a16:creationId xmlns:a16="http://schemas.microsoft.com/office/drawing/2014/main" id="{CA147A9C-BF22-4B4C-8238-B5D1AF5B4DDF}"/>
                    </a:ext>
                  </a:extLst>
                </p:cNvPr>
                <p:cNvSpPr/>
                <p:nvPr/>
              </p:nvSpPr>
              <p:spPr bwMode="auto">
                <a:xfrm>
                  <a:off x="3963340" y="1220339"/>
                  <a:ext cx="663138" cy="608542"/>
                </a:xfrm>
                <a:custGeom>
                  <a:avLst/>
                  <a:gdLst>
                    <a:gd name="connsiteX0" fmla="*/ 350851 w 599171"/>
                    <a:gd name="connsiteY0" fmla="*/ 405257 h 549846"/>
                    <a:gd name="connsiteX1" fmla="*/ 394672 w 599171"/>
                    <a:gd name="connsiteY1" fmla="*/ 405257 h 549846"/>
                    <a:gd name="connsiteX2" fmla="*/ 394672 w 599171"/>
                    <a:gd name="connsiteY2" fmla="*/ 528464 h 549846"/>
                    <a:gd name="connsiteX3" fmla="*/ 350851 w 599171"/>
                    <a:gd name="connsiteY3" fmla="*/ 528464 h 549846"/>
                    <a:gd name="connsiteX4" fmla="*/ 418947 w 599171"/>
                    <a:gd name="connsiteY4" fmla="*/ 362989 h 549846"/>
                    <a:gd name="connsiteX5" fmla="*/ 462839 w 599171"/>
                    <a:gd name="connsiteY5" fmla="*/ 362989 h 549846"/>
                    <a:gd name="connsiteX6" fmla="*/ 462839 w 599171"/>
                    <a:gd name="connsiteY6" fmla="*/ 528465 h 549846"/>
                    <a:gd name="connsiteX7" fmla="*/ 418947 w 599171"/>
                    <a:gd name="connsiteY7" fmla="*/ 528465 h 549846"/>
                    <a:gd name="connsiteX8" fmla="*/ 487113 w 599171"/>
                    <a:gd name="connsiteY8" fmla="*/ 320932 h 549846"/>
                    <a:gd name="connsiteX9" fmla="*/ 531005 w 599171"/>
                    <a:gd name="connsiteY9" fmla="*/ 320932 h 549846"/>
                    <a:gd name="connsiteX10" fmla="*/ 531005 w 599171"/>
                    <a:gd name="connsiteY10" fmla="*/ 528465 h 549846"/>
                    <a:gd name="connsiteX11" fmla="*/ 487113 w 599171"/>
                    <a:gd name="connsiteY11" fmla="*/ 528465 h 549846"/>
                    <a:gd name="connsiteX12" fmla="*/ 555279 w 599171"/>
                    <a:gd name="connsiteY12" fmla="*/ 278945 h 549846"/>
                    <a:gd name="connsiteX13" fmla="*/ 599171 w 599171"/>
                    <a:gd name="connsiteY13" fmla="*/ 278945 h 549846"/>
                    <a:gd name="connsiteX14" fmla="*/ 599171 w 599171"/>
                    <a:gd name="connsiteY14" fmla="*/ 528464 h 549846"/>
                    <a:gd name="connsiteX15" fmla="*/ 555279 w 599171"/>
                    <a:gd name="connsiteY15" fmla="*/ 528464 h 549846"/>
                    <a:gd name="connsiteX16" fmla="*/ 257092 w 599171"/>
                    <a:gd name="connsiteY16" fmla="*/ 0 h 549846"/>
                    <a:gd name="connsiteX17" fmla="*/ 399061 w 599171"/>
                    <a:gd name="connsiteY17" fmla="*/ 142037 h 549846"/>
                    <a:gd name="connsiteX18" fmla="*/ 320591 w 599171"/>
                    <a:gd name="connsiteY18" fmla="*/ 290261 h 549846"/>
                    <a:gd name="connsiteX19" fmla="*/ 424874 w 599171"/>
                    <a:gd name="connsiteY19" fmla="*/ 341559 h 549846"/>
                    <a:gd name="connsiteX20" fmla="*/ 397512 w 599171"/>
                    <a:gd name="connsiteY20" fmla="*/ 341559 h 549846"/>
                    <a:gd name="connsiteX21" fmla="*/ 397512 w 599171"/>
                    <a:gd name="connsiteY21" fmla="*/ 383578 h 549846"/>
                    <a:gd name="connsiteX22" fmla="*/ 329367 w 599171"/>
                    <a:gd name="connsiteY22" fmla="*/ 383578 h 549846"/>
                    <a:gd name="connsiteX23" fmla="*/ 329367 w 599171"/>
                    <a:gd name="connsiteY23" fmla="*/ 547526 h 549846"/>
                    <a:gd name="connsiteX24" fmla="*/ 257092 w 599171"/>
                    <a:gd name="connsiteY24" fmla="*/ 549846 h 549846"/>
                    <a:gd name="connsiteX25" fmla="*/ 329109 w 599171"/>
                    <a:gd name="connsiteY25" fmla="*/ 477925 h 549846"/>
                    <a:gd name="connsiteX26" fmla="*/ 268450 w 599171"/>
                    <a:gd name="connsiteY26" fmla="*/ 331506 h 549846"/>
                    <a:gd name="connsiteX27" fmla="*/ 269224 w 599171"/>
                    <a:gd name="connsiteY27" fmla="*/ 331506 h 549846"/>
                    <a:gd name="connsiteX28" fmla="*/ 292714 w 599171"/>
                    <a:gd name="connsiteY28" fmla="*/ 304439 h 549846"/>
                    <a:gd name="connsiteX29" fmla="*/ 257092 w 599171"/>
                    <a:gd name="connsiteY29" fmla="*/ 311141 h 549846"/>
                    <a:gd name="connsiteX30" fmla="*/ 221471 w 599171"/>
                    <a:gd name="connsiteY30" fmla="*/ 304439 h 549846"/>
                    <a:gd name="connsiteX31" fmla="*/ 245219 w 599171"/>
                    <a:gd name="connsiteY31" fmla="*/ 331506 h 549846"/>
                    <a:gd name="connsiteX32" fmla="*/ 245735 w 599171"/>
                    <a:gd name="connsiteY32" fmla="*/ 331506 h 549846"/>
                    <a:gd name="connsiteX33" fmla="*/ 185075 w 599171"/>
                    <a:gd name="connsiteY33" fmla="*/ 477925 h 549846"/>
                    <a:gd name="connsiteX34" fmla="*/ 257092 w 599171"/>
                    <a:gd name="connsiteY34" fmla="*/ 549846 h 549846"/>
                    <a:gd name="connsiteX35" fmla="*/ 0 w 599171"/>
                    <a:gd name="connsiteY35" fmla="*/ 486432 h 549846"/>
                    <a:gd name="connsiteX36" fmla="*/ 193594 w 599171"/>
                    <a:gd name="connsiteY36" fmla="*/ 290261 h 549846"/>
                    <a:gd name="connsiteX37" fmla="*/ 115124 w 599171"/>
                    <a:gd name="connsiteY37" fmla="*/ 142037 h 549846"/>
                    <a:gd name="connsiteX38" fmla="*/ 257092 w 599171"/>
                    <a:gd name="connsiteY38" fmla="*/ 0 h 54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99171" h="549846">
                      <a:moveTo>
                        <a:pt x="350851" y="405257"/>
                      </a:moveTo>
                      <a:lnTo>
                        <a:pt x="394672" y="405257"/>
                      </a:lnTo>
                      <a:lnTo>
                        <a:pt x="394672" y="528464"/>
                      </a:lnTo>
                      <a:lnTo>
                        <a:pt x="350851" y="528464"/>
                      </a:lnTo>
                      <a:close/>
                      <a:moveTo>
                        <a:pt x="418947" y="362989"/>
                      </a:moveTo>
                      <a:lnTo>
                        <a:pt x="462839" y="362989"/>
                      </a:lnTo>
                      <a:lnTo>
                        <a:pt x="462839" y="528465"/>
                      </a:lnTo>
                      <a:lnTo>
                        <a:pt x="418947" y="528465"/>
                      </a:lnTo>
                      <a:close/>
                      <a:moveTo>
                        <a:pt x="487113" y="320932"/>
                      </a:moveTo>
                      <a:lnTo>
                        <a:pt x="531005" y="320932"/>
                      </a:lnTo>
                      <a:lnTo>
                        <a:pt x="531005" y="528465"/>
                      </a:lnTo>
                      <a:lnTo>
                        <a:pt x="487113" y="528465"/>
                      </a:lnTo>
                      <a:close/>
                      <a:moveTo>
                        <a:pt x="555279" y="278945"/>
                      </a:moveTo>
                      <a:lnTo>
                        <a:pt x="599171" y="278945"/>
                      </a:lnTo>
                      <a:lnTo>
                        <a:pt x="599171" y="528464"/>
                      </a:lnTo>
                      <a:lnTo>
                        <a:pt x="555279" y="528464"/>
                      </a:lnTo>
                      <a:close/>
                      <a:moveTo>
                        <a:pt x="257092" y="0"/>
                      </a:moveTo>
                      <a:cubicBezTo>
                        <a:pt x="335562" y="0"/>
                        <a:pt x="399061" y="63672"/>
                        <a:pt x="399061" y="142037"/>
                      </a:cubicBezTo>
                      <a:cubicBezTo>
                        <a:pt x="399061" y="197460"/>
                        <a:pt x="367054" y="259069"/>
                        <a:pt x="320591" y="290261"/>
                      </a:cubicBezTo>
                      <a:cubicBezTo>
                        <a:pt x="359826" y="300314"/>
                        <a:pt x="395447" y="318875"/>
                        <a:pt x="424874" y="341559"/>
                      </a:cubicBezTo>
                      <a:lnTo>
                        <a:pt x="397512" y="341559"/>
                      </a:lnTo>
                      <a:lnTo>
                        <a:pt x="397512" y="383578"/>
                      </a:lnTo>
                      <a:lnTo>
                        <a:pt x="329367" y="383578"/>
                      </a:lnTo>
                      <a:lnTo>
                        <a:pt x="329367" y="547526"/>
                      </a:lnTo>
                      <a:cubicBezTo>
                        <a:pt x="305878" y="549073"/>
                        <a:pt x="281614" y="549846"/>
                        <a:pt x="257092" y="549846"/>
                      </a:cubicBezTo>
                      <a:lnTo>
                        <a:pt x="329109" y="477925"/>
                      </a:lnTo>
                      <a:lnTo>
                        <a:pt x="268450" y="331506"/>
                      </a:lnTo>
                      <a:lnTo>
                        <a:pt x="269224" y="331506"/>
                      </a:lnTo>
                      <a:lnTo>
                        <a:pt x="292714" y="304439"/>
                      </a:lnTo>
                      <a:cubicBezTo>
                        <a:pt x="281356" y="308563"/>
                        <a:pt x="269482" y="311141"/>
                        <a:pt x="257092" y="311141"/>
                      </a:cubicBezTo>
                      <a:cubicBezTo>
                        <a:pt x="244961" y="311141"/>
                        <a:pt x="233087" y="308563"/>
                        <a:pt x="221471" y="304439"/>
                      </a:cubicBezTo>
                      <a:lnTo>
                        <a:pt x="245219" y="331506"/>
                      </a:lnTo>
                      <a:lnTo>
                        <a:pt x="245735" y="331506"/>
                      </a:lnTo>
                      <a:lnTo>
                        <a:pt x="185075" y="477925"/>
                      </a:lnTo>
                      <a:lnTo>
                        <a:pt x="257092" y="549846"/>
                      </a:lnTo>
                      <a:cubicBezTo>
                        <a:pt x="128546" y="549846"/>
                        <a:pt x="0" y="528708"/>
                        <a:pt x="0" y="486432"/>
                      </a:cubicBezTo>
                      <a:cubicBezTo>
                        <a:pt x="0" y="415027"/>
                        <a:pt x="82342" y="318617"/>
                        <a:pt x="193594" y="290261"/>
                      </a:cubicBezTo>
                      <a:cubicBezTo>
                        <a:pt x="147131" y="259069"/>
                        <a:pt x="115124" y="197460"/>
                        <a:pt x="115124" y="142037"/>
                      </a:cubicBezTo>
                      <a:cubicBezTo>
                        <a:pt x="115124" y="63672"/>
                        <a:pt x="178622" y="0"/>
                        <a:pt x="257092"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798">
                    <a:solidFill>
                      <a:schemeClr val="bg1"/>
                    </a:solidFill>
                  </a:endParaRPr>
                </a:p>
              </p:txBody>
            </p:sp>
          </p:grpSp>
          <p:grpSp>
            <p:nvGrpSpPr>
              <p:cNvPr id="13" name="ïšļïḋé">
                <a:extLst>
                  <a:ext uri="{FF2B5EF4-FFF2-40B4-BE49-F238E27FC236}">
                    <a16:creationId xmlns:a16="http://schemas.microsoft.com/office/drawing/2014/main" id="{83F17F1C-7B14-4D82-8696-3D84E8C268F7}"/>
                  </a:ext>
                </a:extLst>
              </p:cNvPr>
              <p:cNvGrpSpPr/>
              <p:nvPr/>
            </p:nvGrpSpPr>
            <p:grpSpPr>
              <a:xfrm>
                <a:off x="7514531" y="4645093"/>
                <a:ext cx="2838396" cy="1207106"/>
                <a:chOff x="7524749" y="4330768"/>
                <a:chExt cx="2838396" cy="1207106"/>
              </a:xfrm>
            </p:grpSpPr>
            <p:sp>
              <p:nvSpPr>
                <p:cNvPr id="14" name="iSľíḍê">
                  <a:extLst>
                    <a:ext uri="{FF2B5EF4-FFF2-40B4-BE49-F238E27FC236}">
                      <a16:creationId xmlns:a16="http://schemas.microsoft.com/office/drawing/2014/main" id="{DFDCBFBE-F60E-4EE5-8809-63CC6AEB4545}"/>
                    </a:ext>
                  </a:extLst>
                </p:cNvPr>
                <p:cNvSpPr/>
                <p:nvPr/>
              </p:nvSpPr>
              <p:spPr bwMode="auto">
                <a:xfrm>
                  <a:off x="7524749" y="4772573"/>
                  <a:ext cx="2838396"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20000"/>
                    </a:lnSpc>
                  </a:pPr>
                  <a:r>
                    <a:rPr lang="en-US" altLang="zh-CN" sz="1100" dirty="0"/>
                    <a:t>Copy paste fonts. Choose the only option to retain text.</a:t>
                  </a:r>
                </a:p>
                <a:p>
                  <a:pPr algn="ctr">
                    <a:lnSpc>
                      <a:spcPct val="120000"/>
                    </a:lnSpc>
                  </a:pPr>
                  <a:r>
                    <a:rPr lang="en-US" altLang="zh-CN" sz="1100" dirty="0"/>
                    <a:t>……</a:t>
                  </a:r>
                </a:p>
              </p:txBody>
            </p:sp>
            <p:sp>
              <p:nvSpPr>
                <p:cNvPr id="15" name="îsľiḍe">
                  <a:extLst>
                    <a:ext uri="{FF2B5EF4-FFF2-40B4-BE49-F238E27FC236}">
                      <a16:creationId xmlns:a16="http://schemas.microsoft.com/office/drawing/2014/main" id="{064F76ED-9520-4E75-B76B-A45A86E432C7}"/>
                    </a:ext>
                  </a:extLst>
                </p:cNvPr>
                <p:cNvSpPr txBox="1"/>
                <p:nvPr/>
              </p:nvSpPr>
              <p:spPr bwMode="auto">
                <a:xfrm>
                  <a:off x="7524749" y="4330768"/>
                  <a:ext cx="283839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b="1"/>
                    <a:t>Text </a:t>
                  </a:r>
                  <a:r>
                    <a:rPr lang="en-US" altLang="zh-CN" b="1" dirty="0"/>
                    <a:t>here</a:t>
                  </a:r>
                </a:p>
              </p:txBody>
            </p:sp>
          </p:grpSp>
        </p:grpSp>
        <p:sp>
          <p:nvSpPr>
            <p:cNvPr id="11" name="îš1îdê">
              <a:extLst>
                <a:ext uri="{FF2B5EF4-FFF2-40B4-BE49-F238E27FC236}">
                  <a16:creationId xmlns:a16="http://schemas.microsoft.com/office/drawing/2014/main" id="{2C8828DC-71F0-42CE-A564-4D1879710016}"/>
                </a:ext>
              </a:extLst>
            </p:cNvPr>
            <p:cNvSpPr/>
            <p:nvPr/>
          </p:nvSpPr>
          <p:spPr>
            <a:xfrm>
              <a:off x="5191125" y="1123950"/>
              <a:ext cx="1809750" cy="1809748"/>
            </a:xfrm>
            <a:prstGeom prst="ellipse">
              <a:avLst/>
            </a:prstGeom>
            <a:blipFill>
              <a:blip r:embed="rId2"/>
              <a:stretch>
                <a:fillRect l="-16780" r="-16553"/>
              </a:stretch>
            </a:blipFill>
            <a:ln w="76200" cap="flat" cmpd="sng" algn="ctr">
              <a:solidFill>
                <a:schemeClr val="bg1"/>
              </a:solid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dirty="0"/>
            </a:p>
          </p:txBody>
        </p:sp>
      </p:grpSp>
    </p:spTree>
    <p:extLst>
      <p:ext uri="{BB962C8B-B14F-4D97-AF65-F5344CB8AC3E}">
        <p14:creationId xmlns:p14="http://schemas.microsoft.com/office/powerpoint/2010/main" val="16736509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C56DAEF-FAB9-4B29-B1BB-C167FF2D0029}"/>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D0344C24-8EAD-4768-B934-FF86DFF4FEBE}"/>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C8B0219F-7E21-405B-927B-B9060E2C1998}"/>
              </a:ext>
            </a:extLst>
          </p:cNvPr>
          <p:cNvSpPr>
            <a:spLocks noGrp="1"/>
          </p:cNvSpPr>
          <p:nvPr>
            <p:ph type="sldNum" sz="quarter" idx="12"/>
          </p:nvPr>
        </p:nvSpPr>
        <p:spPr/>
        <p:txBody>
          <a:bodyPr/>
          <a:lstStyle/>
          <a:p>
            <a:fld id="{5DD3DB80-B894-403A-B48E-6FDC1A72010E}" type="slidenum">
              <a:rPr lang="zh-CN" altLang="en-US" smtClean="0"/>
              <a:pPr/>
              <a:t>24</a:t>
            </a:fld>
            <a:endParaRPr lang="zh-CN" altLang="en-US"/>
          </a:p>
        </p:txBody>
      </p:sp>
      <p:grpSp>
        <p:nvGrpSpPr>
          <p:cNvPr id="5" name="27191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770470A5-4670-4683-B494-770A8E74CE46}"/>
              </a:ext>
            </a:extLst>
          </p:cNvPr>
          <p:cNvGrpSpPr>
            <a:grpSpLocks noChangeAspect="1"/>
          </p:cNvGrpSpPr>
          <p:nvPr/>
        </p:nvGrpSpPr>
        <p:grpSpPr>
          <a:xfrm>
            <a:off x="669926" y="1664176"/>
            <a:ext cx="10850563" cy="4092843"/>
            <a:chOff x="669926" y="1664176"/>
            <a:chExt cx="10850563" cy="4092843"/>
          </a:xfrm>
        </p:grpSpPr>
        <p:grpSp>
          <p:nvGrpSpPr>
            <p:cNvPr id="6" name="îṧlîḋè">
              <a:extLst>
                <a:ext uri="{FF2B5EF4-FFF2-40B4-BE49-F238E27FC236}">
                  <a16:creationId xmlns:a16="http://schemas.microsoft.com/office/drawing/2014/main" id="{3FC96FFD-B269-4C9F-B860-FAF8E4771D14}"/>
                </a:ext>
              </a:extLst>
            </p:cNvPr>
            <p:cNvGrpSpPr/>
            <p:nvPr/>
          </p:nvGrpSpPr>
          <p:grpSpPr>
            <a:xfrm>
              <a:off x="2753691" y="1664176"/>
              <a:ext cx="6684619" cy="4092843"/>
              <a:chOff x="2753691" y="1664176"/>
              <a:chExt cx="6684619" cy="4092843"/>
            </a:xfrm>
          </p:grpSpPr>
          <p:sp>
            <p:nvSpPr>
              <p:cNvPr id="13" name="ïṥḷîḍé">
                <a:extLst>
                  <a:ext uri="{FF2B5EF4-FFF2-40B4-BE49-F238E27FC236}">
                    <a16:creationId xmlns:a16="http://schemas.microsoft.com/office/drawing/2014/main" id="{479C0BD7-AEFC-4CA5-9389-FAD6A633B6EF}"/>
                  </a:ext>
                </a:extLst>
              </p:cNvPr>
              <p:cNvSpPr/>
              <p:nvPr/>
            </p:nvSpPr>
            <p:spPr bwMode="auto">
              <a:xfrm>
                <a:off x="4224164" y="1664176"/>
                <a:ext cx="5214146" cy="1367880"/>
              </a:xfrm>
              <a:custGeom>
                <a:avLst/>
                <a:gdLst>
                  <a:gd name="T0" fmla="*/ 2650 w 2897"/>
                  <a:gd name="T1" fmla="*/ 0 h 760"/>
                  <a:gd name="T2" fmla="*/ 0 w 2897"/>
                  <a:gd name="T3" fmla="*/ 0 h 760"/>
                  <a:gd name="T4" fmla="*/ 246 w 2897"/>
                  <a:gd name="T5" fmla="*/ 391 h 760"/>
                  <a:gd name="T6" fmla="*/ 0 w 2897"/>
                  <a:gd name="T7" fmla="*/ 760 h 760"/>
                  <a:gd name="T8" fmla="*/ 2650 w 2897"/>
                  <a:gd name="T9" fmla="*/ 760 h 760"/>
                  <a:gd name="T10" fmla="*/ 2897 w 2897"/>
                  <a:gd name="T11" fmla="*/ 391 h 760"/>
                  <a:gd name="T12" fmla="*/ 2650 w 2897"/>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897" h="760">
                    <a:moveTo>
                      <a:pt x="2650" y="0"/>
                    </a:moveTo>
                    <a:lnTo>
                      <a:pt x="0" y="0"/>
                    </a:lnTo>
                    <a:lnTo>
                      <a:pt x="246" y="391"/>
                    </a:lnTo>
                    <a:lnTo>
                      <a:pt x="0" y="760"/>
                    </a:lnTo>
                    <a:lnTo>
                      <a:pt x="2650" y="760"/>
                    </a:lnTo>
                    <a:lnTo>
                      <a:pt x="2897" y="391"/>
                    </a:lnTo>
                    <a:lnTo>
                      <a:pt x="265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14" name="ísḷíḍe">
                <a:extLst>
                  <a:ext uri="{FF2B5EF4-FFF2-40B4-BE49-F238E27FC236}">
                    <a16:creationId xmlns:a16="http://schemas.microsoft.com/office/drawing/2014/main" id="{3D3A88F9-F77E-4270-8AC3-797645922D13}"/>
                  </a:ext>
                </a:extLst>
              </p:cNvPr>
              <p:cNvSpPr/>
              <p:nvPr/>
            </p:nvSpPr>
            <p:spPr bwMode="auto">
              <a:xfrm>
                <a:off x="4224164" y="1664176"/>
                <a:ext cx="5214146" cy="1367880"/>
              </a:xfrm>
              <a:custGeom>
                <a:avLst/>
                <a:gdLst>
                  <a:gd name="T0" fmla="*/ 2650 w 2897"/>
                  <a:gd name="T1" fmla="*/ 0 h 760"/>
                  <a:gd name="T2" fmla="*/ 0 w 2897"/>
                  <a:gd name="T3" fmla="*/ 0 h 760"/>
                  <a:gd name="T4" fmla="*/ 246 w 2897"/>
                  <a:gd name="T5" fmla="*/ 391 h 760"/>
                  <a:gd name="T6" fmla="*/ 0 w 2897"/>
                  <a:gd name="T7" fmla="*/ 760 h 760"/>
                  <a:gd name="T8" fmla="*/ 2650 w 2897"/>
                  <a:gd name="T9" fmla="*/ 760 h 760"/>
                  <a:gd name="T10" fmla="*/ 2897 w 2897"/>
                  <a:gd name="T11" fmla="*/ 391 h 760"/>
                  <a:gd name="T12" fmla="*/ 2650 w 2897"/>
                  <a:gd name="T13" fmla="*/ 0 h 760"/>
                </a:gdLst>
                <a:ahLst/>
                <a:cxnLst>
                  <a:cxn ang="0">
                    <a:pos x="T0" y="T1"/>
                  </a:cxn>
                  <a:cxn ang="0">
                    <a:pos x="T2" y="T3"/>
                  </a:cxn>
                  <a:cxn ang="0">
                    <a:pos x="T4" y="T5"/>
                  </a:cxn>
                  <a:cxn ang="0">
                    <a:pos x="T6" y="T7"/>
                  </a:cxn>
                  <a:cxn ang="0">
                    <a:pos x="T8" y="T9"/>
                  </a:cxn>
                  <a:cxn ang="0">
                    <a:pos x="T10" y="T11"/>
                  </a:cxn>
                  <a:cxn ang="0">
                    <a:pos x="T12" y="T13"/>
                  </a:cxn>
                </a:cxnLst>
                <a:rect l="0" t="0" r="r" b="b"/>
                <a:pathLst>
                  <a:path w="2897" h="760">
                    <a:moveTo>
                      <a:pt x="2650" y="0"/>
                    </a:moveTo>
                    <a:lnTo>
                      <a:pt x="0" y="0"/>
                    </a:lnTo>
                    <a:lnTo>
                      <a:pt x="246" y="391"/>
                    </a:lnTo>
                    <a:lnTo>
                      <a:pt x="0" y="760"/>
                    </a:lnTo>
                    <a:lnTo>
                      <a:pt x="2650" y="760"/>
                    </a:lnTo>
                    <a:lnTo>
                      <a:pt x="2897" y="391"/>
                    </a:lnTo>
                    <a:lnTo>
                      <a:pt x="26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15" name="íšḻíḑé">
                <a:extLst>
                  <a:ext uri="{FF2B5EF4-FFF2-40B4-BE49-F238E27FC236}">
                    <a16:creationId xmlns:a16="http://schemas.microsoft.com/office/drawing/2014/main" id="{0C6DC8AC-D127-4F4A-913E-6D308F7D7D1A}"/>
                  </a:ext>
                </a:extLst>
              </p:cNvPr>
              <p:cNvSpPr/>
              <p:nvPr/>
            </p:nvSpPr>
            <p:spPr bwMode="auto">
              <a:xfrm>
                <a:off x="2753691" y="3032057"/>
                <a:ext cx="5214146" cy="1362481"/>
              </a:xfrm>
              <a:custGeom>
                <a:avLst/>
                <a:gdLst>
                  <a:gd name="T0" fmla="*/ 246 w 2897"/>
                  <a:gd name="T1" fmla="*/ 0 h 757"/>
                  <a:gd name="T2" fmla="*/ 2897 w 2897"/>
                  <a:gd name="T3" fmla="*/ 0 h 757"/>
                  <a:gd name="T4" fmla="*/ 2651 w 2897"/>
                  <a:gd name="T5" fmla="*/ 388 h 757"/>
                  <a:gd name="T6" fmla="*/ 2897 w 2897"/>
                  <a:gd name="T7" fmla="*/ 757 h 757"/>
                  <a:gd name="T8" fmla="*/ 246 w 2897"/>
                  <a:gd name="T9" fmla="*/ 757 h 757"/>
                  <a:gd name="T10" fmla="*/ 0 w 2897"/>
                  <a:gd name="T11" fmla="*/ 388 h 757"/>
                  <a:gd name="T12" fmla="*/ 246 w 2897"/>
                  <a:gd name="T13" fmla="*/ 0 h 757"/>
                </a:gdLst>
                <a:ahLst/>
                <a:cxnLst>
                  <a:cxn ang="0">
                    <a:pos x="T0" y="T1"/>
                  </a:cxn>
                  <a:cxn ang="0">
                    <a:pos x="T2" y="T3"/>
                  </a:cxn>
                  <a:cxn ang="0">
                    <a:pos x="T4" y="T5"/>
                  </a:cxn>
                  <a:cxn ang="0">
                    <a:pos x="T6" y="T7"/>
                  </a:cxn>
                  <a:cxn ang="0">
                    <a:pos x="T8" y="T9"/>
                  </a:cxn>
                  <a:cxn ang="0">
                    <a:pos x="T10" y="T11"/>
                  </a:cxn>
                  <a:cxn ang="0">
                    <a:pos x="T12" y="T13"/>
                  </a:cxn>
                </a:cxnLst>
                <a:rect l="0" t="0" r="r" b="b"/>
                <a:pathLst>
                  <a:path w="2897" h="757">
                    <a:moveTo>
                      <a:pt x="246" y="0"/>
                    </a:moveTo>
                    <a:lnTo>
                      <a:pt x="2897" y="0"/>
                    </a:lnTo>
                    <a:lnTo>
                      <a:pt x="2651" y="388"/>
                    </a:lnTo>
                    <a:lnTo>
                      <a:pt x="2897" y="757"/>
                    </a:lnTo>
                    <a:lnTo>
                      <a:pt x="246" y="757"/>
                    </a:lnTo>
                    <a:lnTo>
                      <a:pt x="0" y="388"/>
                    </a:lnTo>
                    <a:lnTo>
                      <a:pt x="246" y="0"/>
                    </a:lnTo>
                    <a:close/>
                  </a:path>
                </a:pathLst>
              </a:custGeom>
              <a:solidFill>
                <a:schemeClr val="tx2">
                  <a:lumMod val="20000"/>
                  <a:lumOff val="80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16" name="íS1ïḋê">
                <a:extLst>
                  <a:ext uri="{FF2B5EF4-FFF2-40B4-BE49-F238E27FC236}">
                    <a16:creationId xmlns:a16="http://schemas.microsoft.com/office/drawing/2014/main" id="{33285F06-2D20-404A-A772-E5031D4CCAF2}"/>
                  </a:ext>
                </a:extLst>
              </p:cNvPr>
              <p:cNvSpPr/>
              <p:nvPr/>
            </p:nvSpPr>
            <p:spPr bwMode="auto">
              <a:xfrm>
                <a:off x="4224164" y="4394538"/>
                <a:ext cx="5214146" cy="1362481"/>
              </a:xfrm>
              <a:custGeom>
                <a:avLst/>
                <a:gdLst>
                  <a:gd name="T0" fmla="*/ 2650 w 2897"/>
                  <a:gd name="T1" fmla="*/ 0 h 757"/>
                  <a:gd name="T2" fmla="*/ 0 w 2897"/>
                  <a:gd name="T3" fmla="*/ 0 h 757"/>
                  <a:gd name="T4" fmla="*/ 246 w 2897"/>
                  <a:gd name="T5" fmla="*/ 388 h 757"/>
                  <a:gd name="T6" fmla="*/ 0 w 2897"/>
                  <a:gd name="T7" fmla="*/ 757 h 757"/>
                  <a:gd name="T8" fmla="*/ 2650 w 2897"/>
                  <a:gd name="T9" fmla="*/ 757 h 757"/>
                  <a:gd name="T10" fmla="*/ 2897 w 2897"/>
                  <a:gd name="T11" fmla="*/ 388 h 757"/>
                  <a:gd name="T12" fmla="*/ 2650 w 2897"/>
                  <a:gd name="T13" fmla="*/ 0 h 757"/>
                </a:gdLst>
                <a:ahLst/>
                <a:cxnLst>
                  <a:cxn ang="0">
                    <a:pos x="T0" y="T1"/>
                  </a:cxn>
                  <a:cxn ang="0">
                    <a:pos x="T2" y="T3"/>
                  </a:cxn>
                  <a:cxn ang="0">
                    <a:pos x="T4" y="T5"/>
                  </a:cxn>
                  <a:cxn ang="0">
                    <a:pos x="T6" y="T7"/>
                  </a:cxn>
                  <a:cxn ang="0">
                    <a:pos x="T8" y="T9"/>
                  </a:cxn>
                  <a:cxn ang="0">
                    <a:pos x="T10" y="T11"/>
                  </a:cxn>
                  <a:cxn ang="0">
                    <a:pos x="T12" y="T13"/>
                  </a:cxn>
                </a:cxnLst>
                <a:rect l="0" t="0" r="r" b="b"/>
                <a:pathLst>
                  <a:path w="2897" h="757">
                    <a:moveTo>
                      <a:pt x="2650" y="0"/>
                    </a:moveTo>
                    <a:lnTo>
                      <a:pt x="0" y="0"/>
                    </a:lnTo>
                    <a:lnTo>
                      <a:pt x="246" y="388"/>
                    </a:lnTo>
                    <a:lnTo>
                      <a:pt x="0" y="757"/>
                    </a:lnTo>
                    <a:lnTo>
                      <a:pt x="2650" y="757"/>
                    </a:lnTo>
                    <a:lnTo>
                      <a:pt x="2897" y="388"/>
                    </a:lnTo>
                    <a:lnTo>
                      <a:pt x="2650" y="0"/>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normAutofit/>
              </a:bodyPr>
              <a:lstStyle/>
              <a:p>
                <a:endParaRPr lang="en-US"/>
              </a:p>
            </p:txBody>
          </p:sp>
          <p:sp>
            <p:nvSpPr>
              <p:cNvPr id="17" name="îsľiḑè">
                <a:extLst>
                  <a:ext uri="{FF2B5EF4-FFF2-40B4-BE49-F238E27FC236}">
                    <a16:creationId xmlns:a16="http://schemas.microsoft.com/office/drawing/2014/main" id="{3995200F-1FEA-4C9D-B686-863F07F871DD}"/>
                  </a:ext>
                </a:extLst>
              </p:cNvPr>
              <p:cNvSpPr/>
              <p:nvPr/>
            </p:nvSpPr>
            <p:spPr bwMode="auto">
              <a:xfrm>
                <a:off x="4224164" y="4394538"/>
                <a:ext cx="5214146" cy="1362481"/>
              </a:xfrm>
              <a:custGeom>
                <a:avLst/>
                <a:gdLst>
                  <a:gd name="T0" fmla="*/ 2650 w 2897"/>
                  <a:gd name="T1" fmla="*/ 0 h 757"/>
                  <a:gd name="T2" fmla="*/ 0 w 2897"/>
                  <a:gd name="T3" fmla="*/ 0 h 757"/>
                  <a:gd name="T4" fmla="*/ 246 w 2897"/>
                  <a:gd name="T5" fmla="*/ 388 h 757"/>
                  <a:gd name="T6" fmla="*/ 0 w 2897"/>
                  <a:gd name="T7" fmla="*/ 757 h 757"/>
                  <a:gd name="T8" fmla="*/ 2650 w 2897"/>
                  <a:gd name="T9" fmla="*/ 757 h 757"/>
                  <a:gd name="T10" fmla="*/ 2897 w 2897"/>
                  <a:gd name="T11" fmla="*/ 388 h 757"/>
                  <a:gd name="T12" fmla="*/ 2650 w 2897"/>
                  <a:gd name="T13" fmla="*/ 0 h 757"/>
                </a:gdLst>
                <a:ahLst/>
                <a:cxnLst>
                  <a:cxn ang="0">
                    <a:pos x="T0" y="T1"/>
                  </a:cxn>
                  <a:cxn ang="0">
                    <a:pos x="T2" y="T3"/>
                  </a:cxn>
                  <a:cxn ang="0">
                    <a:pos x="T4" y="T5"/>
                  </a:cxn>
                  <a:cxn ang="0">
                    <a:pos x="T6" y="T7"/>
                  </a:cxn>
                  <a:cxn ang="0">
                    <a:pos x="T8" y="T9"/>
                  </a:cxn>
                  <a:cxn ang="0">
                    <a:pos x="T10" y="T11"/>
                  </a:cxn>
                  <a:cxn ang="0">
                    <a:pos x="T12" y="T13"/>
                  </a:cxn>
                </a:cxnLst>
                <a:rect l="0" t="0" r="r" b="b"/>
                <a:pathLst>
                  <a:path w="2897" h="757">
                    <a:moveTo>
                      <a:pt x="2650" y="0"/>
                    </a:moveTo>
                    <a:lnTo>
                      <a:pt x="0" y="0"/>
                    </a:lnTo>
                    <a:lnTo>
                      <a:pt x="246" y="388"/>
                    </a:lnTo>
                    <a:lnTo>
                      <a:pt x="0" y="757"/>
                    </a:lnTo>
                    <a:lnTo>
                      <a:pt x="2650" y="757"/>
                    </a:lnTo>
                    <a:lnTo>
                      <a:pt x="2897" y="388"/>
                    </a:lnTo>
                    <a:lnTo>
                      <a:pt x="265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rmAutofit/>
              </a:bodyPr>
              <a:lstStyle/>
              <a:p>
                <a:endParaRPr lang="en-US"/>
              </a:p>
            </p:txBody>
          </p:sp>
          <p:sp>
            <p:nvSpPr>
              <p:cNvPr id="18" name="îṧḻiḓè">
                <a:extLst>
                  <a:ext uri="{FF2B5EF4-FFF2-40B4-BE49-F238E27FC236}">
                    <a16:creationId xmlns:a16="http://schemas.microsoft.com/office/drawing/2014/main" id="{4619853B-2127-4441-BEB7-FEC95B08794A}"/>
                  </a:ext>
                </a:extLst>
              </p:cNvPr>
              <p:cNvSpPr txBox="1"/>
              <p:nvPr/>
            </p:nvSpPr>
            <p:spPr>
              <a:xfrm>
                <a:off x="4834459" y="2103120"/>
                <a:ext cx="509065" cy="489992"/>
              </a:xfrm>
              <a:prstGeom prst="rect">
                <a:avLst/>
              </a:prstGeom>
              <a:noFill/>
              <a:ln w="117475">
                <a:noFill/>
              </a:ln>
            </p:spPr>
            <p:txBody>
              <a:bodyPr wrap="square" lIns="91440" tIns="45720" rIns="91440" bIns="45720" rtlCol="0">
                <a:prstTxWarp prst="textPlain">
                  <a:avLst/>
                </a:prstTxWarp>
                <a:normAutofit/>
              </a:bodyPr>
              <a:lstStyle/>
              <a:p>
                <a:r>
                  <a:rPr lang="en-US" altLang="zh-CN" spc="100" dirty="0">
                    <a:solidFill>
                      <a:schemeClr val="accent2"/>
                    </a:solidFill>
                    <a:latin typeface="Impact" panose="020B0806030902050204" pitchFamily="34" charset="0"/>
                  </a:rPr>
                  <a:t>01</a:t>
                </a:r>
                <a:endParaRPr lang="zh-CN" altLang="en-US" spc="100" dirty="0">
                  <a:solidFill>
                    <a:schemeClr val="accent2"/>
                  </a:solidFill>
                  <a:latin typeface="Impact" panose="020B0806030902050204" pitchFamily="34" charset="0"/>
                </a:endParaRPr>
              </a:p>
            </p:txBody>
          </p:sp>
          <p:sp>
            <p:nvSpPr>
              <p:cNvPr id="19" name="i$1ïḑé">
                <a:extLst>
                  <a:ext uri="{FF2B5EF4-FFF2-40B4-BE49-F238E27FC236}">
                    <a16:creationId xmlns:a16="http://schemas.microsoft.com/office/drawing/2014/main" id="{A0F08699-605E-4B30-8E51-13778A0D4C46}"/>
                  </a:ext>
                </a:extLst>
              </p:cNvPr>
              <p:cNvSpPr txBox="1"/>
              <p:nvPr/>
            </p:nvSpPr>
            <p:spPr>
              <a:xfrm>
                <a:off x="6950108" y="3471833"/>
                <a:ext cx="509065" cy="489992"/>
              </a:xfrm>
              <a:prstGeom prst="rect">
                <a:avLst/>
              </a:prstGeom>
              <a:noFill/>
              <a:ln w="117475">
                <a:noFill/>
              </a:ln>
            </p:spPr>
            <p:txBody>
              <a:bodyPr wrap="square" lIns="91440" tIns="45720" rIns="91440" bIns="45720" rtlCol="0">
                <a:prstTxWarp prst="textPlain">
                  <a:avLst/>
                </a:prstTxWarp>
                <a:normAutofit/>
              </a:bodyPr>
              <a:lstStyle/>
              <a:p>
                <a:r>
                  <a:rPr lang="en-US" altLang="zh-CN" spc="100" dirty="0">
                    <a:solidFill>
                      <a:schemeClr val="accent1"/>
                    </a:solidFill>
                    <a:latin typeface="Impact" panose="020B0806030902050204" pitchFamily="34" charset="0"/>
                  </a:rPr>
                  <a:t>02</a:t>
                </a:r>
                <a:endParaRPr lang="zh-CN" altLang="en-US" spc="100" dirty="0">
                  <a:solidFill>
                    <a:schemeClr val="accent1"/>
                  </a:solidFill>
                  <a:latin typeface="Impact" panose="020B0806030902050204" pitchFamily="34" charset="0"/>
                </a:endParaRPr>
              </a:p>
            </p:txBody>
          </p:sp>
          <p:sp>
            <p:nvSpPr>
              <p:cNvPr id="20" name="iS1iḑé">
                <a:extLst>
                  <a:ext uri="{FF2B5EF4-FFF2-40B4-BE49-F238E27FC236}">
                    <a16:creationId xmlns:a16="http://schemas.microsoft.com/office/drawing/2014/main" id="{7710462A-A2FE-4E2B-A76C-1DFA51EA7FBE}"/>
                  </a:ext>
                </a:extLst>
              </p:cNvPr>
              <p:cNvSpPr txBox="1"/>
              <p:nvPr/>
            </p:nvSpPr>
            <p:spPr>
              <a:xfrm>
                <a:off x="4834459" y="4830782"/>
                <a:ext cx="509065" cy="489992"/>
              </a:xfrm>
              <a:prstGeom prst="rect">
                <a:avLst/>
              </a:prstGeom>
              <a:noFill/>
              <a:ln w="117475">
                <a:noFill/>
              </a:ln>
            </p:spPr>
            <p:txBody>
              <a:bodyPr wrap="square" lIns="91440" tIns="45720" rIns="91440" bIns="45720" rtlCol="0">
                <a:prstTxWarp prst="textPlain">
                  <a:avLst/>
                </a:prstTxWarp>
                <a:normAutofit/>
              </a:bodyPr>
              <a:lstStyle/>
              <a:p>
                <a:r>
                  <a:rPr lang="en-US" altLang="zh-CN" spc="100">
                    <a:solidFill>
                      <a:schemeClr val="accent2"/>
                    </a:solidFill>
                    <a:latin typeface="Impact" panose="020B0806030902050204" pitchFamily="34" charset="0"/>
                  </a:rPr>
                  <a:t>03</a:t>
                </a:r>
                <a:endParaRPr lang="zh-CN" altLang="en-US" spc="100" dirty="0">
                  <a:solidFill>
                    <a:schemeClr val="accent2"/>
                  </a:solidFill>
                  <a:latin typeface="Impact" panose="020B0806030902050204" pitchFamily="34" charset="0"/>
                </a:endParaRPr>
              </a:p>
            </p:txBody>
          </p:sp>
          <p:sp>
            <p:nvSpPr>
              <p:cNvPr id="21" name="íṣlïḓè">
                <a:extLst>
                  <a:ext uri="{FF2B5EF4-FFF2-40B4-BE49-F238E27FC236}">
                    <a16:creationId xmlns:a16="http://schemas.microsoft.com/office/drawing/2014/main" id="{8241A6E9-4E05-4349-9CF0-2A1102F852D3}"/>
                  </a:ext>
                </a:extLst>
              </p:cNvPr>
              <p:cNvSpPr/>
              <p:nvPr/>
            </p:nvSpPr>
            <p:spPr bwMode="auto">
              <a:xfrm>
                <a:off x="3690988" y="2126058"/>
                <a:ext cx="456056" cy="467054"/>
              </a:xfrm>
              <a:custGeom>
                <a:avLst/>
                <a:gdLst>
                  <a:gd name="T0" fmla="*/ 1547 w 10400"/>
                  <a:gd name="T1" fmla="*/ 9330 h 10667"/>
                  <a:gd name="T2" fmla="*/ 3077 w 10400"/>
                  <a:gd name="T3" fmla="*/ 9013 h 10667"/>
                  <a:gd name="T4" fmla="*/ 6114 w 10400"/>
                  <a:gd name="T5" fmla="*/ 9700 h 10667"/>
                  <a:gd name="T6" fmla="*/ 6806 w 10400"/>
                  <a:gd name="T7" fmla="*/ 8539 h 10667"/>
                  <a:gd name="T8" fmla="*/ 4079 w 10400"/>
                  <a:gd name="T9" fmla="*/ 1127 h 10667"/>
                  <a:gd name="T10" fmla="*/ 5193 w 10400"/>
                  <a:gd name="T11" fmla="*/ 2254 h 10667"/>
                  <a:gd name="T12" fmla="*/ 6352 w 10400"/>
                  <a:gd name="T13" fmla="*/ 3340 h 10667"/>
                  <a:gd name="T14" fmla="*/ 6296 w 10400"/>
                  <a:gd name="T15" fmla="*/ 5841 h 10667"/>
                  <a:gd name="T16" fmla="*/ 5318 w 10400"/>
                  <a:gd name="T17" fmla="*/ 6578 h 10667"/>
                  <a:gd name="T18" fmla="*/ 4851 w 10400"/>
                  <a:gd name="T19" fmla="*/ 10126 h 10667"/>
                  <a:gd name="T20" fmla="*/ 4154 w 10400"/>
                  <a:gd name="T21" fmla="*/ 5500 h 10667"/>
                  <a:gd name="T22" fmla="*/ 993 w 10400"/>
                  <a:gd name="T23" fmla="*/ 1669 h 10667"/>
                  <a:gd name="T24" fmla="*/ 4493 w 10400"/>
                  <a:gd name="T25" fmla="*/ 2470 h 10667"/>
                  <a:gd name="T26" fmla="*/ 5203 w 10400"/>
                  <a:gd name="T27" fmla="*/ 5915 h 10667"/>
                  <a:gd name="T28" fmla="*/ 5890 w 10400"/>
                  <a:gd name="T29" fmla="*/ 2481 h 10667"/>
                  <a:gd name="T30" fmla="*/ 9353 w 10400"/>
                  <a:gd name="T31" fmla="*/ 1669 h 10667"/>
                  <a:gd name="T32" fmla="*/ 8900 w 10400"/>
                  <a:gd name="T33" fmla="*/ 5088 h 10667"/>
                  <a:gd name="T34" fmla="*/ 8763 w 10400"/>
                  <a:gd name="T35" fmla="*/ 4301 h 10667"/>
                  <a:gd name="T36" fmla="*/ 7729 w 10400"/>
                  <a:gd name="T37" fmla="*/ 3953 h 10667"/>
                  <a:gd name="T38" fmla="*/ 8505 w 10400"/>
                  <a:gd name="T39" fmla="*/ 5505 h 10667"/>
                  <a:gd name="T40" fmla="*/ 8530 w 10400"/>
                  <a:gd name="T41" fmla="*/ 6867 h 10667"/>
                  <a:gd name="T42" fmla="*/ 9012 w 10400"/>
                  <a:gd name="T43" fmla="*/ 6736 h 10667"/>
                  <a:gd name="T44" fmla="*/ 9315 w 10400"/>
                  <a:gd name="T45" fmla="*/ 6686 h 10667"/>
                  <a:gd name="T46" fmla="*/ 9046 w 10400"/>
                  <a:gd name="T47" fmla="*/ 4530 h 10667"/>
                  <a:gd name="T48" fmla="*/ 9997 w 10400"/>
                  <a:gd name="T49" fmla="*/ 3776 h 10667"/>
                  <a:gd name="T50" fmla="*/ 8844 w 10400"/>
                  <a:gd name="T51" fmla="*/ 4304 h 10667"/>
                  <a:gd name="T52" fmla="*/ 8790 w 10400"/>
                  <a:gd name="T53" fmla="*/ 3675 h 10667"/>
                  <a:gd name="T54" fmla="*/ 9514 w 10400"/>
                  <a:gd name="T55" fmla="*/ 6418 h 10667"/>
                  <a:gd name="T56" fmla="*/ 9245 w 10400"/>
                  <a:gd name="T57" fmla="*/ 6917 h 10667"/>
                  <a:gd name="T58" fmla="*/ 7957 w 10400"/>
                  <a:gd name="T59" fmla="*/ 6629 h 10667"/>
                  <a:gd name="T60" fmla="*/ 7308 w 10400"/>
                  <a:gd name="T61" fmla="*/ 6762 h 10667"/>
                  <a:gd name="T62" fmla="*/ 9494 w 10400"/>
                  <a:gd name="T63" fmla="*/ 6253 h 10667"/>
                  <a:gd name="T64" fmla="*/ 577 w 10400"/>
                  <a:gd name="T65" fmla="*/ 3770 h 10667"/>
                  <a:gd name="T66" fmla="*/ 1355 w 10400"/>
                  <a:gd name="T67" fmla="*/ 4518 h 10667"/>
                  <a:gd name="T68" fmla="*/ 1282 w 10400"/>
                  <a:gd name="T69" fmla="*/ 5462 h 10667"/>
                  <a:gd name="T70" fmla="*/ 1236 w 10400"/>
                  <a:gd name="T71" fmla="*/ 6867 h 10667"/>
                  <a:gd name="T72" fmla="*/ 1718 w 10400"/>
                  <a:gd name="T73" fmla="*/ 6728 h 10667"/>
                  <a:gd name="T74" fmla="*/ 2022 w 10400"/>
                  <a:gd name="T75" fmla="*/ 6694 h 10667"/>
                  <a:gd name="T76" fmla="*/ 1843 w 10400"/>
                  <a:gd name="T77" fmla="*/ 4519 h 10667"/>
                  <a:gd name="T78" fmla="*/ 2505 w 10400"/>
                  <a:gd name="T79" fmla="*/ 3770 h 10667"/>
                  <a:gd name="T80" fmla="*/ 1608 w 10400"/>
                  <a:gd name="T81" fmla="*/ 5217 h 10667"/>
                  <a:gd name="T82" fmla="*/ 1557 w 10400"/>
                  <a:gd name="T83" fmla="*/ 4304 h 10667"/>
                  <a:gd name="T84" fmla="*/ 1610 w 10400"/>
                  <a:gd name="T85" fmla="*/ 3675 h 10667"/>
                  <a:gd name="T86" fmla="*/ 1898 w 10400"/>
                  <a:gd name="T87" fmla="*/ 3969 h 10667"/>
                  <a:gd name="T88" fmla="*/ 1547 w 10400"/>
                  <a:gd name="T89" fmla="*/ 7324 h 10667"/>
                  <a:gd name="T90" fmla="*/ 2189 w 10400"/>
                  <a:gd name="T91" fmla="*/ 6405 h 10667"/>
                  <a:gd name="T92" fmla="*/ 1172 w 10400"/>
                  <a:gd name="T93" fmla="*/ 6918 h 10667"/>
                  <a:gd name="T94" fmla="*/ 669 w 10400"/>
                  <a:gd name="T95" fmla="*/ 6629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00" h="10667">
                    <a:moveTo>
                      <a:pt x="8838" y="9330"/>
                    </a:moveTo>
                    <a:cubicBezTo>
                      <a:pt x="8838" y="10067"/>
                      <a:pt x="7206" y="10667"/>
                      <a:pt x="5192" y="10667"/>
                    </a:cubicBezTo>
                    <a:cubicBezTo>
                      <a:pt x="3180" y="10667"/>
                      <a:pt x="1547" y="10067"/>
                      <a:pt x="1547" y="9330"/>
                    </a:cubicBezTo>
                    <a:cubicBezTo>
                      <a:pt x="1547" y="8797"/>
                      <a:pt x="2406" y="8341"/>
                      <a:pt x="3638" y="8128"/>
                    </a:cubicBezTo>
                    <a:lnTo>
                      <a:pt x="3638" y="8495"/>
                    </a:lnTo>
                    <a:cubicBezTo>
                      <a:pt x="3293" y="8632"/>
                      <a:pt x="3077" y="8813"/>
                      <a:pt x="3077" y="9013"/>
                    </a:cubicBezTo>
                    <a:cubicBezTo>
                      <a:pt x="3077" y="9437"/>
                      <a:pt x="4015" y="9781"/>
                      <a:pt x="5171" y="9781"/>
                    </a:cubicBezTo>
                    <a:cubicBezTo>
                      <a:pt x="5497" y="9781"/>
                      <a:pt x="5802" y="9751"/>
                      <a:pt x="6077" y="9703"/>
                    </a:cubicBezTo>
                    <a:cubicBezTo>
                      <a:pt x="6090" y="9702"/>
                      <a:pt x="6102" y="9702"/>
                      <a:pt x="6114" y="9700"/>
                    </a:cubicBezTo>
                    <a:cubicBezTo>
                      <a:pt x="6165" y="9694"/>
                      <a:pt x="6212" y="9682"/>
                      <a:pt x="6259" y="9666"/>
                    </a:cubicBezTo>
                    <a:cubicBezTo>
                      <a:pt x="6859" y="9531"/>
                      <a:pt x="7264" y="9290"/>
                      <a:pt x="7264" y="9013"/>
                    </a:cubicBezTo>
                    <a:cubicBezTo>
                      <a:pt x="7264" y="8834"/>
                      <a:pt x="7090" y="8669"/>
                      <a:pt x="6806" y="8539"/>
                    </a:cubicBezTo>
                    <a:lnTo>
                      <a:pt x="6806" y="8137"/>
                    </a:lnTo>
                    <a:cubicBezTo>
                      <a:pt x="8006" y="8356"/>
                      <a:pt x="8838" y="8805"/>
                      <a:pt x="8838" y="9330"/>
                    </a:cubicBezTo>
                    <a:close/>
                    <a:moveTo>
                      <a:pt x="4079" y="1127"/>
                    </a:moveTo>
                    <a:cubicBezTo>
                      <a:pt x="4079" y="504"/>
                      <a:pt x="4578" y="0"/>
                      <a:pt x="5193" y="0"/>
                    </a:cubicBezTo>
                    <a:cubicBezTo>
                      <a:pt x="5807" y="0"/>
                      <a:pt x="6305" y="504"/>
                      <a:pt x="6305" y="1127"/>
                    </a:cubicBezTo>
                    <a:cubicBezTo>
                      <a:pt x="6305" y="1750"/>
                      <a:pt x="5807" y="2254"/>
                      <a:pt x="5193" y="2254"/>
                    </a:cubicBezTo>
                    <a:cubicBezTo>
                      <a:pt x="4578" y="2254"/>
                      <a:pt x="4079" y="1750"/>
                      <a:pt x="4079" y="1127"/>
                    </a:cubicBezTo>
                    <a:close/>
                    <a:moveTo>
                      <a:pt x="9353" y="1669"/>
                    </a:moveTo>
                    <a:cubicBezTo>
                      <a:pt x="8800" y="2578"/>
                      <a:pt x="7557" y="3340"/>
                      <a:pt x="6352" y="3340"/>
                    </a:cubicBezTo>
                    <a:cubicBezTo>
                      <a:pt x="6274" y="3340"/>
                      <a:pt x="6196" y="3336"/>
                      <a:pt x="6118" y="3330"/>
                    </a:cubicBezTo>
                    <a:cubicBezTo>
                      <a:pt x="6142" y="3615"/>
                      <a:pt x="6252" y="4928"/>
                      <a:pt x="6282" y="5755"/>
                    </a:cubicBezTo>
                    <a:cubicBezTo>
                      <a:pt x="6288" y="5783"/>
                      <a:pt x="6294" y="5811"/>
                      <a:pt x="6296" y="5841"/>
                    </a:cubicBezTo>
                    <a:lnTo>
                      <a:pt x="6568" y="10087"/>
                    </a:lnTo>
                    <a:cubicBezTo>
                      <a:pt x="6586" y="10373"/>
                      <a:pt x="5564" y="10428"/>
                      <a:pt x="5546" y="10154"/>
                    </a:cubicBezTo>
                    <a:lnTo>
                      <a:pt x="5318" y="6578"/>
                    </a:lnTo>
                    <a:cubicBezTo>
                      <a:pt x="5280" y="6574"/>
                      <a:pt x="5244" y="6567"/>
                      <a:pt x="5206" y="6567"/>
                    </a:cubicBezTo>
                    <a:cubicBezTo>
                      <a:pt x="5174" y="6567"/>
                      <a:pt x="5136" y="6577"/>
                      <a:pt x="5099" y="6587"/>
                    </a:cubicBezTo>
                    <a:lnTo>
                      <a:pt x="4851" y="10126"/>
                    </a:lnTo>
                    <a:cubicBezTo>
                      <a:pt x="4832" y="10398"/>
                      <a:pt x="3810" y="10338"/>
                      <a:pt x="3830" y="10052"/>
                    </a:cubicBezTo>
                    <a:lnTo>
                      <a:pt x="4144" y="5559"/>
                    </a:lnTo>
                    <a:cubicBezTo>
                      <a:pt x="4146" y="5538"/>
                      <a:pt x="4150" y="5520"/>
                      <a:pt x="4154" y="5500"/>
                    </a:cubicBezTo>
                    <a:cubicBezTo>
                      <a:pt x="4199" y="4432"/>
                      <a:pt x="4252" y="3400"/>
                      <a:pt x="4257" y="3326"/>
                    </a:cubicBezTo>
                    <a:cubicBezTo>
                      <a:pt x="4169" y="3334"/>
                      <a:pt x="4081" y="3340"/>
                      <a:pt x="3994" y="3340"/>
                    </a:cubicBezTo>
                    <a:cubicBezTo>
                      <a:pt x="2788" y="3340"/>
                      <a:pt x="1546" y="2578"/>
                      <a:pt x="993" y="1669"/>
                    </a:cubicBezTo>
                    <a:cubicBezTo>
                      <a:pt x="879" y="1481"/>
                      <a:pt x="936" y="1235"/>
                      <a:pt x="1122" y="1120"/>
                    </a:cubicBezTo>
                    <a:cubicBezTo>
                      <a:pt x="1308" y="1003"/>
                      <a:pt x="1551" y="1062"/>
                      <a:pt x="1665" y="1250"/>
                    </a:cubicBezTo>
                    <a:cubicBezTo>
                      <a:pt x="2166" y="2073"/>
                      <a:pt x="3484" y="2756"/>
                      <a:pt x="4493" y="2470"/>
                    </a:cubicBezTo>
                    <a:cubicBezTo>
                      <a:pt x="4663" y="2411"/>
                      <a:pt x="4865" y="2374"/>
                      <a:pt x="5089" y="2365"/>
                    </a:cubicBezTo>
                    <a:lnTo>
                      <a:pt x="4729" y="5423"/>
                    </a:lnTo>
                    <a:lnTo>
                      <a:pt x="5203" y="5915"/>
                    </a:lnTo>
                    <a:lnTo>
                      <a:pt x="5617" y="5423"/>
                    </a:lnTo>
                    <a:lnTo>
                      <a:pt x="5330" y="2373"/>
                    </a:lnTo>
                    <a:cubicBezTo>
                      <a:pt x="5531" y="2387"/>
                      <a:pt x="5725" y="2423"/>
                      <a:pt x="5890" y="2481"/>
                    </a:cubicBezTo>
                    <a:cubicBezTo>
                      <a:pt x="6894" y="2741"/>
                      <a:pt x="8187" y="2063"/>
                      <a:pt x="8681" y="1250"/>
                    </a:cubicBezTo>
                    <a:cubicBezTo>
                      <a:pt x="8795" y="1062"/>
                      <a:pt x="9038" y="1003"/>
                      <a:pt x="9224" y="1119"/>
                    </a:cubicBezTo>
                    <a:cubicBezTo>
                      <a:pt x="9410" y="1235"/>
                      <a:pt x="9468" y="1481"/>
                      <a:pt x="9353" y="1669"/>
                    </a:cubicBezTo>
                    <a:close/>
                    <a:moveTo>
                      <a:pt x="8844" y="4304"/>
                    </a:moveTo>
                    <a:cubicBezTo>
                      <a:pt x="8839" y="4303"/>
                      <a:pt x="8833" y="4303"/>
                      <a:pt x="8827" y="4302"/>
                    </a:cubicBezTo>
                    <a:lnTo>
                      <a:pt x="8900" y="5088"/>
                    </a:lnTo>
                    <a:lnTo>
                      <a:pt x="8793" y="5217"/>
                    </a:lnTo>
                    <a:lnTo>
                      <a:pt x="8671" y="5088"/>
                    </a:lnTo>
                    <a:lnTo>
                      <a:pt x="8763" y="4301"/>
                    </a:lnTo>
                    <a:cubicBezTo>
                      <a:pt x="8543" y="4286"/>
                      <a:pt x="8343" y="4195"/>
                      <a:pt x="7895" y="3770"/>
                    </a:cubicBezTo>
                    <a:cubicBezTo>
                      <a:pt x="7846" y="3723"/>
                      <a:pt x="7769" y="3725"/>
                      <a:pt x="7722" y="3776"/>
                    </a:cubicBezTo>
                    <a:cubicBezTo>
                      <a:pt x="7676" y="3826"/>
                      <a:pt x="7679" y="3906"/>
                      <a:pt x="7729" y="3953"/>
                    </a:cubicBezTo>
                    <a:cubicBezTo>
                      <a:pt x="8086" y="4293"/>
                      <a:pt x="8319" y="4456"/>
                      <a:pt x="8558" y="4519"/>
                    </a:cubicBezTo>
                    <a:cubicBezTo>
                      <a:pt x="8558" y="4523"/>
                      <a:pt x="8556" y="4527"/>
                      <a:pt x="8556" y="4530"/>
                    </a:cubicBezTo>
                    <a:lnTo>
                      <a:pt x="8505" y="5505"/>
                    </a:lnTo>
                    <a:lnTo>
                      <a:pt x="8378" y="6694"/>
                    </a:lnTo>
                    <a:cubicBezTo>
                      <a:pt x="8369" y="6780"/>
                      <a:pt x="8430" y="6857"/>
                      <a:pt x="8514" y="6867"/>
                    </a:cubicBezTo>
                    <a:cubicBezTo>
                      <a:pt x="8520" y="6867"/>
                      <a:pt x="8525" y="6867"/>
                      <a:pt x="8530" y="6867"/>
                    </a:cubicBezTo>
                    <a:cubicBezTo>
                      <a:pt x="8608" y="6867"/>
                      <a:pt x="8674" y="6808"/>
                      <a:pt x="8683" y="6728"/>
                    </a:cubicBezTo>
                    <a:lnTo>
                      <a:pt x="8815" y="5498"/>
                    </a:lnTo>
                    <a:lnTo>
                      <a:pt x="9012" y="6736"/>
                    </a:lnTo>
                    <a:cubicBezTo>
                      <a:pt x="9025" y="6813"/>
                      <a:pt x="9090" y="6868"/>
                      <a:pt x="9164" y="6868"/>
                    </a:cubicBezTo>
                    <a:cubicBezTo>
                      <a:pt x="9172" y="6868"/>
                      <a:pt x="9180" y="6867"/>
                      <a:pt x="9188" y="6866"/>
                    </a:cubicBezTo>
                    <a:cubicBezTo>
                      <a:pt x="9272" y="6852"/>
                      <a:pt x="9328" y="6771"/>
                      <a:pt x="9315" y="6686"/>
                    </a:cubicBezTo>
                    <a:lnTo>
                      <a:pt x="9119" y="5462"/>
                    </a:lnTo>
                    <a:cubicBezTo>
                      <a:pt x="9119" y="5461"/>
                      <a:pt x="9120" y="5460"/>
                      <a:pt x="9120" y="5459"/>
                    </a:cubicBezTo>
                    <a:lnTo>
                      <a:pt x="9046" y="4530"/>
                    </a:lnTo>
                    <a:cubicBezTo>
                      <a:pt x="9046" y="4526"/>
                      <a:pt x="9046" y="4522"/>
                      <a:pt x="9045" y="4518"/>
                    </a:cubicBezTo>
                    <a:cubicBezTo>
                      <a:pt x="9279" y="4456"/>
                      <a:pt x="9631" y="4296"/>
                      <a:pt x="9990" y="3953"/>
                    </a:cubicBezTo>
                    <a:cubicBezTo>
                      <a:pt x="10040" y="3906"/>
                      <a:pt x="10043" y="3826"/>
                      <a:pt x="9997" y="3776"/>
                    </a:cubicBezTo>
                    <a:cubicBezTo>
                      <a:pt x="9950" y="3725"/>
                      <a:pt x="9873" y="3723"/>
                      <a:pt x="9823" y="3770"/>
                    </a:cubicBezTo>
                    <a:cubicBezTo>
                      <a:pt x="9407" y="4166"/>
                      <a:pt x="9010" y="4290"/>
                      <a:pt x="8857" y="4300"/>
                    </a:cubicBezTo>
                    <a:cubicBezTo>
                      <a:pt x="8852" y="4300"/>
                      <a:pt x="8849" y="4303"/>
                      <a:pt x="8844" y="4304"/>
                    </a:cubicBezTo>
                    <a:close/>
                    <a:moveTo>
                      <a:pt x="8790" y="4263"/>
                    </a:moveTo>
                    <a:cubicBezTo>
                      <a:pt x="8949" y="4263"/>
                      <a:pt x="9078" y="4131"/>
                      <a:pt x="9078" y="3969"/>
                    </a:cubicBezTo>
                    <a:cubicBezTo>
                      <a:pt x="9078" y="3807"/>
                      <a:pt x="8949" y="3675"/>
                      <a:pt x="8790" y="3675"/>
                    </a:cubicBezTo>
                    <a:cubicBezTo>
                      <a:pt x="8631" y="3675"/>
                      <a:pt x="8503" y="3807"/>
                      <a:pt x="8503" y="3969"/>
                    </a:cubicBezTo>
                    <a:cubicBezTo>
                      <a:pt x="8503" y="4131"/>
                      <a:pt x="8631" y="4263"/>
                      <a:pt x="8790" y="4263"/>
                    </a:cubicBezTo>
                    <a:close/>
                    <a:moveTo>
                      <a:pt x="9514" y="6418"/>
                    </a:moveTo>
                    <a:cubicBezTo>
                      <a:pt x="9649" y="6475"/>
                      <a:pt x="9732" y="6548"/>
                      <a:pt x="9732" y="6629"/>
                    </a:cubicBezTo>
                    <a:cubicBezTo>
                      <a:pt x="9732" y="6745"/>
                      <a:pt x="9561" y="6846"/>
                      <a:pt x="9306" y="6903"/>
                    </a:cubicBezTo>
                    <a:cubicBezTo>
                      <a:pt x="9287" y="6910"/>
                      <a:pt x="9267" y="6915"/>
                      <a:pt x="9245" y="6917"/>
                    </a:cubicBezTo>
                    <a:cubicBezTo>
                      <a:pt x="9240" y="6918"/>
                      <a:pt x="9235" y="6918"/>
                      <a:pt x="9229" y="6918"/>
                    </a:cubicBezTo>
                    <a:cubicBezTo>
                      <a:pt x="9112" y="6939"/>
                      <a:pt x="8983" y="6952"/>
                      <a:pt x="8845" y="6952"/>
                    </a:cubicBezTo>
                    <a:cubicBezTo>
                      <a:pt x="8355" y="6952"/>
                      <a:pt x="7957" y="6807"/>
                      <a:pt x="7957" y="6629"/>
                    </a:cubicBezTo>
                    <a:cubicBezTo>
                      <a:pt x="7957" y="6542"/>
                      <a:pt x="8055" y="6463"/>
                      <a:pt x="8211" y="6405"/>
                    </a:cubicBezTo>
                    <a:lnTo>
                      <a:pt x="8222" y="6252"/>
                    </a:lnTo>
                    <a:cubicBezTo>
                      <a:pt x="7685" y="6340"/>
                      <a:pt x="7308" y="6534"/>
                      <a:pt x="7308" y="6762"/>
                    </a:cubicBezTo>
                    <a:cubicBezTo>
                      <a:pt x="7308" y="7072"/>
                      <a:pt x="8000" y="7324"/>
                      <a:pt x="8854" y="7324"/>
                    </a:cubicBezTo>
                    <a:cubicBezTo>
                      <a:pt x="9708" y="7324"/>
                      <a:pt x="10400" y="7072"/>
                      <a:pt x="10400" y="6762"/>
                    </a:cubicBezTo>
                    <a:cubicBezTo>
                      <a:pt x="10400" y="6535"/>
                      <a:pt x="10027" y="6342"/>
                      <a:pt x="9494" y="6253"/>
                    </a:cubicBezTo>
                    <a:lnTo>
                      <a:pt x="9514" y="6418"/>
                    </a:lnTo>
                    <a:close/>
                    <a:moveTo>
                      <a:pt x="1543" y="4300"/>
                    </a:moveTo>
                    <a:cubicBezTo>
                      <a:pt x="1391" y="4290"/>
                      <a:pt x="994" y="4166"/>
                      <a:pt x="577" y="3770"/>
                    </a:cubicBezTo>
                    <a:cubicBezTo>
                      <a:pt x="528" y="3723"/>
                      <a:pt x="450" y="3725"/>
                      <a:pt x="404" y="3776"/>
                    </a:cubicBezTo>
                    <a:cubicBezTo>
                      <a:pt x="358" y="3826"/>
                      <a:pt x="361" y="3906"/>
                      <a:pt x="411" y="3953"/>
                    </a:cubicBezTo>
                    <a:cubicBezTo>
                      <a:pt x="770" y="4296"/>
                      <a:pt x="1122" y="4456"/>
                      <a:pt x="1355" y="4518"/>
                    </a:cubicBezTo>
                    <a:cubicBezTo>
                      <a:pt x="1355" y="4522"/>
                      <a:pt x="1355" y="4526"/>
                      <a:pt x="1355" y="4530"/>
                    </a:cubicBezTo>
                    <a:lnTo>
                      <a:pt x="1281" y="5459"/>
                    </a:lnTo>
                    <a:cubicBezTo>
                      <a:pt x="1281" y="5460"/>
                      <a:pt x="1282" y="5461"/>
                      <a:pt x="1282" y="5462"/>
                    </a:cubicBezTo>
                    <a:lnTo>
                      <a:pt x="1086" y="6686"/>
                    </a:lnTo>
                    <a:cubicBezTo>
                      <a:pt x="1072" y="6771"/>
                      <a:pt x="1129" y="6852"/>
                      <a:pt x="1212" y="6866"/>
                    </a:cubicBezTo>
                    <a:cubicBezTo>
                      <a:pt x="1221" y="6867"/>
                      <a:pt x="1229" y="6867"/>
                      <a:pt x="1236" y="6867"/>
                    </a:cubicBezTo>
                    <a:cubicBezTo>
                      <a:pt x="1311" y="6867"/>
                      <a:pt x="1376" y="6813"/>
                      <a:pt x="1388" y="6736"/>
                    </a:cubicBezTo>
                    <a:lnTo>
                      <a:pt x="1586" y="5498"/>
                    </a:lnTo>
                    <a:lnTo>
                      <a:pt x="1718" y="6728"/>
                    </a:lnTo>
                    <a:cubicBezTo>
                      <a:pt x="1726" y="6808"/>
                      <a:pt x="1792" y="6867"/>
                      <a:pt x="1870" y="6867"/>
                    </a:cubicBezTo>
                    <a:cubicBezTo>
                      <a:pt x="1875" y="6867"/>
                      <a:pt x="1881" y="6867"/>
                      <a:pt x="1887" y="6867"/>
                    </a:cubicBezTo>
                    <a:cubicBezTo>
                      <a:pt x="1971" y="6857"/>
                      <a:pt x="2032" y="6780"/>
                      <a:pt x="2022" y="6694"/>
                    </a:cubicBezTo>
                    <a:lnTo>
                      <a:pt x="1895" y="5505"/>
                    </a:lnTo>
                    <a:lnTo>
                      <a:pt x="1845" y="4530"/>
                    </a:lnTo>
                    <a:cubicBezTo>
                      <a:pt x="1845" y="4527"/>
                      <a:pt x="1843" y="4523"/>
                      <a:pt x="1843" y="4519"/>
                    </a:cubicBezTo>
                    <a:cubicBezTo>
                      <a:pt x="2082" y="4456"/>
                      <a:pt x="2314" y="4293"/>
                      <a:pt x="2672" y="3953"/>
                    </a:cubicBezTo>
                    <a:cubicBezTo>
                      <a:pt x="2722" y="3906"/>
                      <a:pt x="2725" y="3826"/>
                      <a:pt x="2678" y="3776"/>
                    </a:cubicBezTo>
                    <a:cubicBezTo>
                      <a:pt x="2632" y="3725"/>
                      <a:pt x="2555" y="3722"/>
                      <a:pt x="2505" y="3770"/>
                    </a:cubicBezTo>
                    <a:cubicBezTo>
                      <a:pt x="2058" y="4195"/>
                      <a:pt x="1857" y="4286"/>
                      <a:pt x="1637" y="4301"/>
                    </a:cubicBezTo>
                    <a:lnTo>
                      <a:pt x="1730" y="5088"/>
                    </a:lnTo>
                    <a:lnTo>
                      <a:pt x="1608" y="5217"/>
                    </a:lnTo>
                    <a:lnTo>
                      <a:pt x="1501" y="5088"/>
                    </a:lnTo>
                    <a:lnTo>
                      <a:pt x="1574" y="4302"/>
                    </a:lnTo>
                    <a:cubicBezTo>
                      <a:pt x="1568" y="4303"/>
                      <a:pt x="1562" y="4303"/>
                      <a:pt x="1557" y="4304"/>
                    </a:cubicBezTo>
                    <a:cubicBezTo>
                      <a:pt x="1552" y="4303"/>
                      <a:pt x="1548" y="4300"/>
                      <a:pt x="1543" y="4300"/>
                    </a:cubicBezTo>
                    <a:close/>
                    <a:moveTo>
                      <a:pt x="1898" y="3969"/>
                    </a:moveTo>
                    <a:cubicBezTo>
                      <a:pt x="1898" y="3807"/>
                      <a:pt x="1769" y="3675"/>
                      <a:pt x="1610" y="3675"/>
                    </a:cubicBezTo>
                    <a:cubicBezTo>
                      <a:pt x="1452" y="3675"/>
                      <a:pt x="1323" y="3807"/>
                      <a:pt x="1323" y="3969"/>
                    </a:cubicBezTo>
                    <a:cubicBezTo>
                      <a:pt x="1323" y="4131"/>
                      <a:pt x="1452" y="4263"/>
                      <a:pt x="1610" y="4263"/>
                    </a:cubicBezTo>
                    <a:cubicBezTo>
                      <a:pt x="1769" y="4263"/>
                      <a:pt x="1898" y="4131"/>
                      <a:pt x="1898" y="3969"/>
                    </a:cubicBezTo>
                    <a:close/>
                    <a:moveTo>
                      <a:pt x="906" y="6253"/>
                    </a:moveTo>
                    <a:cubicBezTo>
                      <a:pt x="373" y="6342"/>
                      <a:pt x="0" y="6535"/>
                      <a:pt x="0" y="6762"/>
                    </a:cubicBezTo>
                    <a:cubicBezTo>
                      <a:pt x="0" y="7072"/>
                      <a:pt x="693" y="7324"/>
                      <a:pt x="1547" y="7324"/>
                    </a:cubicBezTo>
                    <a:cubicBezTo>
                      <a:pt x="2401" y="7324"/>
                      <a:pt x="3093" y="7072"/>
                      <a:pt x="3093" y="6762"/>
                    </a:cubicBezTo>
                    <a:cubicBezTo>
                      <a:pt x="3093" y="6534"/>
                      <a:pt x="2716" y="6340"/>
                      <a:pt x="2178" y="6252"/>
                    </a:cubicBezTo>
                    <a:lnTo>
                      <a:pt x="2189" y="6405"/>
                    </a:lnTo>
                    <a:cubicBezTo>
                      <a:pt x="2346" y="6463"/>
                      <a:pt x="2444" y="6542"/>
                      <a:pt x="2444" y="6629"/>
                    </a:cubicBezTo>
                    <a:cubicBezTo>
                      <a:pt x="2444" y="6807"/>
                      <a:pt x="2046" y="6952"/>
                      <a:pt x="1556" y="6952"/>
                    </a:cubicBezTo>
                    <a:cubicBezTo>
                      <a:pt x="1418" y="6952"/>
                      <a:pt x="1289" y="6939"/>
                      <a:pt x="1172" y="6918"/>
                    </a:cubicBezTo>
                    <a:cubicBezTo>
                      <a:pt x="1166" y="6918"/>
                      <a:pt x="1161" y="6918"/>
                      <a:pt x="1155" y="6917"/>
                    </a:cubicBezTo>
                    <a:cubicBezTo>
                      <a:pt x="1134" y="6915"/>
                      <a:pt x="1114" y="6910"/>
                      <a:pt x="1095" y="6903"/>
                    </a:cubicBezTo>
                    <a:cubicBezTo>
                      <a:pt x="840" y="6846"/>
                      <a:pt x="669" y="6745"/>
                      <a:pt x="669" y="6629"/>
                    </a:cubicBezTo>
                    <a:cubicBezTo>
                      <a:pt x="669" y="6548"/>
                      <a:pt x="751" y="6475"/>
                      <a:pt x="887" y="6418"/>
                    </a:cubicBezTo>
                    <a:lnTo>
                      <a:pt x="906" y="6253"/>
                    </a:lnTo>
                    <a:close/>
                  </a:path>
                </a:pathLst>
              </a:custGeom>
              <a:solidFill>
                <a:schemeClr val="accent2"/>
              </a:solidFill>
              <a:ln>
                <a:noFill/>
              </a:ln>
            </p:spPr>
            <p:txBody>
              <a:bodyPr/>
              <a:lstStyle/>
              <a:p>
                <a:endParaRPr lang="zh-CN" altLang="en-US"/>
              </a:p>
            </p:txBody>
          </p:sp>
          <p:sp>
            <p:nvSpPr>
              <p:cNvPr id="22" name="îšlïdè">
                <a:extLst>
                  <a:ext uri="{FF2B5EF4-FFF2-40B4-BE49-F238E27FC236}">
                    <a16:creationId xmlns:a16="http://schemas.microsoft.com/office/drawing/2014/main" id="{948A1045-D551-4CF2-9A37-0C9209569F37}"/>
                  </a:ext>
                </a:extLst>
              </p:cNvPr>
              <p:cNvSpPr/>
              <p:nvPr/>
            </p:nvSpPr>
            <p:spPr bwMode="auto">
              <a:xfrm>
                <a:off x="3690988" y="4853720"/>
                <a:ext cx="456056" cy="467054"/>
              </a:xfrm>
              <a:custGeom>
                <a:avLst/>
                <a:gdLst>
                  <a:gd name="T0" fmla="*/ 1547 w 10400"/>
                  <a:gd name="T1" fmla="*/ 9330 h 10667"/>
                  <a:gd name="T2" fmla="*/ 3077 w 10400"/>
                  <a:gd name="T3" fmla="*/ 9013 h 10667"/>
                  <a:gd name="T4" fmla="*/ 6114 w 10400"/>
                  <a:gd name="T5" fmla="*/ 9700 h 10667"/>
                  <a:gd name="T6" fmla="*/ 6806 w 10400"/>
                  <a:gd name="T7" fmla="*/ 8539 h 10667"/>
                  <a:gd name="T8" fmla="*/ 4079 w 10400"/>
                  <a:gd name="T9" fmla="*/ 1127 h 10667"/>
                  <a:gd name="T10" fmla="*/ 5193 w 10400"/>
                  <a:gd name="T11" fmla="*/ 2254 h 10667"/>
                  <a:gd name="T12" fmla="*/ 6352 w 10400"/>
                  <a:gd name="T13" fmla="*/ 3340 h 10667"/>
                  <a:gd name="T14" fmla="*/ 6296 w 10400"/>
                  <a:gd name="T15" fmla="*/ 5841 h 10667"/>
                  <a:gd name="T16" fmla="*/ 5318 w 10400"/>
                  <a:gd name="T17" fmla="*/ 6578 h 10667"/>
                  <a:gd name="T18" fmla="*/ 4851 w 10400"/>
                  <a:gd name="T19" fmla="*/ 10126 h 10667"/>
                  <a:gd name="T20" fmla="*/ 4154 w 10400"/>
                  <a:gd name="T21" fmla="*/ 5500 h 10667"/>
                  <a:gd name="T22" fmla="*/ 993 w 10400"/>
                  <a:gd name="T23" fmla="*/ 1669 h 10667"/>
                  <a:gd name="T24" fmla="*/ 4493 w 10400"/>
                  <a:gd name="T25" fmla="*/ 2470 h 10667"/>
                  <a:gd name="T26" fmla="*/ 5203 w 10400"/>
                  <a:gd name="T27" fmla="*/ 5915 h 10667"/>
                  <a:gd name="T28" fmla="*/ 5890 w 10400"/>
                  <a:gd name="T29" fmla="*/ 2481 h 10667"/>
                  <a:gd name="T30" fmla="*/ 9353 w 10400"/>
                  <a:gd name="T31" fmla="*/ 1669 h 10667"/>
                  <a:gd name="T32" fmla="*/ 8900 w 10400"/>
                  <a:gd name="T33" fmla="*/ 5088 h 10667"/>
                  <a:gd name="T34" fmla="*/ 8763 w 10400"/>
                  <a:gd name="T35" fmla="*/ 4301 h 10667"/>
                  <a:gd name="T36" fmla="*/ 7729 w 10400"/>
                  <a:gd name="T37" fmla="*/ 3953 h 10667"/>
                  <a:gd name="T38" fmla="*/ 8505 w 10400"/>
                  <a:gd name="T39" fmla="*/ 5505 h 10667"/>
                  <a:gd name="T40" fmla="*/ 8530 w 10400"/>
                  <a:gd name="T41" fmla="*/ 6867 h 10667"/>
                  <a:gd name="T42" fmla="*/ 9012 w 10400"/>
                  <a:gd name="T43" fmla="*/ 6736 h 10667"/>
                  <a:gd name="T44" fmla="*/ 9315 w 10400"/>
                  <a:gd name="T45" fmla="*/ 6686 h 10667"/>
                  <a:gd name="T46" fmla="*/ 9046 w 10400"/>
                  <a:gd name="T47" fmla="*/ 4530 h 10667"/>
                  <a:gd name="T48" fmla="*/ 9997 w 10400"/>
                  <a:gd name="T49" fmla="*/ 3776 h 10667"/>
                  <a:gd name="T50" fmla="*/ 8844 w 10400"/>
                  <a:gd name="T51" fmla="*/ 4304 h 10667"/>
                  <a:gd name="T52" fmla="*/ 8790 w 10400"/>
                  <a:gd name="T53" fmla="*/ 3675 h 10667"/>
                  <a:gd name="T54" fmla="*/ 9514 w 10400"/>
                  <a:gd name="T55" fmla="*/ 6418 h 10667"/>
                  <a:gd name="T56" fmla="*/ 9245 w 10400"/>
                  <a:gd name="T57" fmla="*/ 6917 h 10667"/>
                  <a:gd name="T58" fmla="*/ 7957 w 10400"/>
                  <a:gd name="T59" fmla="*/ 6629 h 10667"/>
                  <a:gd name="T60" fmla="*/ 7308 w 10400"/>
                  <a:gd name="T61" fmla="*/ 6762 h 10667"/>
                  <a:gd name="T62" fmla="*/ 9494 w 10400"/>
                  <a:gd name="T63" fmla="*/ 6253 h 10667"/>
                  <a:gd name="T64" fmla="*/ 577 w 10400"/>
                  <a:gd name="T65" fmla="*/ 3770 h 10667"/>
                  <a:gd name="T66" fmla="*/ 1355 w 10400"/>
                  <a:gd name="T67" fmla="*/ 4518 h 10667"/>
                  <a:gd name="T68" fmla="*/ 1282 w 10400"/>
                  <a:gd name="T69" fmla="*/ 5462 h 10667"/>
                  <a:gd name="T70" fmla="*/ 1236 w 10400"/>
                  <a:gd name="T71" fmla="*/ 6867 h 10667"/>
                  <a:gd name="T72" fmla="*/ 1718 w 10400"/>
                  <a:gd name="T73" fmla="*/ 6728 h 10667"/>
                  <a:gd name="T74" fmla="*/ 2022 w 10400"/>
                  <a:gd name="T75" fmla="*/ 6694 h 10667"/>
                  <a:gd name="T76" fmla="*/ 1843 w 10400"/>
                  <a:gd name="T77" fmla="*/ 4519 h 10667"/>
                  <a:gd name="T78" fmla="*/ 2505 w 10400"/>
                  <a:gd name="T79" fmla="*/ 3770 h 10667"/>
                  <a:gd name="T80" fmla="*/ 1608 w 10400"/>
                  <a:gd name="T81" fmla="*/ 5217 h 10667"/>
                  <a:gd name="T82" fmla="*/ 1557 w 10400"/>
                  <a:gd name="T83" fmla="*/ 4304 h 10667"/>
                  <a:gd name="T84" fmla="*/ 1610 w 10400"/>
                  <a:gd name="T85" fmla="*/ 3675 h 10667"/>
                  <a:gd name="T86" fmla="*/ 1898 w 10400"/>
                  <a:gd name="T87" fmla="*/ 3969 h 10667"/>
                  <a:gd name="T88" fmla="*/ 1547 w 10400"/>
                  <a:gd name="T89" fmla="*/ 7324 h 10667"/>
                  <a:gd name="T90" fmla="*/ 2189 w 10400"/>
                  <a:gd name="T91" fmla="*/ 6405 h 10667"/>
                  <a:gd name="T92" fmla="*/ 1172 w 10400"/>
                  <a:gd name="T93" fmla="*/ 6918 h 10667"/>
                  <a:gd name="T94" fmla="*/ 669 w 10400"/>
                  <a:gd name="T95" fmla="*/ 6629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00" h="10667">
                    <a:moveTo>
                      <a:pt x="8838" y="9330"/>
                    </a:moveTo>
                    <a:cubicBezTo>
                      <a:pt x="8838" y="10067"/>
                      <a:pt x="7206" y="10667"/>
                      <a:pt x="5192" y="10667"/>
                    </a:cubicBezTo>
                    <a:cubicBezTo>
                      <a:pt x="3180" y="10667"/>
                      <a:pt x="1547" y="10067"/>
                      <a:pt x="1547" y="9330"/>
                    </a:cubicBezTo>
                    <a:cubicBezTo>
                      <a:pt x="1547" y="8797"/>
                      <a:pt x="2406" y="8341"/>
                      <a:pt x="3638" y="8128"/>
                    </a:cubicBezTo>
                    <a:lnTo>
                      <a:pt x="3638" y="8495"/>
                    </a:lnTo>
                    <a:cubicBezTo>
                      <a:pt x="3293" y="8632"/>
                      <a:pt x="3077" y="8813"/>
                      <a:pt x="3077" y="9013"/>
                    </a:cubicBezTo>
                    <a:cubicBezTo>
                      <a:pt x="3077" y="9437"/>
                      <a:pt x="4015" y="9781"/>
                      <a:pt x="5171" y="9781"/>
                    </a:cubicBezTo>
                    <a:cubicBezTo>
                      <a:pt x="5497" y="9781"/>
                      <a:pt x="5802" y="9751"/>
                      <a:pt x="6077" y="9703"/>
                    </a:cubicBezTo>
                    <a:cubicBezTo>
                      <a:pt x="6090" y="9702"/>
                      <a:pt x="6102" y="9702"/>
                      <a:pt x="6114" y="9700"/>
                    </a:cubicBezTo>
                    <a:cubicBezTo>
                      <a:pt x="6165" y="9694"/>
                      <a:pt x="6212" y="9682"/>
                      <a:pt x="6259" y="9666"/>
                    </a:cubicBezTo>
                    <a:cubicBezTo>
                      <a:pt x="6859" y="9531"/>
                      <a:pt x="7264" y="9290"/>
                      <a:pt x="7264" y="9013"/>
                    </a:cubicBezTo>
                    <a:cubicBezTo>
                      <a:pt x="7264" y="8834"/>
                      <a:pt x="7090" y="8669"/>
                      <a:pt x="6806" y="8539"/>
                    </a:cubicBezTo>
                    <a:lnTo>
                      <a:pt x="6806" y="8137"/>
                    </a:lnTo>
                    <a:cubicBezTo>
                      <a:pt x="8006" y="8356"/>
                      <a:pt x="8838" y="8805"/>
                      <a:pt x="8838" y="9330"/>
                    </a:cubicBezTo>
                    <a:close/>
                    <a:moveTo>
                      <a:pt x="4079" y="1127"/>
                    </a:moveTo>
                    <a:cubicBezTo>
                      <a:pt x="4079" y="504"/>
                      <a:pt x="4578" y="0"/>
                      <a:pt x="5193" y="0"/>
                    </a:cubicBezTo>
                    <a:cubicBezTo>
                      <a:pt x="5807" y="0"/>
                      <a:pt x="6305" y="504"/>
                      <a:pt x="6305" y="1127"/>
                    </a:cubicBezTo>
                    <a:cubicBezTo>
                      <a:pt x="6305" y="1750"/>
                      <a:pt x="5807" y="2254"/>
                      <a:pt x="5193" y="2254"/>
                    </a:cubicBezTo>
                    <a:cubicBezTo>
                      <a:pt x="4578" y="2254"/>
                      <a:pt x="4079" y="1750"/>
                      <a:pt x="4079" y="1127"/>
                    </a:cubicBezTo>
                    <a:close/>
                    <a:moveTo>
                      <a:pt x="9353" y="1669"/>
                    </a:moveTo>
                    <a:cubicBezTo>
                      <a:pt x="8800" y="2578"/>
                      <a:pt x="7557" y="3340"/>
                      <a:pt x="6352" y="3340"/>
                    </a:cubicBezTo>
                    <a:cubicBezTo>
                      <a:pt x="6274" y="3340"/>
                      <a:pt x="6196" y="3336"/>
                      <a:pt x="6118" y="3330"/>
                    </a:cubicBezTo>
                    <a:cubicBezTo>
                      <a:pt x="6142" y="3615"/>
                      <a:pt x="6252" y="4928"/>
                      <a:pt x="6282" y="5755"/>
                    </a:cubicBezTo>
                    <a:cubicBezTo>
                      <a:pt x="6288" y="5783"/>
                      <a:pt x="6294" y="5811"/>
                      <a:pt x="6296" y="5841"/>
                    </a:cubicBezTo>
                    <a:lnTo>
                      <a:pt x="6568" y="10087"/>
                    </a:lnTo>
                    <a:cubicBezTo>
                      <a:pt x="6586" y="10373"/>
                      <a:pt x="5564" y="10428"/>
                      <a:pt x="5546" y="10154"/>
                    </a:cubicBezTo>
                    <a:lnTo>
                      <a:pt x="5318" y="6578"/>
                    </a:lnTo>
                    <a:cubicBezTo>
                      <a:pt x="5280" y="6574"/>
                      <a:pt x="5244" y="6567"/>
                      <a:pt x="5206" y="6567"/>
                    </a:cubicBezTo>
                    <a:cubicBezTo>
                      <a:pt x="5174" y="6567"/>
                      <a:pt x="5136" y="6577"/>
                      <a:pt x="5099" y="6587"/>
                    </a:cubicBezTo>
                    <a:lnTo>
                      <a:pt x="4851" y="10126"/>
                    </a:lnTo>
                    <a:cubicBezTo>
                      <a:pt x="4832" y="10398"/>
                      <a:pt x="3810" y="10338"/>
                      <a:pt x="3830" y="10052"/>
                    </a:cubicBezTo>
                    <a:lnTo>
                      <a:pt x="4144" y="5559"/>
                    </a:lnTo>
                    <a:cubicBezTo>
                      <a:pt x="4146" y="5538"/>
                      <a:pt x="4150" y="5520"/>
                      <a:pt x="4154" y="5500"/>
                    </a:cubicBezTo>
                    <a:cubicBezTo>
                      <a:pt x="4199" y="4432"/>
                      <a:pt x="4252" y="3400"/>
                      <a:pt x="4257" y="3326"/>
                    </a:cubicBezTo>
                    <a:cubicBezTo>
                      <a:pt x="4169" y="3334"/>
                      <a:pt x="4081" y="3340"/>
                      <a:pt x="3994" y="3340"/>
                    </a:cubicBezTo>
                    <a:cubicBezTo>
                      <a:pt x="2788" y="3340"/>
                      <a:pt x="1546" y="2578"/>
                      <a:pt x="993" y="1669"/>
                    </a:cubicBezTo>
                    <a:cubicBezTo>
                      <a:pt x="879" y="1481"/>
                      <a:pt x="936" y="1235"/>
                      <a:pt x="1122" y="1120"/>
                    </a:cubicBezTo>
                    <a:cubicBezTo>
                      <a:pt x="1308" y="1003"/>
                      <a:pt x="1551" y="1062"/>
                      <a:pt x="1665" y="1250"/>
                    </a:cubicBezTo>
                    <a:cubicBezTo>
                      <a:pt x="2166" y="2073"/>
                      <a:pt x="3484" y="2756"/>
                      <a:pt x="4493" y="2470"/>
                    </a:cubicBezTo>
                    <a:cubicBezTo>
                      <a:pt x="4663" y="2411"/>
                      <a:pt x="4865" y="2374"/>
                      <a:pt x="5089" y="2365"/>
                    </a:cubicBezTo>
                    <a:lnTo>
                      <a:pt x="4729" y="5423"/>
                    </a:lnTo>
                    <a:lnTo>
                      <a:pt x="5203" y="5915"/>
                    </a:lnTo>
                    <a:lnTo>
                      <a:pt x="5617" y="5423"/>
                    </a:lnTo>
                    <a:lnTo>
                      <a:pt x="5330" y="2373"/>
                    </a:lnTo>
                    <a:cubicBezTo>
                      <a:pt x="5531" y="2387"/>
                      <a:pt x="5725" y="2423"/>
                      <a:pt x="5890" y="2481"/>
                    </a:cubicBezTo>
                    <a:cubicBezTo>
                      <a:pt x="6894" y="2741"/>
                      <a:pt x="8187" y="2063"/>
                      <a:pt x="8681" y="1250"/>
                    </a:cubicBezTo>
                    <a:cubicBezTo>
                      <a:pt x="8795" y="1062"/>
                      <a:pt x="9038" y="1003"/>
                      <a:pt x="9224" y="1119"/>
                    </a:cubicBezTo>
                    <a:cubicBezTo>
                      <a:pt x="9410" y="1235"/>
                      <a:pt x="9468" y="1481"/>
                      <a:pt x="9353" y="1669"/>
                    </a:cubicBezTo>
                    <a:close/>
                    <a:moveTo>
                      <a:pt x="8844" y="4304"/>
                    </a:moveTo>
                    <a:cubicBezTo>
                      <a:pt x="8839" y="4303"/>
                      <a:pt x="8833" y="4303"/>
                      <a:pt x="8827" y="4302"/>
                    </a:cubicBezTo>
                    <a:lnTo>
                      <a:pt x="8900" y="5088"/>
                    </a:lnTo>
                    <a:lnTo>
                      <a:pt x="8793" y="5217"/>
                    </a:lnTo>
                    <a:lnTo>
                      <a:pt x="8671" y="5088"/>
                    </a:lnTo>
                    <a:lnTo>
                      <a:pt x="8763" y="4301"/>
                    </a:lnTo>
                    <a:cubicBezTo>
                      <a:pt x="8543" y="4286"/>
                      <a:pt x="8343" y="4195"/>
                      <a:pt x="7895" y="3770"/>
                    </a:cubicBezTo>
                    <a:cubicBezTo>
                      <a:pt x="7846" y="3723"/>
                      <a:pt x="7769" y="3725"/>
                      <a:pt x="7722" y="3776"/>
                    </a:cubicBezTo>
                    <a:cubicBezTo>
                      <a:pt x="7676" y="3826"/>
                      <a:pt x="7679" y="3906"/>
                      <a:pt x="7729" y="3953"/>
                    </a:cubicBezTo>
                    <a:cubicBezTo>
                      <a:pt x="8086" y="4293"/>
                      <a:pt x="8319" y="4456"/>
                      <a:pt x="8558" y="4519"/>
                    </a:cubicBezTo>
                    <a:cubicBezTo>
                      <a:pt x="8558" y="4523"/>
                      <a:pt x="8556" y="4527"/>
                      <a:pt x="8556" y="4530"/>
                    </a:cubicBezTo>
                    <a:lnTo>
                      <a:pt x="8505" y="5505"/>
                    </a:lnTo>
                    <a:lnTo>
                      <a:pt x="8378" y="6694"/>
                    </a:lnTo>
                    <a:cubicBezTo>
                      <a:pt x="8369" y="6780"/>
                      <a:pt x="8430" y="6857"/>
                      <a:pt x="8514" y="6867"/>
                    </a:cubicBezTo>
                    <a:cubicBezTo>
                      <a:pt x="8520" y="6867"/>
                      <a:pt x="8525" y="6867"/>
                      <a:pt x="8530" y="6867"/>
                    </a:cubicBezTo>
                    <a:cubicBezTo>
                      <a:pt x="8608" y="6867"/>
                      <a:pt x="8674" y="6808"/>
                      <a:pt x="8683" y="6728"/>
                    </a:cubicBezTo>
                    <a:lnTo>
                      <a:pt x="8815" y="5498"/>
                    </a:lnTo>
                    <a:lnTo>
                      <a:pt x="9012" y="6736"/>
                    </a:lnTo>
                    <a:cubicBezTo>
                      <a:pt x="9025" y="6813"/>
                      <a:pt x="9090" y="6868"/>
                      <a:pt x="9164" y="6868"/>
                    </a:cubicBezTo>
                    <a:cubicBezTo>
                      <a:pt x="9172" y="6868"/>
                      <a:pt x="9180" y="6867"/>
                      <a:pt x="9188" y="6866"/>
                    </a:cubicBezTo>
                    <a:cubicBezTo>
                      <a:pt x="9272" y="6852"/>
                      <a:pt x="9328" y="6771"/>
                      <a:pt x="9315" y="6686"/>
                    </a:cubicBezTo>
                    <a:lnTo>
                      <a:pt x="9119" y="5462"/>
                    </a:lnTo>
                    <a:cubicBezTo>
                      <a:pt x="9119" y="5461"/>
                      <a:pt x="9120" y="5460"/>
                      <a:pt x="9120" y="5459"/>
                    </a:cubicBezTo>
                    <a:lnTo>
                      <a:pt x="9046" y="4530"/>
                    </a:lnTo>
                    <a:cubicBezTo>
                      <a:pt x="9046" y="4526"/>
                      <a:pt x="9046" y="4522"/>
                      <a:pt x="9045" y="4518"/>
                    </a:cubicBezTo>
                    <a:cubicBezTo>
                      <a:pt x="9279" y="4456"/>
                      <a:pt x="9631" y="4296"/>
                      <a:pt x="9990" y="3953"/>
                    </a:cubicBezTo>
                    <a:cubicBezTo>
                      <a:pt x="10040" y="3906"/>
                      <a:pt x="10043" y="3826"/>
                      <a:pt x="9997" y="3776"/>
                    </a:cubicBezTo>
                    <a:cubicBezTo>
                      <a:pt x="9950" y="3725"/>
                      <a:pt x="9873" y="3723"/>
                      <a:pt x="9823" y="3770"/>
                    </a:cubicBezTo>
                    <a:cubicBezTo>
                      <a:pt x="9407" y="4166"/>
                      <a:pt x="9010" y="4290"/>
                      <a:pt x="8857" y="4300"/>
                    </a:cubicBezTo>
                    <a:cubicBezTo>
                      <a:pt x="8852" y="4300"/>
                      <a:pt x="8849" y="4303"/>
                      <a:pt x="8844" y="4304"/>
                    </a:cubicBezTo>
                    <a:close/>
                    <a:moveTo>
                      <a:pt x="8790" y="4263"/>
                    </a:moveTo>
                    <a:cubicBezTo>
                      <a:pt x="8949" y="4263"/>
                      <a:pt x="9078" y="4131"/>
                      <a:pt x="9078" y="3969"/>
                    </a:cubicBezTo>
                    <a:cubicBezTo>
                      <a:pt x="9078" y="3807"/>
                      <a:pt x="8949" y="3675"/>
                      <a:pt x="8790" y="3675"/>
                    </a:cubicBezTo>
                    <a:cubicBezTo>
                      <a:pt x="8631" y="3675"/>
                      <a:pt x="8503" y="3807"/>
                      <a:pt x="8503" y="3969"/>
                    </a:cubicBezTo>
                    <a:cubicBezTo>
                      <a:pt x="8503" y="4131"/>
                      <a:pt x="8631" y="4263"/>
                      <a:pt x="8790" y="4263"/>
                    </a:cubicBezTo>
                    <a:close/>
                    <a:moveTo>
                      <a:pt x="9514" y="6418"/>
                    </a:moveTo>
                    <a:cubicBezTo>
                      <a:pt x="9649" y="6475"/>
                      <a:pt x="9732" y="6548"/>
                      <a:pt x="9732" y="6629"/>
                    </a:cubicBezTo>
                    <a:cubicBezTo>
                      <a:pt x="9732" y="6745"/>
                      <a:pt x="9561" y="6846"/>
                      <a:pt x="9306" y="6903"/>
                    </a:cubicBezTo>
                    <a:cubicBezTo>
                      <a:pt x="9287" y="6910"/>
                      <a:pt x="9267" y="6915"/>
                      <a:pt x="9245" y="6917"/>
                    </a:cubicBezTo>
                    <a:cubicBezTo>
                      <a:pt x="9240" y="6918"/>
                      <a:pt x="9235" y="6918"/>
                      <a:pt x="9229" y="6918"/>
                    </a:cubicBezTo>
                    <a:cubicBezTo>
                      <a:pt x="9112" y="6939"/>
                      <a:pt x="8983" y="6952"/>
                      <a:pt x="8845" y="6952"/>
                    </a:cubicBezTo>
                    <a:cubicBezTo>
                      <a:pt x="8355" y="6952"/>
                      <a:pt x="7957" y="6807"/>
                      <a:pt x="7957" y="6629"/>
                    </a:cubicBezTo>
                    <a:cubicBezTo>
                      <a:pt x="7957" y="6542"/>
                      <a:pt x="8055" y="6463"/>
                      <a:pt x="8211" y="6405"/>
                    </a:cubicBezTo>
                    <a:lnTo>
                      <a:pt x="8222" y="6252"/>
                    </a:lnTo>
                    <a:cubicBezTo>
                      <a:pt x="7685" y="6340"/>
                      <a:pt x="7308" y="6534"/>
                      <a:pt x="7308" y="6762"/>
                    </a:cubicBezTo>
                    <a:cubicBezTo>
                      <a:pt x="7308" y="7072"/>
                      <a:pt x="8000" y="7324"/>
                      <a:pt x="8854" y="7324"/>
                    </a:cubicBezTo>
                    <a:cubicBezTo>
                      <a:pt x="9708" y="7324"/>
                      <a:pt x="10400" y="7072"/>
                      <a:pt x="10400" y="6762"/>
                    </a:cubicBezTo>
                    <a:cubicBezTo>
                      <a:pt x="10400" y="6535"/>
                      <a:pt x="10027" y="6342"/>
                      <a:pt x="9494" y="6253"/>
                    </a:cubicBezTo>
                    <a:lnTo>
                      <a:pt x="9514" y="6418"/>
                    </a:lnTo>
                    <a:close/>
                    <a:moveTo>
                      <a:pt x="1543" y="4300"/>
                    </a:moveTo>
                    <a:cubicBezTo>
                      <a:pt x="1391" y="4290"/>
                      <a:pt x="994" y="4166"/>
                      <a:pt x="577" y="3770"/>
                    </a:cubicBezTo>
                    <a:cubicBezTo>
                      <a:pt x="528" y="3723"/>
                      <a:pt x="450" y="3725"/>
                      <a:pt x="404" y="3776"/>
                    </a:cubicBezTo>
                    <a:cubicBezTo>
                      <a:pt x="358" y="3826"/>
                      <a:pt x="361" y="3906"/>
                      <a:pt x="411" y="3953"/>
                    </a:cubicBezTo>
                    <a:cubicBezTo>
                      <a:pt x="770" y="4296"/>
                      <a:pt x="1122" y="4456"/>
                      <a:pt x="1355" y="4518"/>
                    </a:cubicBezTo>
                    <a:cubicBezTo>
                      <a:pt x="1355" y="4522"/>
                      <a:pt x="1355" y="4526"/>
                      <a:pt x="1355" y="4530"/>
                    </a:cubicBezTo>
                    <a:lnTo>
                      <a:pt x="1281" y="5459"/>
                    </a:lnTo>
                    <a:cubicBezTo>
                      <a:pt x="1281" y="5460"/>
                      <a:pt x="1282" y="5461"/>
                      <a:pt x="1282" y="5462"/>
                    </a:cubicBezTo>
                    <a:lnTo>
                      <a:pt x="1086" y="6686"/>
                    </a:lnTo>
                    <a:cubicBezTo>
                      <a:pt x="1072" y="6771"/>
                      <a:pt x="1129" y="6852"/>
                      <a:pt x="1212" y="6866"/>
                    </a:cubicBezTo>
                    <a:cubicBezTo>
                      <a:pt x="1221" y="6867"/>
                      <a:pt x="1229" y="6867"/>
                      <a:pt x="1236" y="6867"/>
                    </a:cubicBezTo>
                    <a:cubicBezTo>
                      <a:pt x="1311" y="6867"/>
                      <a:pt x="1376" y="6813"/>
                      <a:pt x="1388" y="6736"/>
                    </a:cubicBezTo>
                    <a:lnTo>
                      <a:pt x="1586" y="5498"/>
                    </a:lnTo>
                    <a:lnTo>
                      <a:pt x="1718" y="6728"/>
                    </a:lnTo>
                    <a:cubicBezTo>
                      <a:pt x="1726" y="6808"/>
                      <a:pt x="1792" y="6867"/>
                      <a:pt x="1870" y="6867"/>
                    </a:cubicBezTo>
                    <a:cubicBezTo>
                      <a:pt x="1875" y="6867"/>
                      <a:pt x="1881" y="6867"/>
                      <a:pt x="1887" y="6867"/>
                    </a:cubicBezTo>
                    <a:cubicBezTo>
                      <a:pt x="1971" y="6857"/>
                      <a:pt x="2032" y="6780"/>
                      <a:pt x="2022" y="6694"/>
                    </a:cubicBezTo>
                    <a:lnTo>
                      <a:pt x="1895" y="5505"/>
                    </a:lnTo>
                    <a:lnTo>
                      <a:pt x="1845" y="4530"/>
                    </a:lnTo>
                    <a:cubicBezTo>
                      <a:pt x="1845" y="4527"/>
                      <a:pt x="1843" y="4523"/>
                      <a:pt x="1843" y="4519"/>
                    </a:cubicBezTo>
                    <a:cubicBezTo>
                      <a:pt x="2082" y="4456"/>
                      <a:pt x="2314" y="4293"/>
                      <a:pt x="2672" y="3953"/>
                    </a:cubicBezTo>
                    <a:cubicBezTo>
                      <a:pt x="2722" y="3906"/>
                      <a:pt x="2725" y="3826"/>
                      <a:pt x="2678" y="3776"/>
                    </a:cubicBezTo>
                    <a:cubicBezTo>
                      <a:pt x="2632" y="3725"/>
                      <a:pt x="2555" y="3722"/>
                      <a:pt x="2505" y="3770"/>
                    </a:cubicBezTo>
                    <a:cubicBezTo>
                      <a:pt x="2058" y="4195"/>
                      <a:pt x="1857" y="4286"/>
                      <a:pt x="1637" y="4301"/>
                    </a:cubicBezTo>
                    <a:lnTo>
                      <a:pt x="1730" y="5088"/>
                    </a:lnTo>
                    <a:lnTo>
                      <a:pt x="1608" y="5217"/>
                    </a:lnTo>
                    <a:lnTo>
                      <a:pt x="1501" y="5088"/>
                    </a:lnTo>
                    <a:lnTo>
                      <a:pt x="1574" y="4302"/>
                    </a:lnTo>
                    <a:cubicBezTo>
                      <a:pt x="1568" y="4303"/>
                      <a:pt x="1562" y="4303"/>
                      <a:pt x="1557" y="4304"/>
                    </a:cubicBezTo>
                    <a:cubicBezTo>
                      <a:pt x="1552" y="4303"/>
                      <a:pt x="1548" y="4300"/>
                      <a:pt x="1543" y="4300"/>
                    </a:cubicBezTo>
                    <a:close/>
                    <a:moveTo>
                      <a:pt x="1898" y="3969"/>
                    </a:moveTo>
                    <a:cubicBezTo>
                      <a:pt x="1898" y="3807"/>
                      <a:pt x="1769" y="3675"/>
                      <a:pt x="1610" y="3675"/>
                    </a:cubicBezTo>
                    <a:cubicBezTo>
                      <a:pt x="1452" y="3675"/>
                      <a:pt x="1323" y="3807"/>
                      <a:pt x="1323" y="3969"/>
                    </a:cubicBezTo>
                    <a:cubicBezTo>
                      <a:pt x="1323" y="4131"/>
                      <a:pt x="1452" y="4263"/>
                      <a:pt x="1610" y="4263"/>
                    </a:cubicBezTo>
                    <a:cubicBezTo>
                      <a:pt x="1769" y="4263"/>
                      <a:pt x="1898" y="4131"/>
                      <a:pt x="1898" y="3969"/>
                    </a:cubicBezTo>
                    <a:close/>
                    <a:moveTo>
                      <a:pt x="906" y="6253"/>
                    </a:moveTo>
                    <a:cubicBezTo>
                      <a:pt x="373" y="6342"/>
                      <a:pt x="0" y="6535"/>
                      <a:pt x="0" y="6762"/>
                    </a:cubicBezTo>
                    <a:cubicBezTo>
                      <a:pt x="0" y="7072"/>
                      <a:pt x="693" y="7324"/>
                      <a:pt x="1547" y="7324"/>
                    </a:cubicBezTo>
                    <a:cubicBezTo>
                      <a:pt x="2401" y="7324"/>
                      <a:pt x="3093" y="7072"/>
                      <a:pt x="3093" y="6762"/>
                    </a:cubicBezTo>
                    <a:cubicBezTo>
                      <a:pt x="3093" y="6534"/>
                      <a:pt x="2716" y="6340"/>
                      <a:pt x="2178" y="6252"/>
                    </a:cubicBezTo>
                    <a:lnTo>
                      <a:pt x="2189" y="6405"/>
                    </a:lnTo>
                    <a:cubicBezTo>
                      <a:pt x="2346" y="6463"/>
                      <a:pt x="2444" y="6542"/>
                      <a:pt x="2444" y="6629"/>
                    </a:cubicBezTo>
                    <a:cubicBezTo>
                      <a:pt x="2444" y="6807"/>
                      <a:pt x="2046" y="6952"/>
                      <a:pt x="1556" y="6952"/>
                    </a:cubicBezTo>
                    <a:cubicBezTo>
                      <a:pt x="1418" y="6952"/>
                      <a:pt x="1289" y="6939"/>
                      <a:pt x="1172" y="6918"/>
                    </a:cubicBezTo>
                    <a:cubicBezTo>
                      <a:pt x="1166" y="6918"/>
                      <a:pt x="1161" y="6918"/>
                      <a:pt x="1155" y="6917"/>
                    </a:cubicBezTo>
                    <a:cubicBezTo>
                      <a:pt x="1134" y="6915"/>
                      <a:pt x="1114" y="6910"/>
                      <a:pt x="1095" y="6903"/>
                    </a:cubicBezTo>
                    <a:cubicBezTo>
                      <a:pt x="840" y="6846"/>
                      <a:pt x="669" y="6745"/>
                      <a:pt x="669" y="6629"/>
                    </a:cubicBezTo>
                    <a:cubicBezTo>
                      <a:pt x="669" y="6548"/>
                      <a:pt x="751" y="6475"/>
                      <a:pt x="887" y="6418"/>
                    </a:cubicBezTo>
                    <a:lnTo>
                      <a:pt x="906" y="6253"/>
                    </a:lnTo>
                    <a:close/>
                  </a:path>
                </a:pathLst>
              </a:custGeom>
              <a:solidFill>
                <a:schemeClr val="accent2"/>
              </a:solidFill>
              <a:ln>
                <a:noFill/>
              </a:ln>
            </p:spPr>
            <p:txBody>
              <a:bodyPr/>
              <a:lstStyle/>
              <a:p>
                <a:endParaRPr lang="zh-CN" altLang="en-US"/>
              </a:p>
            </p:txBody>
          </p:sp>
          <p:sp>
            <p:nvSpPr>
              <p:cNvPr id="23" name="iśľíḓé">
                <a:extLst>
                  <a:ext uri="{FF2B5EF4-FFF2-40B4-BE49-F238E27FC236}">
                    <a16:creationId xmlns:a16="http://schemas.microsoft.com/office/drawing/2014/main" id="{22B7FD5A-232D-49F0-A4D4-134BF668E219}"/>
                  </a:ext>
                </a:extLst>
              </p:cNvPr>
              <p:cNvSpPr/>
              <p:nvPr/>
            </p:nvSpPr>
            <p:spPr bwMode="auto">
              <a:xfrm>
                <a:off x="7938962" y="3472691"/>
                <a:ext cx="456056" cy="467054"/>
              </a:xfrm>
              <a:custGeom>
                <a:avLst/>
                <a:gdLst>
                  <a:gd name="T0" fmla="*/ 1547 w 10400"/>
                  <a:gd name="T1" fmla="*/ 9330 h 10667"/>
                  <a:gd name="T2" fmla="*/ 3077 w 10400"/>
                  <a:gd name="T3" fmla="*/ 9013 h 10667"/>
                  <a:gd name="T4" fmla="*/ 6114 w 10400"/>
                  <a:gd name="T5" fmla="*/ 9700 h 10667"/>
                  <a:gd name="T6" fmla="*/ 6806 w 10400"/>
                  <a:gd name="T7" fmla="*/ 8539 h 10667"/>
                  <a:gd name="T8" fmla="*/ 4079 w 10400"/>
                  <a:gd name="T9" fmla="*/ 1127 h 10667"/>
                  <a:gd name="T10" fmla="*/ 5193 w 10400"/>
                  <a:gd name="T11" fmla="*/ 2254 h 10667"/>
                  <a:gd name="T12" fmla="*/ 6352 w 10400"/>
                  <a:gd name="T13" fmla="*/ 3340 h 10667"/>
                  <a:gd name="T14" fmla="*/ 6296 w 10400"/>
                  <a:gd name="T15" fmla="*/ 5841 h 10667"/>
                  <a:gd name="T16" fmla="*/ 5318 w 10400"/>
                  <a:gd name="T17" fmla="*/ 6578 h 10667"/>
                  <a:gd name="T18" fmla="*/ 4851 w 10400"/>
                  <a:gd name="T19" fmla="*/ 10126 h 10667"/>
                  <a:gd name="T20" fmla="*/ 4154 w 10400"/>
                  <a:gd name="T21" fmla="*/ 5500 h 10667"/>
                  <a:gd name="T22" fmla="*/ 993 w 10400"/>
                  <a:gd name="T23" fmla="*/ 1669 h 10667"/>
                  <a:gd name="T24" fmla="*/ 4493 w 10400"/>
                  <a:gd name="T25" fmla="*/ 2470 h 10667"/>
                  <a:gd name="T26" fmla="*/ 5203 w 10400"/>
                  <a:gd name="T27" fmla="*/ 5915 h 10667"/>
                  <a:gd name="T28" fmla="*/ 5890 w 10400"/>
                  <a:gd name="T29" fmla="*/ 2481 h 10667"/>
                  <a:gd name="T30" fmla="*/ 9353 w 10400"/>
                  <a:gd name="T31" fmla="*/ 1669 h 10667"/>
                  <a:gd name="T32" fmla="*/ 8900 w 10400"/>
                  <a:gd name="T33" fmla="*/ 5088 h 10667"/>
                  <a:gd name="T34" fmla="*/ 8763 w 10400"/>
                  <a:gd name="T35" fmla="*/ 4301 h 10667"/>
                  <a:gd name="T36" fmla="*/ 7729 w 10400"/>
                  <a:gd name="T37" fmla="*/ 3953 h 10667"/>
                  <a:gd name="T38" fmla="*/ 8505 w 10400"/>
                  <a:gd name="T39" fmla="*/ 5505 h 10667"/>
                  <a:gd name="T40" fmla="*/ 8530 w 10400"/>
                  <a:gd name="T41" fmla="*/ 6867 h 10667"/>
                  <a:gd name="T42" fmla="*/ 9012 w 10400"/>
                  <a:gd name="T43" fmla="*/ 6736 h 10667"/>
                  <a:gd name="T44" fmla="*/ 9315 w 10400"/>
                  <a:gd name="T45" fmla="*/ 6686 h 10667"/>
                  <a:gd name="T46" fmla="*/ 9046 w 10400"/>
                  <a:gd name="T47" fmla="*/ 4530 h 10667"/>
                  <a:gd name="T48" fmla="*/ 9997 w 10400"/>
                  <a:gd name="T49" fmla="*/ 3776 h 10667"/>
                  <a:gd name="T50" fmla="*/ 8844 w 10400"/>
                  <a:gd name="T51" fmla="*/ 4304 h 10667"/>
                  <a:gd name="T52" fmla="*/ 8790 w 10400"/>
                  <a:gd name="T53" fmla="*/ 3675 h 10667"/>
                  <a:gd name="T54" fmla="*/ 9514 w 10400"/>
                  <a:gd name="T55" fmla="*/ 6418 h 10667"/>
                  <a:gd name="T56" fmla="*/ 9245 w 10400"/>
                  <a:gd name="T57" fmla="*/ 6917 h 10667"/>
                  <a:gd name="T58" fmla="*/ 7957 w 10400"/>
                  <a:gd name="T59" fmla="*/ 6629 h 10667"/>
                  <a:gd name="T60" fmla="*/ 7308 w 10400"/>
                  <a:gd name="T61" fmla="*/ 6762 h 10667"/>
                  <a:gd name="T62" fmla="*/ 9494 w 10400"/>
                  <a:gd name="T63" fmla="*/ 6253 h 10667"/>
                  <a:gd name="T64" fmla="*/ 577 w 10400"/>
                  <a:gd name="T65" fmla="*/ 3770 h 10667"/>
                  <a:gd name="T66" fmla="*/ 1355 w 10400"/>
                  <a:gd name="T67" fmla="*/ 4518 h 10667"/>
                  <a:gd name="T68" fmla="*/ 1282 w 10400"/>
                  <a:gd name="T69" fmla="*/ 5462 h 10667"/>
                  <a:gd name="T70" fmla="*/ 1236 w 10400"/>
                  <a:gd name="T71" fmla="*/ 6867 h 10667"/>
                  <a:gd name="T72" fmla="*/ 1718 w 10400"/>
                  <a:gd name="T73" fmla="*/ 6728 h 10667"/>
                  <a:gd name="T74" fmla="*/ 2022 w 10400"/>
                  <a:gd name="T75" fmla="*/ 6694 h 10667"/>
                  <a:gd name="T76" fmla="*/ 1843 w 10400"/>
                  <a:gd name="T77" fmla="*/ 4519 h 10667"/>
                  <a:gd name="T78" fmla="*/ 2505 w 10400"/>
                  <a:gd name="T79" fmla="*/ 3770 h 10667"/>
                  <a:gd name="T80" fmla="*/ 1608 w 10400"/>
                  <a:gd name="T81" fmla="*/ 5217 h 10667"/>
                  <a:gd name="T82" fmla="*/ 1557 w 10400"/>
                  <a:gd name="T83" fmla="*/ 4304 h 10667"/>
                  <a:gd name="T84" fmla="*/ 1610 w 10400"/>
                  <a:gd name="T85" fmla="*/ 3675 h 10667"/>
                  <a:gd name="T86" fmla="*/ 1898 w 10400"/>
                  <a:gd name="T87" fmla="*/ 3969 h 10667"/>
                  <a:gd name="T88" fmla="*/ 1547 w 10400"/>
                  <a:gd name="T89" fmla="*/ 7324 h 10667"/>
                  <a:gd name="T90" fmla="*/ 2189 w 10400"/>
                  <a:gd name="T91" fmla="*/ 6405 h 10667"/>
                  <a:gd name="T92" fmla="*/ 1172 w 10400"/>
                  <a:gd name="T93" fmla="*/ 6918 h 10667"/>
                  <a:gd name="T94" fmla="*/ 669 w 10400"/>
                  <a:gd name="T95" fmla="*/ 6629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00" h="10667">
                    <a:moveTo>
                      <a:pt x="8838" y="9330"/>
                    </a:moveTo>
                    <a:cubicBezTo>
                      <a:pt x="8838" y="10067"/>
                      <a:pt x="7206" y="10667"/>
                      <a:pt x="5192" y="10667"/>
                    </a:cubicBezTo>
                    <a:cubicBezTo>
                      <a:pt x="3180" y="10667"/>
                      <a:pt x="1547" y="10067"/>
                      <a:pt x="1547" y="9330"/>
                    </a:cubicBezTo>
                    <a:cubicBezTo>
                      <a:pt x="1547" y="8797"/>
                      <a:pt x="2406" y="8341"/>
                      <a:pt x="3638" y="8128"/>
                    </a:cubicBezTo>
                    <a:lnTo>
                      <a:pt x="3638" y="8495"/>
                    </a:lnTo>
                    <a:cubicBezTo>
                      <a:pt x="3293" y="8632"/>
                      <a:pt x="3077" y="8813"/>
                      <a:pt x="3077" y="9013"/>
                    </a:cubicBezTo>
                    <a:cubicBezTo>
                      <a:pt x="3077" y="9437"/>
                      <a:pt x="4015" y="9781"/>
                      <a:pt x="5171" y="9781"/>
                    </a:cubicBezTo>
                    <a:cubicBezTo>
                      <a:pt x="5497" y="9781"/>
                      <a:pt x="5802" y="9751"/>
                      <a:pt x="6077" y="9703"/>
                    </a:cubicBezTo>
                    <a:cubicBezTo>
                      <a:pt x="6090" y="9702"/>
                      <a:pt x="6102" y="9702"/>
                      <a:pt x="6114" y="9700"/>
                    </a:cubicBezTo>
                    <a:cubicBezTo>
                      <a:pt x="6165" y="9694"/>
                      <a:pt x="6212" y="9682"/>
                      <a:pt x="6259" y="9666"/>
                    </a:cubicBezTo>
                    <a:cubicBezTo>
                      <a:pt x="6859" y="9531"/>
                      <a:pt x="7264" y="9290"/>
                      <a:pt x="7264" y="9013"/>
                    </a:cubicBezTo>
                    <a:cubicBezTo>
                      <a:pt x="7264" y="8834"/>
                      <a:pt x="7090" y="8669"/>
                      <a:pt x="6806" y="8539"/>
                    </a:cubicBezTo>
                    <a:lnTo>
                      <a:pt x="6806" y="8137"/>
                    </a:lnTo>
                    <a:cubicBezTo>
                      <a:pt x="8006" y="8356"/>
                      <a:pt x="8838" y="8805"/>
                      <a:pt x="8838" y="9330"/>
                    </a:cubicBezTo>
                    <a:close/>
                    <a:moveTo>
                      <a:pt x="4079" y="1127"/>
                    </a:moveTo>
                    <a:cubicBezTo>
                      <a:pt x="4079" y="504"/>
                      <a:pt x="4578" y="0"/>
                      <a:pt x="5193" y="0"/>
                    </a:cubicBezTo>
                    <a:cubicBezTo>
                      <a:pt x="5807" y="0"/>
                      <a:pt x="6305" y="504"/>
                      <a:pt x="6305" y="1127"/>
                    </a:cubicBezTo>
                    <a:cubicBezTo>
                      <a:pt x="6305" y="1750"/>
                      <a:pt x="5807" y="2254"/>
                      <a:pt x="5193" y="2254"/>
                    </a:cubicBezTo>
                    <a:cubicBezTo>
                      <a:pt x="4578" y="2254"/>
                      <a:pt x="4079" y="1750"/>
                      <a:pt x="4079" y="1127"/>
                    </a:cubicBezTo>
                    <a:close/>
                    <a:moveTo>
                      <a:pt x="9353" y="1669"/>
                    </a:moveTo>
                    <a:cubicBezTo>
                      <a:pt x="8800" y="2578"/>
                      <a:pt x="7557" y="3340"/>
                      <a:pt x="6352" y="3340"/>
                    </a:cubicBezTo>
                    <a:cubicBezTo>
                      <a:pt x="6274" y="3340"/>
                      <a:pt x="6196" y="3336"/>
                      <a:pt x="6118" y="3330"/>
                    </a:cubicBezTo>
                    <a:cubicBezTo>
                      <a:pt x="6142" y="3615"/>
                      <a:pt x="6252" y="4928"/>
                      <a:pt x="6282" y="5755"/>
                    </a:cubicBezTo>
                    <a:cubicBezTo>
                      <a:pt x="6288" y="5783"/>
                      <a:pt x="6294" y="5811"/>
                      <a:pt x="6296" y="5841"/>
                    </a:cubicBezTo>
                    <a:lnTo>
                      <a:pt x="6568" y="10087"/>
                    </a:lnTo>
                    <a:cubicBezTo>
                      <a:pt x="6586" y="10373"/>
                      <a:pt x="5564" y="10428"/>
                      <a:pt x="5546" y="10154"/>
                    </a:cubicBezTo>
                    <a:lnTo>
                      <a:pt x="5318" y="6578"/>
                    </a:lnTo>
                    <a:cubicBezTo>
                      <a:pt x="5280" y="6574"/>
                      <a:pt x="5244" y="6567"/>
                      <a:pt x="5206" y="6567"/>
                    </a:cubicBezTo>
                    <a:cubicBezTo>
                      <a:pt x="5174" y="6567"/>
                      <a:pt x="5136" y="6577"/>
                      <a:pt x="5099" y="6587"/>
                    </a:cubicBezTo>
                    <a:lnTo>
                      <a:pt x="4851" y="10126"/>
                    </a:lnTo>
                    <a:cubicBezTo>
                      <a:pt x="4832" y="10398"/>
                      <a:pt x="3810" y="10338"/>
                      <a:pt x="3830" y="10052"/>
                    </a:cubicBezTo>
                    <a:lnTo>
                      <a:pt x="4144" y="5559"/>
                    </a:lnTo>
                    <a:cubicBezTo>
                      <a:pt x="4146" y="5538"/>
                      <a:pt x="4150" y="5520"/>
                      <a:pt x="4154" y="5500"/>
                    </a:cubicBezTo>
                    <a:cubicBezTo>
                      <a:pt x="4199" y="4432"/>
                      <a:pt x="4252" y="3400"/>
                      <a:pt x="4257" y="3326"/>
                    </a:cubicBezTo>
                    <a:cubicBezTo>
                      <a:pt x="4169" y="3334"/>
                      <a:pt x="4081" y="3340"/>
                      <a:pt x="3994" y="3340"/>
                    </a:cubicBezTo>
                    <a:cubicBezTo>
                      <a:pt x="2788" y="3340"/>
                      <a:pt x="1546" y="2578"/>
                      <a:pt x="993" y="1669"/>
                    </a:cubicBezTo>
                    <a:cubicBezTo>
                      <a:pt x="879" y="1481"/>
                      <a:pt x="936" y="1235"/>
                      <a:pt x="1122" y="1120"/>
                    </a:cubicBezTo>
                    <a:cubicBezTo>
                      <a:pt x="1308" y="1003"/>
                      <a:pt x="1551" y="1062"/>
                      <a:pt x="1665" y="1250"/>
                    </a:cubicBezTo>
                    <a:cubicBezTo>
                      <a:pt x="2166" y="2073"/>
                      <a:pt x="3484" y="2756"/>
                      <a:pt x="4493" y="2470"/>
                    </a:cubicBezTo>
                    <a:cubicBezTo>
                      <a:pt x="4663" y="2411"/>
                      <a:pt x="4865" y="2374"/>
                      <a:pt x="5089" y="2365"/>
                    </a:cubicBezTo>
                    <a:lnTo>
                      <a:pt x="4729" y="5423"/>
                    </a:lnTo>
                    <a:lnTo>
                      <a:pt x="5203" y="5915"/>
                    </a:lnTo>
                    <a:lnTo>
                      <a:pt x="5617" y="5423"/>
                    </a:lnTo>
                    <a:lnTo>
                      <a:pt x="5330" y="2373"/>
                    </a:lnTo>
                    <a:cubicBezTo>
                      <a:pt x="5531" y="2387"/>
                      <a:pt x="5725" y="2423"/>
                      <a:pt x="5890" y="2481"/>
                    </a:cubicBezTo>
                    <a:cubicBezTo>
                      <a:pt x="6894" y="2741"/>
                      <a:pt x="8187" y="2063"/>
                      <a:pt x="8681" y="1250"/>
                    </a:cubicBezTo>
                    <a:cubicBezTo>
                      <a:pt x="8795" y="1062"/>
                      <a:pt x="9038" y="1003"/>
                      <a:pt x="9224" y="1119"/>
                    </a:cubicBezTo>
                    <a:cubicBezTo>
                      <a:pt x="9410" y="1235"/>
                      <a:pt x="9468" y="1481"/>
                      <a:pt x="9353" y="1669"/>
                    </a:cubicBezTo>
                    <a:close/>
                    <a:moveTo>
                      <a:pt x="8844" y="4304"/>
                    </a:moveTo>
                    <a:cubicBezTo>
                      <a:pt x="8839" y="4303"/>
                      <a:pt x="8833" y="4303"/>
                      <a:pt x="8827" y="4302"/>
                    </a:cubicBezTo>
                    <a:lnTo>
                      <a:pt x="8900" y="5088"/>
                    </a:lnTo>
                    <a:lnTo>
                      <a:pt x="8793" y="5217"/>
                    </a:lnTo>
                    <a:lnTo>
                      <a:pt x="8671" y="5088"/>
                    </a:lnTo>
                    <a:lnTo>
                      <a:pt x="8763" y="4301"/>
                    </a:lnTo>
                    <a:cubicBezTo>
                      <a:pt x="8543" y="4286"/>
                      <a:pt x="8343" y="4195"/>
                      <a:pt x="7895" y="3770"/>
                    </a:cubicBezTo>
                    <a:cubicBezTo>
                      <a:pt x="7846" y="3723"/>
                      <a:pt x="7769" y="3725"/>
                      <a:pt x="7722" y="3776"/>
                    </a:cubicBezTo>
                    <a:cubicBezTo>
                      <a:pt x="7676" y="3826"/>
                      <a:pt x="7679" y="3906"/>
                      <a:pt x="7729" y="3953"/>
                    </a:cubicBezTo>
                    <a:cubicBezTo>
                      <a:pt x="8086" y="4293"/>
                      <a:pt x="8319" y="4456"/>
                      <a:pt x="8558" y="4519"/>
                    </a:cubicBezTo>
                    <a:cubicBezTo>
                      <a:pt x="8558" y="4523"/>
                      <a:pt x="8556" y="4527"/>
                      <a:pt x="8556" y="4530"/>
                    </a:cubicBezTo>
                    <a:lnTo>
                      <a:pt x="8505" y="5505"/>
                    </a:lnTo>
                    <a:lnTo>
                      <a:pt x="8378" y="6694"/>
                    </a:lnTo>
                    <a:cubicBezTo>
                      <a:pt x="8369" y="6780"/>
                      <a:pt x="8430" y="6857"/>
                      <a:pt x="8514" y="6867"/>
                    </a:cubicBezTo>
                    <a:cubicBezTo>
                      <a:pt x="8520" y="6867"/>
                      <a:pt x="8525" y="6867"/>
                      <a:pt x="8530" y="6867"/>
                    </a:cubicBezTo>
                    <a:cubicBezTo>
                      <a:pt x="8608" y="6867"/>
                      <a:pt x="8674" y="6808"/>
                      <a:pt x="8683" y="6728"/>
                    </a:cubicBezTo>
                    <a:lnTo>
                      <a:pt x="8815" y="5498"/>
                    </a:lnTo>
                    <a:lnTo>
                      <a:pt x="9012" y="6736"/>
                    </a:lnTo>
                    <a:cubicBezTo>
                      <a:pt x="9025" y="6813"/>
                      <a:pt x="9090" y="6868"/>
                      <a:pt x="9164" y="6868"/>
                    </a:cubicBezTo>
                    <a:cubicBezTo>
                      <a:pt x="9172" y="6868"/>
                      <a:pt x="9180" y="6867"/>
                      <a:pt x="9188" y="6866"/>
                    </a:cubicBezTo>
                    <a:cubicBezTo>
                      <a:pt x="9272" y="6852"/>
                      <a:pt x="9328" y="6771"/>
                      <a:pt x="9315" y="6686"/>
                    </a:cubicBezTo>
                    <a:lnTo>
                      <a:pt x="9119" y="5462"/>
                    </a:lnTo>
                    <a:cubicBezTo>
                      <a:pt x="9119" y="5461"/>
                      <a:pt x="9120" y="5460"/>
                      <a:pt x="9120" y="5459"/>
                    </a:cubicBezTo>
                    <a:lnTo>
                      <a:pt x="9046" y="4530"/>
                    </a:lnTo>
                    <a:cubicBezTo>
                      <a:pt x="9046" y="4526"/>
                      <a:pt x="9046" y="4522"/>
                      <a:pt x="9045" y="4518"/>
                    </a:cubicBezTo>
                    <a:cubicBezTo>
                      <a:pt x="9279" y="4456"/>
                      <a:pt x="9631" y="4296"/>
                      <a:pt x="9990" y="3953"/>
                    </a:cubicBezTo>
                    <a:cubicBezTo>
                      <a:pt x="10040" y="3906"/>
                      <a:pt x="10043" y="3826"/>
                      <a:pt x="9997" y="3776"/>
                    </a:cubicBezTo>
                    <a:cubicBezTo>
                      <a:pt x="9950" y="3725"/>
                      <a:pt x="9873" y="3723"/>
                      <a:pt x="9823" y="3770"/>
                    </a:cubicBezTo>
                    <a:cubicBezTo>
                      <a:pt x="9407" y="4166"/>
                      <a:pt x="9010" y="4290"/>
                      <a:pt x="8857" y="4300"/>
                    </a:cubicBezTo>
                    <a:cubicBezTo>
                      <a:pt x="8852" y="4300"/>
                      <a:pt x="8849" y="4303"/>
                      <a:pt x="8844" y="4304"/>
                    </a:cubicBezTo>
                    <a:close/>
                    <a:moveTo>
                      <a:pt x="8790" y="4263"/>
                    </a:moveTo>
                    <a:cubicBezTo>
                      <a:pt x="8949" y="4263"/>
                      <a:pt x="9078" y="4131"/>
                      <a:pt x="9078" y="3969"/>
                    </a:cubicBezTo>
                    <a:cubicBezTo>
                      <a:pt x="9078" y="3807"/>
                      <a:pt x="8949" y="3675"/>
                      <a:pt x="8790" y="3675"/>
                    </a:cubicBezTo>
                    <a:cubicBezTo>
                      <a:pt x="8631" y="3675"/>
                      <a:pt x="8503" y="3807"/>
                      <a:pt x="8503" y="3969"/>
                    </a:cubicBezTo>
                    <a:cubicBezTo>
                      <a:pt x="8503" y="4131"/>
                      <a:pt x="8631" y="4263"/>
                      <a:pt x="8790" y="4263"/>
                    </a:cubicBezTo>
                    <a:close/>
                    <a:moveTo>
                      <a:pt x="9514" y="6418"/>
                    </a:moveTo>
                    <a:cubicBezTo>
                      <a:pt x="9649" y="6475"/>
                      <a:pt x="9732" y="6548"/>
                      <a:pt x="9732" y="6629"/>
                    </a:cubicBezTo>
                    <a:cubicBezTo>
                      <a:pt x="9732" y="6745"/>
                      <a:pt x="9561" y="6846"/>
                      <a:pt x="9306" y="6903"/>
                    </a:cubicBezTo>
                    <a:cubicBezTo>
                      <a:pt x="9287" y="6910"/>
                      <a:pt x="9267" y="6915"/>
                      <a:pt x="9245" y="6917"/>
                    </a:cubicBezTo>
                    <a:cubicBezTo>
                      <a:pt x="9240" y="6918"/>
                      <a:pt x="9235" y="6918"/>
                      <a:pt x="9229" y="6918"/>
                    </a:cubicBezTo>
                    <a:cubicBezTo>
                      <a:pt x="9112" y="6939"/>
                      <a:pt x="8983" y="6952"/>
                      <a:pt x="8845" y="6952"/>
                    </a:cubicBezTo>
                    <a:cubicBezTo>
                      <a:pt x="8355" y="6952"/>
                      <a:pt x="7957" y="6807"/>
                      <a:pt x="7957" y="6629"/>
                    </a:cubicBezTo>
                    <a:cubicBezTo>
                      <a:pt x="7957" y="6542"/>
                      <a:pt x="8055" y="6463"/>
                      <a:pt x="8211" y="6405"/>
                    </a:cubicBezTo>
                    <a:lnTo>
                      <a:pt x="8222" y="6252"/>
                    </a:lnTo>
                    <a:cubicBezTo>
                      <a:pt x="7685" y="6340"/>
                      <a:pt x="7308" y="6534"/>
                      <a:pt x="7308" y="6762"/>
                    </a:cubicBezTo>
                    <a:cubicBezTo>
                      <a:pt x="7308" y="7072"/>
                      <a:pt x="8000" y="7324"/>
                      <a:pt x="8854" y="7324"/>
                    </a:cubicBezTo>
                    <a:cubicBezTo>
                      <a:pt x="9708" y="7324"/>
                      <a:pt x="10400" y="7072"/>
                      <a:pt x="10400" y="6762"/>
                    </a:cubicBezTo>
                    <a:cubicBezTo>
                      <a:pt x="10400" y="6535"/>
                      <a:pt x="10027" y="6342"/>
                      <a:pt x="9494" y="6253"/>
                    </a:cubicBezTo>
                    <a:lnTo>
                      <a:pt x="9514" y="6418"/>
                    </a:lnTo>
                    <a:close/>
                    <a:moveTo>
                      <a:pt x="1543" y="4300"/>
                    </a:moveTo>
                    <a:cubicBezTo>
                      <a:pt x="1391" y="4290"/>
                      <a:pt x="994" y="4166"/>
                      <a:pt x="577" y="3770"/>
                    </a:cubicBezTo>
                    <a:cubicBezTo>
                      <a:pt x="528" y="3723"/>
                      <a:pt x="450" y="3725"/>
                      <a:pt x="404" y="3776"/>
                    </a:cubicBezTo>
                    <a:cubicBezTo>
                      <a:pt x="358" y="3826"/>
                      <a:pt x="361" y="3906"/>
                      <a:pt x="411" y="3953"/>
                    </a:cubicBezTo>
                    <a:cubicBezTo>
                      <a:pt x="770" y="4296"/>
                      <a:pt x="1122" y="4456"/>
                      <a:pt x="1355" y="4518"/>
                    </a:cubicBezTo>
                    <a:cubicBezTo>
                      <a:pt x="1355" y="4522"/>
                      <a:pt x="1355" y="4526"/>
                      <a:pt x="1355" y="4530"/>
                    </a:cubicBezTo>
                    <a:lnTo>
                      <a:pt x="1281" y="5459"/>
                    </a:lnTo>
                    <a:cubicBezTo>
                      <a:pt x="1281" y="5460"/>
                      <a:pt x="1282" y="5461"/>
                      <a:pt x="1282" y="5462"/>
                    </a:cubicBezTo>
                    <a:lnTo>
                      <a:pt x="1086" y="6686"/>
                    </a:lnTo>
                    <a:cubicBezTo>
                      <a:pt x="1072" y="6771"/>
                      <a:pt x="1129" y="6852"/>
                      <a:pt x="1212" y="6866"/>
                    </a:cubicBezTo>
                    <a:cubicBezTo>
                      <a:pt x="1221" y="6867"/>
                      <a:pt x="1229" y="6867"/>
                      <a:pt x="1236" y="6867"/>
                    </a:cubicBezTo>
                    <a:cubicBezTo>
                      <a:pt x="1311" y="6867"/>
                      <a:pt x="1376" y="6813"/>
                      <a:pt x="1388" y="6736"/>
                    </a:cubicBezTo>
                    <a:lnTo>
                      <a:pt x="1586" y="5498"/>
                    </a:lnTo>
                    <a:lnTo>
                      <a:pt x="1718" y="6728"/>
                    </a:lnTo>
                    <a:cubicBezTo>
                      <a:pt x="1726" y="6808"/>
                      <a:pt x="1792" y="6867"/>
                      <a:pt x="1870" y="6867"/>
                    </a:cubicBezTo>
                    <a:cubicBezTo>
                      <a:pt x="1875" y="6867"/>
                      <a:pt x="1881" y="6867"/>
                      <a:pt x="1887" y="6867"/>
                    </a:cubicBezTo>
                    <a:cubicBezTo>
                      <a:pt x="1971" y="6857"/>
                      <a:pt x="2032" y="6780"/>
                      <a:pt x="2022" y="6694"/>
                    </a:cubicBezTo>
                    <a:lnTo>
                      <a:pt x="1895" y="5505"/>
                    </a:lnTo>
                    <a:lnTo>
                      <a:pt x="1845" y="4530"/>
                    </a:lnTo>
                    <a:cubicBezTo>
                      <a:pt x="1845" y="4527"/>
                      <a:pt x="1843" y="4523"/>
                      <a:pt x="1843" y="4519"/>
                    </a:cubicBezTo>
                    <a:cubicBezTo>
                      <a:pt x="2082" y="4456"/>
                      <a:pt x="2314" y="4293"/>
                      <a:pt x="2672" y="3953"/>
                    </a:cubicBezTo>
                    <a:cubicBezTo>
                      <a:pt x="2722" y="3906"/>
                      <a:pt x="2725" y="3826"/>
                      <a:pt x="2678" y="3776"/>
                    </a:cubicBezTo>
                    <a:cubicBezTo>
                      <a:pt x="2632" y="3725"/>
                      <a:pt x="2555" y="3722"/>
                      <a:pt x="2505" y="3770"/>
                    </a:cubicBezTo>
                    <a:cubicBezTo>
                      <a:pt x="2058" y="4195"/>
                      <a:pt x="1857" y="4286"/>
                      <a:pt x="1637" y="4301"/>
                    </a:cubicBezTo>
                    <a:lnTo>
                      <a:pt x="1730" y="5088"/>
                    </a:lnTo>
                    <a:lnTo>
                      <a:pt x="1608" y="5217"/>
                    </a:lnTo>
                    <a:lnTo>
                      <a:pt x="1501" y="5088"/>
                    </a:lnTo>
                    <a:lnTo>
                      <a:pt x="1574" y="4302"/>
                    </a:lnTo>
                    <a:cubicBezTo>
                      <a:pt x="1568" y="4303"/>
                      <a:pt x="1562" y="4303"/>
                      <a:pt x="1557" y="4304"/>
                    </a:cubicBezTo>
                    <a:cubicBezTo>
                      <a:pt x="1552" y="4303"/>
                      <a:pt x="1548" y="4300"/>
                      <a:pt x="1543" y="4300"/>
                    </a:cubicBezTo>
                    <a:close/>
                    <a:moveTo>
                      <a:pt x="1898" y="3969"/>
                    </a:moveTo>
                    <a:cubicBezTo>
                      <a:pt x="1898" y="3807"/>
                      <a:pt x="1769" y="3675"/>
                      <a:pt x="1610" y="3675"/>
                    </a:cubicBezTo>
                    <a:cubicBezTo>
                      <a:pt x="1452" y="3675"/>
                      <a:pt x="1323" y="3807"/>
                      <a:pt x="1323" y="3969"/>
                    </a:cubicBezTo>
                    <a:cubicBezTo>
                      <a:pt x="1323" y="4131"/>
                      <a:pt x="1452" y="4263"/>
                      <a:pt x="1610" y="4263"/>
                    </a:cubicBezTo>
                    <a:cubicBezTo>
                      <a:pt x="1769" y="4263"/>
                      <a:pt x="1898" y="4131"/>
                      <a:pt x="1898" y="3969"/>
                    </a:cubicBezTo>
                    <a:close/>
                    <a:moveTo>
                      <a:pt x="906" y="6253"/>
                    </a:moveTo>
                    <a:cubicBezTo>
                      <a:pt x="373" y="6342"/>
                      <a:pt x="0" y="6535"/>
                      <a:pt x="0" y="6762"/>
                    </a:cubicBezTo>
                    <a:cubicBezTo>
                      <a:pt x="0" y="7072"/>
                      <a:pt x="693" y="7324"/>
                      <a:pt x="1547" y="7324"/>
                    </a:cubicBezTo>
                    <a:cubicBezTo>
                      <a:pt x="2401" y="7324"/>
                      <a:pt x="3093" y="7072"/>
                      <a:pt x="3093" y="6762"/>
                    </a:cubicBezTo>
                    <a:cubicBezTo>
                      <a:pt x="3093" y="6534"/>
                      <a:pt x="2716" y="6340"/>
                      <a:pt x="2178" y="6252"/>
                    </a:cubicBezTo>
                    <a:lnTo>
                      <a:pt x="2189" y="6405"/>
                    </a:lnTo>
                    <a:cubicBezTo>
                      <a:pt x="2346" y="6463"/>
                      <a:pt x="2444" y="6542"/>
                      <a:pt x="2444" y="6629"/>
                    </a:cubicBezTo>
                    <a:cubicBezTo>
                      <a:pt x="2444" y="6807"/>
                      <a:pt x="2046" y="6952"/>
                      <a:pt x="1556" y="6952"/>
                    </a:cubicBezTo>
                    <a:cubicBezTo>
                      <a:pt x="1418" y="6952"/>
                      <a:pt x="1289" y="6939"/>
                      <a:pt x="1172" y="6918"/>
                    </a:cubicBezTo>
                    <a:cubicBezTo>
                      <a:pt x="1166" y="6918"/>
                      <a:pt x="1161" y="6918"/>
                      <a:pt x="1155" y="6917"/>
                    </a:cubicBezTo>
                    <a:cubicBezTo>
                      <a:pt x="1134" y="6915"/>
                      <a:pt x="1114" y="6910"/>
                      <a:pt x="1095" y="6903"/>
                    </a:cubicBezTo>
                    <a:cubicBezTo>
                      <a:pt x="840" y="6846"/>
                      <a:pt x="669" y="6745"/>
                      <a:pt x="669" y="6629"/>
                    </a:cubicBezTo>
                    <a:cubicBezTo>
                      <a:pt x="669" y="6548"/>
                      <a:pt x="751" y="6475"/>
                      <a:pt x="887" y="6418"/>
                    </a:cubicBezTo>
                    <a:lnTo>
                      <a:pt x="906" y="6253"/>
                    </a:lnTo>
                    <a:close/>
                  </a:path>
                </a:pathLst>
              </a:custGeom>
              <a:solidFill>
                <a:schemeClr val="accent1"/>
              </a:solidFill>
              <a:ln>
                <a:noFill/>
              </a:ln>
            </p:spPr>
            <p:txBody>
              <a:bodyPr/>
              <a:lstStyle/>
              <a:p>
                <a:endParaRPr lang="zh-CN" altLang="en-US"/>
              </a:p>
            </p:txBody>
          </p:sp>
        </p:grpSp>
        <p:sp>
          <p:nvSpPr>
            <p:cNvPr id="7" name="iś1îḋè">
              <a:extLst>
                <a:ext uri="{FF2B5EF4-FFF2-40B4-BE49-F238E27FC236}">
                  <a16:creationId xmlns:a16="http://schemas.microsoft.com/office/drawing/2014/main" id="{E6E4E91D-91CF-4580-8948-2F1265F9713D}"/>
                </a:ext>
              </a:extLst>
            </p:cNvPr>
            <p:cNvSpPr txBox="1"/>
            <p:nvPr/>
          </p:nvSpPr>
          <p:spPr bwMode="auto">
            <a:xfrm>
              <a:off x="669926" y="3520020"/>
              <a:ext cx="197403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pPr>
              <a:r>
                <a:rPr lang="en-US" altLang="zh-CN" b="1"/>
                <a:t>Text </a:t>
              </a:r>
              <a:r>
                <a:rPr lang="en-US" altLang="zh-CN" b="1" dirty="0"/>
                <a:t>here</a:t>
              </a:r>
            </a:p>
          </p:txBody>
        </p:sp>
        <p:sp>
          <p:nvSpPr>
            <p:cNvPr id="8" name="îśľíďè">
              <a:extLst>
                <a:ext uri="{FF2B5EF4-FFF2-40B4-BE49-F238E27FC236}">
                  <a16:creationId xmlns:a16="http://schemas.microsoft.com/office/drawing/2014/main" id="{01828F26-8B08-41AA-9898-8DD6548B6BAD}"/>
                </a:ext>
              </a:extLst>
            </p:cNvPr>
            <p:cNvSpPr txBox="1"/>
            <p:nvPr/>
          </p:nvSpPr>
          <p:spPr bwMode="auto">
            <a:xfrm>
              <a:off x="9515431" y="2138682"/>
              <a:ext cx="200505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b="1"/>
                <a:t>Text </a:t>
              </a:r>
              <a:r>
                <a:rPr lang="en-US" altLang="zh-CN" b="1" dirty="0"/>
                <a:t>here</a:t>
              </a:r>
            </a:p>
          </p:txBody>
        </p:sp>
        <p:sp>
          <p:nvSpPr>
            <p:cNvPr id="9" name="ïṩļïḓe">
              <a:extLst>
                <a:ext uri="{FF2B5EF4-FFF2-40B4-BE49-F238E27FC236}">
                  <a16:creationId xmlns:a16="http://schemas.microsoft.com/office/drawing/2014/main" id="{33208832-E73A-49A2-A9EF-E9E46514242F}"/>
                </a:ext>
              </a:extLst>
            </p:cNvPr>
            <p:cNvSpPr txBox="1"/>
            <p:nvPr/>
          </p:nvSpPr>
          <p:spPr bwMode="auto">
            <a:xfrm>
              <a:off x="9515431" y="4817144"/>
              <a:ext cx="2005058"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pPr>
              <a:r>
                <a:rPr lang="en-US" altLang="zh-CN" b="1"/>
                <a:t>Text </a:t>
              </a:r>
              <a:r>
                <a:rPr lang="en-US" altLang="zh-CN" b="1" dirty="0"/>
                <a:t>here</a:t>
              </a:r>
            </a:p>
          </p:txBody>
        </p:sp>
        <p:sp>
          <p:nvSpPr>
            <p:cNvPr id="10" name="iṣ1îḑê">
              <a:extLst>
                <a:ext uri="{FF2B5EF4-FFF2-40B4-BE49-F238E27FC236}">
                  <a16:creationId xmlns:a16="http://schemas.microsoft.com/office/drawing/2014/main" id="{85AC42E1-DC4B-4097-BE98-E5FA9EB3D3D0}"/>
                </a:ext>
              </a:extLst>
            </p:cNvPr>
            <p:cNvSpPr/>
            <p:nvPr/>
          </p:nvSpPr>
          <p:spPr bwMode="auto">
            <a:xfrm>
              <a:off x="5588736" y="1965465"/>
              <a:ext cx="3262656"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p>
            <a:p>
              <a:pPr>
                <a:lnSpc>
                  <a:spcPct val="120000"/>
                </a:lnSpc>
              </a:pPr>
              <a:r>
                <a:rPr lang="en-US" altLang="zh-CN" sz="1100" dirty="0"/>
                <a:t>……</a:t>
              </a:r>
            </a:p>
          </p:txBody>
        </p:sp>
        <p:sp>
          <p:nvSpPr>
            <p:cNvPr id="11" name="i$1îďè">
              <a:extLst>
                <a:ext uri="{FF2B5EF4-FFF2-40B4-BE49-F238E27FC236}">
                  <a16:creationId xmlns:a16="http://schemas.microsoft.com/office/drawing/2014/main" id="{F89B2BB6-5CA7-42C4-A5A5-5899743841D7}"/>
                </a:ext>
              </a:extLst>
            </p:cNvPr>
            <p:cNvSpPr/>
            <p:nvPr/>
          </p:nvSpPr>
          <p:spPr bwMode="auto">
            <a:xfrm>
              <a:off x="5588736" y="4704596"/>
              <a:ext cx="3262656"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p>
            <a:p>
              <a:pPr>
                <a:lnSpc>
                  <a:spcPct val="120000"/>
                </a:lnSpc>
              </a:pPr>
              <a:r>
                <a:rPr lang="en-US" altLang="zh-CN" sz="1100" dirty="0"/>
                <a:t>……</a:t>
              </a:r>
            </a:p>
          </p:txBody>
        </p:sp>
        <p:sp>
          <p:nvSpPr>
            <p:cNvPr id="12" name="iŝlídè">
              <a:extLst>
                <a:ext uri="{FF2B5EF4-FFF2-40B4-BE49-F238E27FC236}">
                  <a16:creationId xmlns:a16="http://schemas.microsoft.com/office/drawing/2014/main" id="{64F3B1ED-75C7-4873-B76F-0803E1BB8743}"/>
                </a:ext>
              </a:extLst>
            </p:cNvPr>
            <p:cNvSpPr/>
            <p:nvPr/>
          </p:nvSpPr>
          <p:spPr bwMode="auto">
            <a:xfrm>
              <a:off x="3138003" y="3358271"/>
              <a:ext cx="3262656"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sz="1100" dirty="0"/>
                <a:t>Copy paste fonts. Choose the only option to retain text.</a:t>
              </a:r>
            </a:p>
            <a:p>
              <a:pPr algn="r">
                <a:lnSpc>
                  <a:spcPct val="120000"/>
                </a:lnSpc>
              </a:pPr>
              <a:r>
                <a:rPr lang="en-US" altLang="zh-CN" sz="1100" dirty="0"/>
                <a:t>……</a:t>
              </a:r>
            </a:p>
          </p:txBody>
        </p:sp>
      </p:grpSp>
    </p:spTree>
    <p:extLst>
      <p:ext uri="{BB962C8B-B14F-4D97-AF65-F5344CB8AC3E}">
        <p14:creationId xmlns:p14="http://schemas.microsoft.com/office/powerpoint/2010/main" val="4213793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DB60989-474A-4716-B4CB-CF3B291E66DB}"/>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E2EF6327-7C7B-4F10-90DF-1007492B30C4}"/>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E72634A4-012B-44B4-AA78-326273E2C4C7}"/>
              </a:ext>
            </a:extLst>
          </p:cNvPr>
          <p:cNvSpPr>
            <a:spLocks noGrp="1"/>
          </p:cNvSpPr>
          <p:nvPr>
            <p:ph type="sldNum" sz="quarter" idx="12"/>
          </p:nvPr>
        </p:nvSpPr>
        <p:spPr/>
        <p:txBody>
          <a:bodyPr/>
          <a:lstStyle/>
          <a:p>
            <a:fld id="{5DD3DB80-B894-403A-B48E-6FDC1A72010E}" type="slidenum">
              <a:rPr lang="zh-CN" altLang="en-US" smtClean="0"/>
              <a:pPr/>
              <a:t>25</a:t>
            </a:fld>
            <a:endParaRPr lang="zh-CN" altLang="en-US"/>
          </a:p>
        </p:txBody>
      </p:sp>
      <p:grpSp>
        <p:nvGrpSpPr>
          <p:cNvPr id="5" name="27192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A7E59CE-FBEA-451A-9042-3F59CA0F14A7}"/>
              </a:ext>
            </a:extLst>
          </p:cNvPr>
          <p:cNvGrpSpPr>
            <a:grpSpLocks noChangeAspect="1"/>
          </p:cNvGrpSpPr>
          <p:nvPr/>
        </p:nvGrpSpPr>
        <p:grpSpPr>
          <a:xfrm>
            <a:off x="669925" y="1801369"/>
            <a:ext cx="10851515" cy="3593292"/>
            <a:chOff x="669925" y="1801369"/>
            <a:chExt cx="10851515" cy="3593292"/>
          </a:xfrm>
        </p:grpSpPr>
        <p:grpSp>
          <p:nvGrpSpPr>
            <p:cNvPr id="6" name="íšļíḑe">
              <a:extLst>
                <a:ext uri="{FF2B5EF4-FFF2-40B4-BE49-F238E27FC236}">
                  <a16:creationId xmlns:a16="http://schemas.microsoft.com/office/drawing/2014/main" id="{0E44D35D-807D-42CE-AEF9-6EB9FAA3E914}"/>
                </a:ext>
              </a:extLst>
            </p:cNvPr>
            <p:cNvGrpSpPr/>
            <p:nvPr/>
          </p:nvGrpSpPr>
          <p:grpSpPr>
            <a:xfrm>
              <a:off x="4236409" y="1801369"/>
              <a:ext cx="3719182" cy="3593292"/>
              <a:chOff x="4236409" y="1801369"/>
              <a:chExt cx="3719182" cy="3593292"/>
            </a:xfrm>
          </p:grpSpPr>
          <p:grpSp>
            <p:nvGrpSpPr>
              <p:cNvPr id="25" name="îSḷïḋè">
                <a:extLst>
                  <a:ext uri="{FF2B5EF4-FFF2-40B4-BE49-F238E27FC236}">
                    <a16:creationId xmlns:a16="http://schemas.microsoft.com/office/drawing/2014/main" id="{9515D814-C0E1-466D-A6FC-6899B82951E1}"/>
                  </a:ext>
                </a:extLst>
              </p:cNvPr>
              <p:cNvGrpSpPr/>
              <p:nvPr/>
            </p:nvGrpSpPr>
            <p:grpSpPr>
              <a:xfrm>
                <a:off x="4236409" y="1950409"/>
                <a:ext cx="2141598" cy="1476548"/>
                <a:chOff x="3656701" y="1423482"/>
                <a:chExt cx="2826506" cy="1948765"/>
              </a:xfrm>
            </p:grpSpPr>
            <p:sp>
              <p:nvSpPr>
                <p:cNvPr id="36" name="íś1ïḋê">
                  <a:extLst>
                    <a:ext uri="{FF2B5EF4-FFF2-40B4-BE49-F238E27FC236}">
                      <a16:creationId xmlns:a16="http://schemas.microsoft.com/office/drawing/2014/main" id="{2E9727FC-6755-4F42-A735-445A041AC424}"/>
                    </a:ext>
                  </a:extLst>
                </p:cNvPr>
                <p:cNvSpPr/>
                <p:nvPr/>
              </p:nvSpPr>
              <p:spPr>
                <a:xfrm rot="8100000">
                  <a:off x="4463907" y="2715022"/>
                  <a:ext cx="2019300" cy="657225"/>
                </a:xfrm>
                <a:prstGeom prst="triangle">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algn="ctr"/>
                  <a:endParaRPr/>
                </a:p>
              </p:txBody>
            </p:sp>
            <p:sp>
              <p:nvSpPr>
                <p:cNvPr id="37" name="íśḷïḋe">
                  <a:extLst>
                    <a:ext uri="{FF2B5EF4-FFF2-40B4-BE49-F238E27FC236}">
                      <a16:creationId xmlns:a16="http://schemas.microsoft.com/office/drawing/2014/main" id="{6869CC2C-BDC6-485E-A63D-E0314E7DFDB3}"/>
                    </a:ext>
                  </a:extLst>
                </p:cNvPr>
                <p:cNvSpPr/>
                <p:nvPr/>
              </p:nvSpPr>
              <p:spPr>
                <a:xfrm rot="13500000">
                  <a:off x="3853404" y="1226779"/>
                  <a:ext cx="1625894" cy="2019300"/>
                </a:xfrm>
                <a:prstGeom prst="homePlate">
                  <a:avLst>
                    <a:gd name="adj" fmla="val 30072"/>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grpSp>
          <p:sp>
            <p:nvSpPr>
              <p:cNvPr id="26" name="íṣlîḑê">
                <a:extLst>
                  <a:ext uri="{FF2B5EF4-FFF2-40B4-BE49-F238E27FC236}">
                    <a16:creationId xmlns:a16="http://schemas.microsoft.com/office/drawing/2014/main" id="{0033A2C6-F936-490A-86C2-5CB5ECBD03CE}"/>
                  </a:ext>
                </a:extLst>
              </p:cNvPr>
              <p:cNvSpPr/>
              <p:nvPr/>
            </p:nvSpPr>
            <p:spPr>
              <a:xfrm rot="13500000" flipH="1">
                <a:off x="5813993" y="2928987"/>
                <a:ext cx="1529991" cy="497969"/>
              </a:xfrm>
              <a:prstGeom prst="triangle">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algn="ctr"/>
                <a:endParaRPr/>
              </a:p>
            </p:txBody>
          </p:sp>
          <p:sp>
            <p:nvSpPr>
              <p:cNvPr id="27" name="ïşḷíḍê">
                <a:extLst>
                  <a:ext uri="{FF2B5EF4-FFF2-40B4-BE49-F238E27FC236}">
                    <a16:creationId xmlns:a16="http://schemas.microsoft.com/office/drawing/2014/main" id="{C7B2F7AB-657A-450D-8C91-A65C9B2BB54F}"/>
                  </a:ext>
                </a:extLst>
              </p:cNvPr>
              <p:cNvSpPr/>
              <p:nvPr/>
            </p:nvSpPr>
            <p:spPr>
              <a:xfrm rot="8100000" flipH="1">
                <a:off x="6574639" y="1801369"/>
                <a:ext cx="1231913" cy="1529991"/>
              </a:xfrm>
              <a:prstGeom prst="homePlate">
                <a:avLst>
                  <a:gd name="adj" fmla="val 30072"/>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8" name="ïṡľîḓè">
                <a:extLst>
                  <a:ext uri="{FF2B5EF4-FFF2-40B4-BE49-F238E27FC236}">
                    <a16:creationId xmlns:a16="http://schemas.microsoft.com/office/drawing/2014/main" id="{E6C369D5-7F99-4914-9BD8-36E4823EABE6}"/>
                  </a:ext>
                </a:extLst>
              </p:cNvPr>
              <p:cNvSpPr/>
              <p:nvPr/>
            </p:nvSpPr>
            <p:spPr>
              <a:xfrm rot="13500000" flipV="1">
                <a:off x="4848016" y="3769075"/>
                <a:ext cx="1529991" cy="497969"/>
              </a:xfrm>
              <a:prstGeom prst="triangle">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algn="ctr"/>
                <a:endParaRPr/>
              </a:p>
            </p:txBody>
          </p:sp>
          <p:sp>
            <p:nvSpPr>
              <p:cNvPr id="29" name="îśḻiḑe">
                <a:extLst>
                  <a:ext uri="{FF2B5EF4-FFF2-40B4-BE49-F238E27FC236}">
                    <a16:creationId xmlns:a16="http://schemas.microsoft.com/office/drawing/2014/main" id="{78FA1394-30D5-4FD4-92CF-392BB64611E2}"/>
                  </a:ext>
                </a:extLst>
              </p:cNvPr>
              <p:cNvSpPr/>
              <p:nvPr/>
            </p:nvSpPr>
            <p:spPr>
              <a:xfrm rot="8100000" flipV="1">
                <a:off x="4385448" y="3864670"/>
                <a:ext cx="1231913" cy="1529991"/>
              </a:xfrm>
              <a:prstGeom prst="homePlate">
                <a:avLst>
                  <a:gd name="adj" fmla="val 30072"/>
                </a:avLst>
              </a:pr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0" name="îṡļîďé">
                <a:extLst>
                  <a:ext uri="{FF2B5EF4-FFF2-40B4-BE49-F238E27FC236}">
                    <a16:creationId xmlns:a16="http://schemas.microsoft.com/office/drawing/2014/main" id="{91A27AD1-6C04-45CC-8EC2-0B51ACD531B1}"/>
                  </a:ext>
                </a:extLst>
              </p:cNvPr>
              <p:cNvSpPr/>
              <p:nvPr/>
            </p:nvSpPr>
            <p:spPr>
              <a:xfrm rot="8100000" flipH="1" flipV="1">
                <a:off x="5813993" y="3798436"/>
                <a:ext cx="1529991" cy="497969"/>
              </a:xfrm>
              <a:prstGeom prst="triangle">
                <a:avLst/>
              </a:prstGeom>
              <a:solidFill>
                <a:schemeClr val="bg1">
                  <a:lumMod val="8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62500" lnSpcReduction="20000"/>
              </a:bodyPr>
              <a:lstStyle/>
              <a:p>
                <a:pPr algn="ctr"/>
                <a:endParaRPr/>
              </a:p>
            </p:txBody>
          </p:sp>
          <p:sp>
            <p:nvSpPr>
              <p:cNvPr id="31" name="îṧ1íḑé">
                <a:extLst>
                  <a:ext uri="{FF2B5EF4-FFF2-40B4-BE49-F238E27FC236}">
                    <a16:creationId xmlns:a16="http://schemas.microsoft.com/office/drawing/2014/main" id="{47B19EFC-C433-46A8-9CB5-506CA53C9680}"/>
                  </a:ext>
                </a:extLst>
              </p:cNvPr>
              <p:cNvSpPr/>
              <p:nvPr/>
            </p:nvSpPr>
            <p:spPr>
              <a:xfrm rot="13500000" flipH="1" flipV="1">
                <a:off x="6574639" y="3894031"/>
                <a:ext cx="1231913" cy="1529991"/>
              </a:xfrm>
              <a:prstGeom prst="homePlate">
                <a:avLst>
                  <a:gd name="adj" fmla="val 30072"/>
                </a:avLst>
              </a:prstGeom>
              <a:solidFill>
                <a:schemeClr val="accent2"/>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32" name="i$liḋé">
                <a:extLst>
                  <a:ext uri="{FF2B5EF4-FFF2-40B4-BE49-F238E27FC236}">
                    <a16:creationId xmlns:a16="http://schemas.microsoft.com/office/drawing/2014/main" id="{D14DC002-9F83-4696-9773-006FBF1F87AC}"/>
                  </a:ext>
                </a:extLst>
              </p:cNvPr>
              <p:cNvSpPr/>
              <p:nvPr/>
            </p:nvSpPr>
            <p:spPr bwMode="auto">
              <a:xfrm>
                <a:off x="4817198" y="4363443"/>
                <a:ext cx="504572" cy="426399"/>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rmAutofit/>
              </a:bodyPr>
              <a:lstStyle/>
              <a:p>
                <a:pPr algn="ctr"/>
                <a:endParaRPr/>
              </a:p>
            </p:txBody>
          </p:sp>
          <p:sp>
            <p:nvSpPr>
              <p:cNvPr id="33" name="ïşḻidê">
                <a:extLst>
                  <a:ext uri="{FF2B5EF4-FFF2-40B4-BE49-F238E27FC236}">
                    <a16:creationId xmlns:a16="http://schemas.microsoft.com/office/drawing/2014/main" id="{119C5316-242B-4650-8DFC-67A9224508ED}"/>
                  </a:ext>
                </a:extLst>
              </p:cNvPr>
              <p:cNvSpPr/>
              <p:nvPr/>
            </p:nvSpPr>
            <p:spPr bwMode="auto">
              <a:xfrm>
                <a:off x="6912571" y="2386007"/>
                <a:ext cx="495060" cy="418361"/>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rmAutofit/>
              </a:bodyPr>
              <a:lstStyle/>
              <a:p>
                <a:pPr algn="ctr"/>
                <a:endParaRPr/>
              </a:p>
            </p:txBody>
          </p:sp>
          <p:sp>
            <p:nvSpPr>
              <p:cNvPr id="34" name="íšľíde">
                <a:extLst>
                  <a:ext uri="{FF2B5EF4-FFF2-40B4-BE49-F238E27FC236}">
                    <a16:creationId xmlns:a16="http://schemas.microsoft.com/office/drawing/2014/main" id="{442FA213-15CA-489B-A849-9B3600B28851}"/>
                  </a:ext>
                </a:extLst>
              </p:cNvPr>
              <p:cNvSpPr/>
              <p:nvPr/>
            </p:nvSpPr>
            <p:spPr bwMode="auto">
              <a:xfrm>
                <a:off x="4856665" y="2415340"/>
                <a:ext cx="425638" cy="359694"/>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rmAutofit lnSpcReduction="10000"/>
              </a:bodyPr>
              <a:lstStyle/>
              <a:p>
                <a:pPr algn="ctr"/>
                <a:endParaRPr/>
              </a:p>
            </p:txBody>
          </p:sp>
          <p:sp>
            <p:nvSpPr>
              <p:cNvPr id="35" name="i$1iďe">
                <a:extLst>
                  <a:ext uri="{FF2B5EF4-FFF2-40B4-BE49-F238E27FC236}">
                    <a16:creationId xmlns:a16="http://schemas.microsoft.com/office/drawing/2014/main" id="{864417E4-64B3-4850-AA19-27415B39721A}"/>
                  </a:ext>
                </a:extLst>
              </p:cNvPr>
              <p:cNvSpPr/>
              <p:nvPr/>
            </p:nvSpPr>
            <p:spPr bwMode="auto">
              <a:xfrm>
                <a:off x="6923458" y="4376663"/>
                <a:ext cx="473286" cy="399960"/>
              </a:xfrm>
              <a:custGeom>
                <a:avLst/>
                <a:gdLst>
                  <a:gd name="connsiteX0" fmla="*/ 46038 w 338138"/>
                  <a:gd name="connsiteY0" fmla="*/ 261938 h 285751"/>
                  <a:gd name="connsiteX1" fmla="*/ 38100 w 338138"/>
                  <a:gd name="connsiteY1" fmla="*/ 270670 h 285751"/>
                  <a:gd name="connsiteX2" fmla="*/ 46038 w 338138"/>
                  <a:gd name="connsiteY2" fmla="*/ 279402 h 285751"/>
                  <a:gd name="connsiteX3" fmla="*/ 53976 w 338138"/>
                  <a:gd name="connsiteY3" fmla="*/ 270670 h 285751"/>
                  <a:gd name="connsiteX4" fmla="*/ 46038 w 338138"/>
                  <a:gd name="connsiteY4" fmla="*/ 261938 h 285751"/>
                  <a:gd name="connsiteX5" fmla="*/ 288131 w 338138"/>
                  <a:gd name="connsiteY5" fmla="*/ 184150 h 285751"/>
                  <a:gd name="connsiteX6" fmla="*/ 277812 w 338138"/>
                  <a:gd name="connsiteY6" fmla="*/ 194469 h 285751"/>
                  <a:gd name="connsiteX7" fmla="*/ 288131 w 338138"/>
                  <a:gd name="connsiteY7" fmla="*/ 204788 h 285751"/>
                  <a:gd name="connsiteX8" fmla="*/ 298450 w 338138"/>
                  <a:gd name="connsiteY8" fmla="*/ 194469 h 285751"/>
                  <a:gd name="connsiteX9" fmla="*/ 288131 w 338138"/>
                  <a:gd name="connsiteY9" fmla="*/ 184150 h 285751"/>
                  <a:gd name="connsiteX10" fmla="*/ 19050 w 338138"/>
                  <a:gd name="connsiteY10" fmla="*/ 165100 h 285751"/>
                  <a:gd name="connsiteX11" fmla="*/ 19050 w 338138"/>
                  <a:gd name="connsiteY11" fmla="*/ 242888 h 285751"/>
                  <a:gd name="connsiteX12" fmla="*/ 73025 w 338138"/>
                  <a:gd name="connsiteY12" fmla="*/ 242888 h 285751"/>
                  <a:gd name="connsiteX13" fmla="*/ 73025 w 338138"/>
                  <a:gd name="connsiteY13" fmla="*/ 165100 h 285751"/>
                  <a:gd name="connsiteX14" fmla="*/ 12010 w 338138"/>
                  <a:gd name="connsiteY14" fmla="*/ 141288 h 285751"/>
                  <a:gd name="connsiteX15" fmla="*/ 81400 w 338138"/>
                  <a:gd name="connsiteY15" fmla="*/ 141288 h 285751"/>
                  <a:gd name="connsiteX16" fmla="*/ 92075 w 338138"/>
                  <a:gd name="connsiteY16" fmla="*/ 153107 h 285751"/>
                  <a:gd name="connsiteX17" fmla="*/ 92075 w 338138"/>
                  <a:gd name="connsiteY17" fmla="*/ 273932 h 285751"/>
                  <a:gd name="connsiteX18" fmla="*/ 81400 w 338138"/>
                  <a:gd name="connsiteY18" fmla="*/ 285751 h 285751"/>
                  <a:gd name="connsiteX19" fmla="*/ 12010 w 338138"/>
                  <a:gd name="connsiteY19" fmla="*/ 285751 h 285751"/>
                  <a:gd name="connsiteX20" fmla="*/ 0 w 338138"/>
                  <a:gd name="connsiteY20" fmla="*/ 273932 h 285751"/>
                  <a:gd name="connsiteX21" fmla="*/ 0 w 338138"/>
                  <a:gd name="connsiteY21" fmla="*/ 153107 h 285751"/>
                  <a:gd name="connsiteX22" fmla="*/ 12010 w 338138"/>
                  <a:gd name="connsiteY22" fmla="*/ 141288 h 285751"/>
                  <a:gd name="connsiteX23" fmla="*/ 55002 w 338138"/>
                  <a:gd name="connsiteY23" fmla="*/ 82550 h 285751"/>
                  <a:gd name="connsiteX24" fmla="*/ 175185 w 338138"/>
                  <a:gd name="connsiteY24" fmla="*/ 82550 h 285751"/>
                  <a:gd name="connsiteX25" fmla="*/ 193675 w 338138"/>
                  <a:gd name="connsiteY25" fmla="*/ 99703 h 285751"/>
                  <a:gd name="connsiteX26" fmla="*/ 193675 w 338138"/>
                  <a:gd name="connsiteY26" fmla="*/ 268597 h 285751"/>
                  <a:gd name="connsiteX27" fmla="*/ 175185 w 338138"/>
                  <a:gd name="connsiteY27" fmla="*/ 285750 h 285751"/>
                  <a:gd name="connsiteX28" fmla="*/ 107830 w 338138"/>
                  <a:gd name="connsiteY28" fmla="*/ 285750 h 285751"/>
                  <a:gd name="connsiteX29" fmla="*/ 109151 w 338138"/>
                  <a:gd name="connsiteY29" fmla="*/ 276514 h 285751"/>
                  <a:gd name="connsiteX30" fmla="*/ 109151 w 338138"/>
                  <a:gd name="connsiteY30" fmla="*/ 273875 h 285751"/>
                  <a:gd name="connsiteX31" fmla="*/ 115754 w 338138"/>
                  <a:gd name="connsiteY31" fmla="*/ 275194 h 285751"/>
                  <a:gd name="connsiteX32" fmla="*/ 124999 w 338138"/>
                  <a:gd name="connsiteY32" fmla="*/ 264639 h 285751"/>
                  <a:gd name="connsiteX33" fmla="*/ 115754 w 338138"/>
                  <a:gd name="connsiteY33" fmla="*/ 254083 h 285751"/>
                  <a:gd name="connsiteX34" fmla="*/ 109151 w 338138"/>
                  <a:gd name="connsiteY34" fmla="*/ 256722 h 285751"/>
                  <a:gd name="connsiteX35" fmla="*/ 109151 w 338138"/>
                  <a:gd name="connsiteY35" fmla="*/ 235610 h 285751"/>
                  <a:gd name="connsiteX36" fmla="*/ 168582 w 338138"/>
                  <a:gd name="connsiteY36" fmla="*/ 235610 h 285751"/>
                  <a:gd name="connsiteX37" fmla="*/ 168582 w 338138"/>
                  <a:gd name="connsiteY37" fmla="*/ 110259 h 285751"/>
                  <a:gd name="connsiteX38" fmla="*/ 61606 w 338138"/>
                  <a:gd name="connsiteY38" fmla="*/ 110259 h 285751"/>
                  <a:gd name="connsiteX39" fmla="*/ 61606 w 338138"/>
                  <a:gd name="connsiteY39" fmla="*/ 126093 h 285751"/>
                  <a:gd name="connsiteX40" fmla="*/ 36512 w 338138"/>
                  <a:gd name="connsiteY40" fmla="*/ 126093 h 285751"/>
                  <a:gd name="connsiteX41" fmla="*/ 36512 w 338138"/>
                  <a:gd name="connsiteY41" fmla="*/ 99703 h 285751"/>
                  <a:gd name="connsiteX42" fmla="*/ 55002 w 338138"/>
                  <a:gd name="connsiteY42" fmla="*/ 82550 h 285751"/>
                  <a:gd name="connsiteX43" fmla="*/ 102729 w 338138"/>
                  <a:gd name="connsiteY43" fmla="*/ 0 h 285751"/>
                  <a:gd name="connsiteX44" fmla="*/ 305260 w 338138"/>
                  <a:gd name="connsiteY44" fmla="*/ 0 h 285751"/>
                  <a:gd name="connsiteX45" fmla="*/ 338138 w 338138"/>
                  <a:gd name="connsiteY45" fmla="*/ 34237 h 285751"/>
                  <a:gd name="connsiteX46" fmla="*/ 338138 w 338138"/>
                  <a:gd name="connsiteY46" fmla="*/ 188306 h 285751"/>
                  <a:gd name="connsiteX47" fmla="*/ 305260 w 338138"/>
                  <a:gd name="connsiteY47" fmla="*/ 221226 h 285751"/>
                  <a:gd name="connsiteX48" fmla="*/ 234242 w 338138"/>
                  <a:gd name="connsiteY48" fmla="*/ 221226 h 285751"/>
                  <a:gd name="connsiteX49" fmla="*/ 234242 w 338138"/>
                  <a:gd name="connsiteY49" fmla="*/ 243612 h 285751"/>
                  <a:gd name="connsiteX50" fmla="*/ 265806 w 338138"/>
                  <a:gd name="connsiteY50" fmla="*/ 243612 h 285751"/>
                  <a:gd name="connsiteX51" fmla="*/ 277642 w 338138"/>
                  <a:gd name="connsiteY51" fmla="*/ 256780 h 285751"/>
                  <a:gd name="connsiteX52" fmla="*/ 277642 w 338138"/>
                  <a:gd name="connsiteY52" fmla="*/ 272582 h 285751"/>
                  <a:gd name="connsiteX53" fmla="*/ 265806 w 338138"/>
                  <a:gd name="connsiteY53" fmla="*/ 285750 h 285751"/>
                  <a:gd name="connsiteX54" fmla="*/ 205309 w 338138"/>
                  <a:gd name="connsiteY54" fmla="*/ 285750 h 285751"/>
                  <a:gd name="connsiteX55" fmla="*/ 210570 w 338138"/>
                  <a:gd name="connsiteY55" fmla="*/ 269948 h 285751"/>
                  <a:gd name="connsiteX56" fmla="*/ 210570 w 338138"/>
                  <a:gd name="connsiteY56" fmla="*/ 213325 h 285751"/>
                  <a:gd name="connsiteX57" fmla="*/ 210570 w 338138"/>
                  <a:gd name="connsiteY57" fmla="*/ 172504 h 285751"/>
                  <a:gd name="connsiteX58" fmla="*/ 296054 w 338138"/>
                  <a:gd name="connsiteY58" fmla="*/ 172504 h 285751"/>
                  <a:gd name="connsiteX59" fmla="*/ 309205 w 338138"/>
                  <a:gd name="connsiteY59" fmla="*/ 159335 h 285751"/>
                  <a:gd name="connsiteX60" fmla="*/ 309205 w 338138"/>
                  <a:gd name="connsiteY60" fmla="*/ 39504 h 285751"/>
                  <a:gd name="connsiteX61" fmla="*/ 296054 w 338138"/>
                  <a:gd name="connsiteY61" fmla="*/ 27653 h 285751"/>
                  <a:gd name="connsiteX62" fmla="*/ 110620 w 338138"/>
                  <a:gd name="connsiteY62" fmla="*/ 27653 h 285751"/>
                  <a:gd name="connsiteX63" fmla="*/ 98783 w 338138"/>
                  <a:gd name="connsiteY63" fmla="*/ 39504 h 285751"/>
                  <a:gd name="connsiteX64" fmla="*/ 98783 w 338138"/>
                  <a:gd name="connsiteY64" fmla="*/ 65841 h 285751"/>
                  <a:gd name="connsiteX65" fmla="*/ 69850 w 338138"/>
                  <a:gd name="connsiteY65" fmla="*/ 65841 h 285751"/>
                  <a:gd name="connsiteX66" fmla="*/ 69850 w 338138"/>
                  <a:gd name="connsiteY66" fmla="*/ 34237 h 285751"/>
                  <a:gd name="connsiteX67" fmla="*/ 102729 w 338138"/>
                  <a:gd name="connsiteY67" fmla="*/ 0 h 2857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38138" h="285751">
                    <a:moveTo>
                      <a:pt x="46038" y="261938"/>
                    </a:moveTo>
                    <a:cubicBezTo>
                      <a:pt x="41654" y="261938"/>
                      <a:pt x="38100" y="265847"/>
                      <a:pt x="38100" y="270670"/>
                    </a:cubicBezTo>
                    <a:cubicBezTo>
                      <a:pt x="38100" y="275493"/>
                      <a:pt x="41654" y="279402"/>
                      <a:pt x="46038" y="279402"/>
                    </a:cubicBezTo>
                    <a:cubicBezTo>
                      <a:pt x="50422" y="279402"/>
                      <a:pt x="53976" y="275493"/>
                      <a:pt x="53976" y="270670"/>
                    </a:cubicBezTo>
                    <a:cubicBezTo>
                      <a:pt x="53976" y="265847"/>
                      <a:pt x="50422" y="261938"/>
                      <a:pt x="46038" y="261938"/>
                    </a:cubicBezTo>
                    <a:close/>
                    <a:moveTo>
                      <a:pt x="288131" y="184150"/>
                    </a:moveTo>
                    <a:cubicBezTo>
                      <a:pt x="282432" y="184150"/>
                      <a:pt x="277812" y="188770"/>
                      <a:pt x="277812" y="194469"/>
                    </a:cubicBezTo>
                    <a:cubicBezTo>
                      <a:pt x="277812" y="200168"/>
                      <a:pt x="282432" y="204788"/>
                      <a:pt x="288131" y="204788"/>
                    </a:cubicBezTo>
                    <a:cubicBezTo>
                      <a:pt x="293830" y="204788"/>
                      <a:pt x="298450" y="200168"/>
                      <a:pt x="298450" y="194469"/>
                    </a:cubicBezTo>
                    <a:cubicBezTo>
                      <a:pt x="298450" y="188770"/>
                      <a:pt x="293830" y="184150"/>
                      <a:pt x="288131" y="184150"/>
                    </a:cubicBezTo>
                    <a:close/>
                    <a:moveTo>
                      <a:pt x="19050" y="165100"/>
                    </a:moveTo>
                    <a:lnTo>
                      <a:pt x="19050" y="242888"/>
                    </a:lnTo>
                    <a:lnTo>
                      <a:pt x="73025" y="242888"/>
                    </a:lnTo>
                    <a:lnTo>
                      <a:pt x="73025" y="165100"/>
                    </a:lnTo>
                    <a:close/>
                    <a:moveTo>
                      <a:pt x="12010" y="141288"/>
                    </a:moveTo>
                    <a:cubicBezTo>
                      <a:pt x="12010" y="141288"/>
                      <a:pt x="12010" y="141288"/>
                      <a:pt x="81400" y="141288"/>
                    </a:cubicBezTo>
                    <a:cubicBezTo>
                      <a:pt x="86738" y="141288"/>
                      <a:pt x="92075" y="146541"/>
                      <a:pt x="92075" y="153107"/>
                    </a:cubicBezTo>
                    <a:cubicBezTo>
                      <a:pt x="92075" y="153107"/>
                      <a:pt x="92075" y="153107"/>
                      <a:pt x="92075" y="273932"/>
                    </a:cubicBezTo>
                    <a:cubicBezTo>
                      <a:pt x="92075" y="280498"/>
                      <a:pt x="86738" y="285751"/>
                      <a:pt x="81400" y="285751"/>
                    </a:cubicBezTo>
                    <a:cubicBezTo>
                      <a:pt x="81400" y="285751"/>
                      <a:pt x="81400" y="285751"/>
                      <a:pt x="12010" y="285751"/>
                    </a:cubicBezTo>
                    <a:cubicBezTo>
                      <a:pt x="5337" y="285751"/>
                      <a:pt x="0" y="280498"/>
                      <a:pt x="0" y="273932"/>
                    </a:cubicBezTo>
                    <a:cubicBezTo>
                      <a:pt x="0" y="273932"/>
                      <a:pt x="0" y="273932"/>
                      <a:pt x="0" y="153107"/>
                    </a:cubicBezTo>
                    <a:cubicBezTo>
                      <a:pt x="0" y="146541"/>
                      <a:pt x="5337" y="141288"/>
                      <a:pt x="12010" y="141288"/>
                    </a:cubicBezTo>
                    <a:close/>
                    <a:moveTo>
                      <a:pt x="55002" y="82550"/>
                    </a:moveTo>
                    <a:cubicBezTo>
                      <a:pt x="55002" y="82550"/>
                      <a:pt x="55002" y="82550"/>
                      <a:pt x="175185" y="82550"/>
                    </a:cubicBezTo>
                    <a:cubicBezTo>
                      <a:pt x="185751" y="82550"/>
                      <a:pt x="193675" y="90467"/>
                      <a:pt x="193675" y="99703"/>
                    </a:cubicBezTo>
                    <a:cubicBezTo>
                      <a:pt x="193675" y="99703"/>
                      <a:pt x="193675" y="99703"/>
                      <a:pt x="193675" y="268597"/>
                    </a:cubicBezTo>
                    <a:cubicBezTo>
                      <a:pt x="193675" y="277833"/>
                      <a:pt x="185751" y="285750"/>
                      <a:pt x="175185" y="285750"/>
                    </a:cubicBezTo>
                    <a:cubicBezTo>
                      <a:pt x="175185" y="285750"/>
                      <a:pt x="175185" y="285750"/>
                      <a:pt x="107830" y="285750"/>
                    </a:cubicBezTo>
                    <a:cubicBezTo>
                      <a:pt x="109151" y="283111"/>
                      <a:pt x="109151" y="280472"/>
                      <a:pt x="109151" y="276514"/>
                    </a:cubicBezTo>
                    <a:cubicBezTo>
                      <a:pt x="109151" y="276514"/>
                      <a:pt x="109151" y="276514"/>
                      <a:pt x="109151" y="273875"/>
                    </a:cubicBezTo>
                    <a:cubicBezTo>
                      <a:pt x="110471" y="273875"/>
                      <a:pt x="113113" y="275194"/>
                      <a:pt x="115754" y="275194"/>
                    </a:cubicBezTo>
                    <a:cubicBezTo>
                      <a:pt x="121037" y="275194"/>
                      <a:pt x="124999" y="271236"/>
                      <a:pt x="124999" y="264639"/>
                    </a:cubicBezTo>
                    <a:cubicBezTo>
                      <a:pt x="124999" y="259361"/>
                      <a:pt x="121037" y="254083"/>
                      <a:pt x="115754" y="254083"/>
                    </a:cubicBezTo>
                    <a:cubicBezTo>
                      <a:pt x="113113" y="254083"/>
                      <a:pt x="110471" y="255402"/>
                      <a:pt x="109151" y="256722"/>
                    </a:cubicBezTo>
                    <a:cubicBezTo>
                      <a:pt x="109151" y="256722"/>
                      <a:pt x="109151" y="256722"/>
                      <a:pt x="109151" y="235610"/>
                    </a:cubicBezTo>
                    <a:cubicBezTo>
                      <a:pt x="109151" y="235610"/>
                      <a:pt x="109151" y="235610"/>
                      <a:pt x="168582" y="235610"/>
                    </a:cubicBezTo>
                    <a:cubicBezTo>
                      <a:pt x="168582" y="235610"/>
                      <a:pt x="168582" y="235610"/>
                      <a:pt x="168582" y="110259"/>
                    </a:cubicBezTo>
                    <a:cubicBezTo>
                      <a:pt x="168582" y="110259"/>
                      <a:pt x="168582" y="110259"/>
                      <a:pt x="61606" y="110259"/>
                    </a:cubicBezTo>
                    <a:cubicBezTo>
                      <a:pt x="61606" y="110259"/>
                      <a:pt x="61606" y="110259"/>
                      <a:pt x="61606" y="126093"/>
                    </a:cubicBezTo>
                    <a:cubicBezTo>
                      <a:pt x="61606" y="126093"/>
                      <a:pt x="61606" y="126093"/>
                      <a:pt x="36512" y="126093"/>
                    </a:cubicBezTo>
                    <a:cubicBezTo>
                      <a:pt x="36512" y="126093"/>
                      <a:pt x="36512" y="126093"/>
                      <a:pt x="36512" y="99703"/>
                    </a:cubicBezTo>
                    <a:cubicBezTo>
                      <a:pt x="36512" y="90467"/>
                      <a:pt x="45757" y="82550"/>
                      <a:pt x="55002" y="82550"/>
                    </a:cubicBezTo>
                    <a:close/>
                    <a:moveTo>
                      <a:pt x="102729" y="0"/>
                    </a:moveTo>
                    <a:cubicBezTo>
                      <a:pt x="102729" y="0"/>
                      <a:pt x="102729" y="0"/>
                      <a:pt x="305260" y="0"/>
                    </a:cubicBezTo>
                    <a:cubicBezTo>
                      <a:pt x="323672" y="0"/>
                      <a:pt x="338138" y="15802"/>
                      <a:pt x="338138" y="34237"/>
                    </a:cubicBezTo>
                    <a:cubicBezTo>
                      <a:pt x="338138" y="34237"/>
                      <a:pt x="338138" y="34237"/>
                      <a:pt x="338138" y="188306"/>
                    </a:cubicBezTo>
                    <a:cubicBezTo>
                      <a:pt x="338138" y="206741"/>
                      <a:pt x="323672" y="221226"/>
                      <a:pt x="305260" y="221226"/>
                    </a:cubicBezTo>
                    <a:cubicBezTo>
                      <a:pt x="305260" y="221226"/>
                      <a:pt x="305260" y="221226"/>
                      <a:pt x="234242" y="221226"/>
                    </a:cubicBezTo>
                    <a:cubicBezTo>
                      <a:pt x="234242" y="221226"/>
                      <a:pt x="234242" y="221226"/>
                      <a:pt x="234242" y="243612"/>
                    </a:cubicBezTo>
                    <a:cubicBezTo>
                      <a:pt x="234242" y="243612"/>
                      <a:pt x="234242" y="243612"/>
                      <a:pt x="265806" y="243612"/>
                    </a:cubicBezTo>
                    <a:cubicBezTo>
                      <a:pt x="272381" y="243612"/>
                      <a:pt x="277642" y="250196"/>
                      <a:pt x="277642" y="256780"/>
                    </a:cubicBezTo>
                    <a:cubicBezTo>
                      <a:pt x="277642" y="256780"/>
                      <a:pt x="277642" y="256780"/>
                      <a:pt x="277642" y="272582"/>
                    </a:cubicBezTo>
                    <a:cubicBezTo>
                      <a:pt x="277642" y="280483"/>
                      <a:pt x="272381" y="285750"/>
                      <a:pt x="265806" y="285750"/>
                    </a:cubicBezTo>
                    <a:cubicBezTo>
                      <a:pt x="265806" y="285750"/>
                      <a:pt x="265806" y="285750"/>
                      <a:pt x="205309" y="285750"/>
                    </a:cubicBezTo>
                    <a:cubicBezTo>
                      <a:pt x="207940" y="280483"/>
                      <a:pt x="209255" y="275216"/>
                      <a:pt x="210570" y="269948"/>
                    </a:cubicBezTo>
                    <a:cubicBezTo>
                      <a:pt x="210570" y="268632"/>
                      <a:pt x="210570" y="213325"/>
                      <a:pt x="210570" y="213325"/>
                    </a:cubicBezTo>
                    <a:cubicBezTo>
                      <a:pt x="210570" y="213325"/>
                      <a:pt x="210570" y="213325"/>
                      <a:pt x="210570" y="172504"/>
                    </a:cubicBezTo>
                    <a:cubicBezTo>
                      <a:pt x="210570" y="172504"/>
                      <a:pt x="210570" y="172504"/>
                      <a:pt x="296054" y="172504"/>
                    </a:cubicBezTo>
                    <a:cubicBezTo>
                      <a:pt x="303945" y="172504"/>
                      <a:pt x="309205" y="165920"/>
                      <a:pt x="309205" y="159335"/>
                    </a:cubicBezTo>
                    <a:cubicBezTo>
                      <a:pt x="309205" y="159335"/>
                      <a:pt x="309205" y="159335"/>
                      <a:pt x="309205" y="39504"/>
                    </a:cubicBezTo>
                    <a:cubicBezTo>
                      <a:pt x="309205" y="32920"/>
                      <a:pt x="303945" y="27653"/>
                      <a:pt x="296054" y="27653"/>
                    </a:cubicBezTo>
                    <a:cubicBezTo>
                      <a:pt x="296054" y="27653"/>
                      <a:pt x="296054" y="27653"/>
                      <a:pt x="110620" y="27653"/>
                    </a:cubicBezTo>
                    <a:cubicBezTo>
                      <a:pt x="104044" y="27653"/>
                      <a:pt x="98783" y="32920"/>
                      <a:pt x="98783" y="39504"/>
                    </a:cubicBezTo>
                    <a:cubicBezTo>
                      <a:pt x="98783" y="39504"/>
                      <a:pt x="98783" y="39504"/>
                      <a:pt x="98783" y="65841"/>
                    </a:cubicBezTo>
                    <a:cubicBezTo>
                      <a:pt x="98783" y="65841"/>
                      <a:pt x="98783" y="65841"/>
                      <a:pt x="69850" y="65841"/>
                    </a:cubicBezTo>
                    <a:cubicBezTo>
                      <a:pt x="69850" y="65841"/>
                      <a:pt x="69850" y="65841"/>
                      <a:pt x="69850" y="34237"/>
                    </a:cubicBezTo>
                    <a:cubicBezTo>
                      <a:pt x="69850" y="15802"/>
                      <a:pt x="84317" y="0"/>
                      <a:pt x="102729" y="0"/>
                    </a:cubicBezTo>
                    <a:close/>
                  </a:path>
                </a:pathLst>
              </a:custGeom>
              <a:solidFill>
                <a:schemeClr val="bg1"/>
              </a:solidFill>
              <a:ln>
                <a:noFill/>
              </a:ln>
            </p:spPr>
            <p:txBody>
              <a:bodyPr wrap="square" lIns="91440" tIns="45720" rIns="91440" bIns="45720" anchor="ctr">
                <a:normAutofit/>
              </a:bodyPr>
              <a:lstStyle/>
              <a:p>
                <a:pPr algn="ctr"/>
                <a:endParaRPr/>
              </a:p>
            </p:txBody>
          </p:sp>
        </p:grpSp>
        <p:cxnSp>
          <p:nvCxnSpPr>
            <p:cNvPr id="7" name="直接连接符 6">
              <a:extLst>
                <a:ext uri="{FF2B5EF4-FFF2-40B4-BE49-F238E27FC236}">
                  <a16:creationId xmlns:a16="http://schemas.microsoft.com/office/drawing/2014/main" id="{BDFE13F3-BE89-4D72-83DD-1F762FCE01E3}"/>
                </a:ext>
              </a:extLst>
            </p:cNvPr>
            <p:cNvCxnSpPr/>
            <p:nvPr/>
          </p:nvCxnSpPr>
          <p:spPr>
            <a:xfrm>
              <a:off x="669925" y="3621024"/>
              <a:ext cx="4048379"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A181A81D-A123-47FE-94F4-5A3B9B28BA18}"/>
                </a:ext>
              </a:extLst>
            </p:cNvPr>
            <p:cNvCxnSpPr/>
            <p:nvPr/>
          </p:nvCxnSpPr>
          <p:spPr>
            <a:xfrm>
              <a:off x="7473061" y="3621024"/>
              <a:ext cx="4048379" cy="0"/>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9" name="íṡ1iďé">
              <a:extLst>
                <a:ext uri="{FF2B5EF4-FFF2-40B4-BE49-F238E27FC236}">
                  <a16:creationId xmlns:a16="http://schemas.microsoft.com/office/drawing/2014/main" id="{2105E891-66B1-44DF-8DB6-660419F3C4EC}"/>
                </a:ext>
              </a:extLst>
            </p:cNvPr>
            <p:cNvSpPr/>
            <p:nvPr/>
          </p:nvSpPr>
          <p:spPr bwMode="auto">
            <a:xfrm>
              <a:off x="669925" y="2415340"/>
              <a:ext cx="1561211" cy="724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a:t>Supporting text here. </a:t>
              </a:r>
            </a:p>
            <a:p>
              <a:pPr algn="ctr">
                <a:lnSpc>
                  <a:spcPct val="130000"/>
                </a:lnSpc>
              </a:pPr>
              <a:r>
                <a:rPr lang="en-US" altLang="zh-CN" sz="1100"/>
                <a:t>… …</a:t>
              </a:r>
              <a:endParaRPr lang="en-US" altLang="zh-CN" sz="1100" dirty="0"/>
            </a:p>
          </p:txBody>
        </p:sp>
        <p:sp>
          <p:nvSpPr>
            <p:cNvPr id="10" name="ïṩḷîḍé">
              <a:extLst>
                <a:ext uri="{FF2B5EF4-FFF2-40B4-BE49-F238E27FC236}">
                  <a16:creationId xmlns:a16="http://schemas.microsoft.com/office/drawing/2014/main" id="{D9F52412-EFF6-4F8A-9B8C-53E05A4D3D10}"/>
                </a:ext>
              </a:extLst>
            </p:cNvPr>
            <p:cNvSpPr txBox="1"/>
            <p:nvPr/>
          </p:nvSpPr>
          <p:spPr bwMode="auto">
            <a:xfrm>
              <a:off x="669926" y="1934957"/>
              <a:ext cx="1561210" cy="48038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sp>
          <p:nvSpPr>
            <p:cNvPr id="11" name="iṣḻídé">
              <a:extLst>
                <a:ext uri="{FF2B5EF4-FFF2-40B4-BE49-F238E27FC236}">
                  <a16:creationId xmlns:a16="http://schemas.microsoft.com/office/drawing/2014/main" id="{649B4AEF-B763-404B-8432-F98791059E3E}"/>
                </a:ext>
              </a:extLst>
            </p:cNvPr>
            <p:cNvSpPr/>
            <p:nvPr/>
          </p:nvSpPr>
          <p:spPr bwMode="auto">
            <a:xfrm>
              <a:off x="2623286" y="2415340"/>
              <a:ext cx="1561211" cy="724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a:t>Supporting text here. </a:t>
              </a:r>
            </a:p>
            <a:p>
              <a:pPr algn="ctr">
                <a:lnSpc>
                  <a:spcPct val="130000"/>
                </a:lnSpc>
              </a:pPr>
              <a:r>
                <a:rPr lang="en-US" altLang="zh-CN" sz="1100"/>
                <a:t>… …</a:t>
              </a:r>
              <a:endParaRPr lang="en-US" altLang="zh-CN" sz="1100" dirty="0"/>
            </a:p>
          </p:txBody>
        </p:sp>
        <p:sp>
          <p:nvSpPr>
            <p:cNvPr id="12" name="íṥlîde">
              <a:extLst>
                <a:ext uri="{FF2B5EF4-FFF2-40B4-BE49-F238E27FC236}">
                  <a16:creationId xmlns:a16="http://schemas.microsoft.com/office/drawing/2014/main" id="{8AAABC4E-B74C-49E7-947E-78FB2FC8F18C}"/>
                </a:ext>
              </a:extLst>
            </p:cNvPr>
            <p:cNvSpPr txBox="1"/>
            <p:nvPr/>
          </p:nvSpPr>
          <p:spPr bwMode="auto">
            <a:xfrm>
              <a:off x="2623287" y="1934957"/>
              <a:ext cx="1561210" cy="48038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sp>
          <p:nvSpPr>
            <p:cNvPr id="13" name="isḷïḋè">
              <a:extLst>
                <a:ext uri="{FF2B5EF4-FFF2-40B4-BE49-F238E27FC236}">
                  <a16:creationId xmlns:a16="http://schemas.microsoft.com/office/drawing/2014/main" id="{9584FB85-ACDA-4F6A-9705-E51A9D134DAB}"/>
                </a:ext>
              </a:extLst>
            </p:cNvPr>
            <p:cNvSpPr/>
            <p:nvPr/>
          </p:nvSpPr>
          <p:spPr bwMode="auto">
            <a:xfrm>
              <a:off x="669925" y="4503612"/>
              <a:ext cx="1561211" cy="724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a:t>Supporting text here. </a:t>
              </a:r>
            </a:p>
            <a:p>
              <a:pPr algn="ctr">
                <a:lnSpc>
                  <a:spcPct val="130000"/>
                </a:lnSpc>
              </a:pPr>
              <a:r>
                <a:rPr lang="en-US" altLang="zh-CN" sz="1100"/>
                <a:t>… …</a:t>
              </a:r>
              <a:endParaRPr lang="en-US" altLang="zh-CN" sz="1100" dirty="0"/>
            </a:p>
          </p:txBody>
        </p:sp>
        <p:sp>
          <p:nvSpPr>
            <p:cNvPr id="14" name="îslïḓê">
              <a:extLst>
                <a:ext uri="{FF2B5EF4-FFF2-40B4-BE49-F238E27FC236}">
                  <a16:creationId xmlns:a16="http://schemas.microsoft.com/office/drawing/2014/main" id="{73B65D18-AAAB-434A-965E-C719FE511F22}"/>
                </a:ext>
              </a:extLst>
            </p:cNvPr>
            <p:cNvSpPr txBox="1"/>
            <p:nvPr/>
          </p:nvSpPr>
          <p:spPr bwMode="auto">
            <a:xfrm>
              <a:off x="669926" y="4023229"/>
              <a:ext cx="1561210" cy="48038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sp>
          <p:nvSpPr>
            <p:cNvPr id="15" name="íṧ1iḋé">
              <a:extLst>
                <a:ext uri="{FF2B5EF4-FFF2-40B4-BE49-F238E27FC236}">
                  <a16:creationId xmlns:a16="http://schemas.microsoft.com/office/drawing/2014/main" id="{645E4A32-B512-4925-A94B-C32E70A06180}"/>
                </a:ext>
              </a:extLst>
            </p:cNvPr>
            <p:cNvSpPr/>
            <p:nvPr/>
          </p:nvSpPr>
          <p:spPr bwMode="auto">
            <a:xfrm>
              <a:off x="2623286" y="4503612"/>
              <a:ext cx="1561211" cy="724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a:t>Supporting text here. </a:t>
              </a:r>
            </a:p>
            <a:p>
              <a:pPr algn="ctr">
                <a:lnSpc>
                  <a:spcPct val="130000"/>
                </a:lnSpc>
              </a:pPr>
              <a:r>
                <a:rPr lang="en-US" altLang="zh-CN" sz="1100"/>
                <a:t>… …</a:t>
              </a:r>
              <a:endParaRPr lang="en-US" altLang="zh-CN" sz="1100" dirty="0"/>
            </a:p>
          </p:txBody>
        </p:sp>
        <p:sp>
          <p:nvSpPr>
            <p:cNvPr id="16" name="iŝļïḍè">
              <a:extLst>
                <a:ext uri="{FF2B5EF4-FFF2-40B4-BE49-F238E27FC236}">
                  <a16:creationId xmlns:a16="http://schemas.microsoft.com/office/drawing/2014/main" id="{78744D2A-0ACA-40FD-B564-3846E5D906B9}"/>
                </a:ext>
              </a:extLst>
            </p:cNvPr>
            <p:cNvSpPr txBox="1"/>
            <p:nvPr/>
          </p:nvSpPr>
          <p:spPr bwMode="auto">
            <a:xfrm>
              <a:off x="2623287" y="4023229"/>
              <a:ext cx="1561210" cy="48038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sp>
          <p:nvSpPr>
            <p:cNvPr id="17" name="iŝlîḑè">
              <a:extLst>
                <a:ext uri="{FF2B5EF4-FFF2-40B4-BE49-F238E27FC236}">
                  <a16:creationId xmlns:a16="http://schemas.microsoft.com/office/drawing/2014/main" id="{58B83AA4-4F77-4453-AE30-D6E3DB20A66F}"/>
                </a:ext>
              </a:extLst>
            </p:cNvPr>
            <p:cNvSpPr/>
            <p:nvPr/>
          </p:nvSpPr>
          <p:spPr bwMode="auto">
            <a:xfrm>
              <a:off x="8005916" y="2415340"/>
              <a:ext cx="1561211" cy="724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a:t>Supporting text here. </a:t>
              </a:r>
            </a:p>
            <a:p>
              <a:pPr algn="ctr">
                <a:lnSpc>
                  <a:spcPct val="130000"/>
                </a:lnSpc>
              </a:pPr>
              <a:r>
                <a:rPr lang="en-US" altLang="zh-CN" sz="1100"/>
                <a:t>… …</a:t>
              </a:r>
              <a:endParaRPr lang="en-US" altLang="zh-CN" sz="1100" dirty="0"/>
            </a:p>
          </p:txBody>
        </p:sp>
        <p:sp>
          <p:nvSpPr>
            <p:cNvPr id="18" name="ïṣlidé">
              <a:extLst>
                <a:ext uri="{FF2B5EF4-FFF2-40B4-BE49-F238E27FC236}">
                  <a16:creationId xmlns:a16="http://schemas.microsoft.com/office/drawing/2014/main" id="{3ED51DD6-7F2C-469C-930A-DD628C0DC601}"/>
                </a:ext>
              </a:extLst>
            </p:cNvPr>
            <p:cNvSpPr txBox="1"/>
            <p:nvPr/>
          </p:nvSpPr>
          <p:spPr bwMode="auto">
            <a:xfrm>
              <a:off x="8005917" y="1934957"/>
              <a:ext cx="1561210" cy="48038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sp>
          <p:nvSpPr>
            <p:cNvPr id="19" name="ïş1íde">
              <a:extLst>
                <a:ext uri="{FF2B5EF4-FFF2-40B4-BE49-F238E27FC236}">
                  <a16:creationId xmlns:a16="http://schemas.microsoft.com/office/drawing/2014/main" id="{47122B9E-B786-4FD6-BA62-0D1112BCCFFD}"/>
                </a:ext>
              </a:extLst>
            </p:cNvPr>
            <p:cNvSpPr/>
            <p:nvPr/>
          </p:nvSpPr>
          <p:spPr bwMode="auto">
            <a:xfrm>
              <a:off x="9959277" y="2415340"/>
              <a:ext cx="1561211" cy="724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a:t>Supporting text here. </a:t>
              </a:r>
            </a:p>
            <a:p>
              <a:pPr algn="ctr">
                <a:lnSpc>
                  <a:spcPct val="130000"/>
                </a:lnSpc>
              </a:pPr>
              <a:r>
                <a:rPr lang="en-US" altLang="zh-CN" sz="1100"/>
                <a:t>… …</a:t>
              </a:r>
              <a:endParaRPr lang="en-US" altLang="zh-CN" sz="1100" dirty="0"/>
            </a:p>
          </p:txBody>
        </p:sp>
        <p:sp>
          <p:nvSpPr>
            <p:cNvPr id="20" name="ísḷiďè">
              <a:extLst>
                <a:ext uri="{FF2B5EF4-FFF2-40B4-BE49-F238E27FC236}">
                  <a16:creationId xmlns:a16="http://schemas.microsoft.com/office/drawing/2014/main" id="{A6502639-CE7E-416A-BE0E-F1120CB8C335}"/>
                </a:ext>
              </a:extLst>
            </p:cNvPr>
            <p:cNvSpPr txBox="1"/>
            <p:nvPr/>
          </p:nvSpPr>
          <p:spPr bwMode="auto">
            <a:xfrm>
              <a:off x="9959278" y="1934957"/>
              <a:ext cx="1561210" cy="48038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sp>
          <p:nvSpPr>
            <p:cNvPr id="21" name="í$lîḍè">
              <a:extLst>
                <a:ext uri="{FF2B5EF4-FFF2-40B4-BE49-F238E27FC236}">
                  <a16:creationId xmlns:a16="http://schemas.microsoft.com/office/drawing/2014/main" id="{9046D330-4337-4160-8709-3F9F6998B4C8}"/>
                </a:ext>
              </a:extLst>
            </p:cNvPr>
            <p:cNvSpPr/>
            <p:nvPr/>
          </p:nvSpPr>
          <p:spPr bwMode="auto">
            <a:xfrm>
              <a:off x="8005916" y="4503612"/>
              <a:ext cx="1561211" cy="724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a:t>Supporting text here. </a:t>
              </a:r>
            </a:p>
            <a:p>
              <a:pPr algn="ctr">
                <a:lnSpc>
                  <a:spcPct val="130000"/>
                </a:lnSpc>
              </a:pPr>
              <a:r>
                <a:rPr lang="en-US" altLang="zh-CN" sz="1100"/>
                <a:t>… …</a:t>
              </a:r>
              <a:endParaRPr lang="en-US" altLang="zh-CN" sz="1100" dirty="0"/>
            </a:p>
          </p:txBody>
        </p:sp>
        <p:sp>
          <p:nvSpPr>
            <p:cNvPr id="22" name="í$ḷíďé">
              <a:extLst>
                <a:ext uri="{FF2B5EF4-FFF2-40B4-BE49-F238E27FC236}">
                  <a16:creationId xmlns:a16="http://schemas.microsoft.com/office/drawing/2014/main" id="{6C7B3506-43FC-4F82-84A6-A04242C478A5}"/>
                </a:ext>
              </a:extLst>
            </p:cNvPr>
            <p:cNvSpPr txBox="1"/>
            <p:nvPr/>
          </p:nvSpPr>
          <p:spPr bwMode="auto">
            <a:xfrm>
              <a:off x="8005917" y="4023229"/>
              <a:ext cx="1561210" cy="48038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sp>
          <p:nvSpPr>
            <p:cNvPr id="23" name="işļïde">
              <a:extLst>
                <a:ext uri="{FF2B5EF4-FFF2-40B4-BE49-F238E27FC236}">
                  <a16:creationId xmlns:a16="http://schemas.microsoft.com/office/drawing/2014/main" id="{DBFA0624-439A-408C-AA5A-32F5A42AB60D}"/>
                </a:ext>
              </a:extLst>
            </p:cNvPr>
            <p:cNvSpPr/>
            <p:nvPr/>
          </p:nvSpPr>
          <p:spPr bwMode="auto">
            <a:xfrm>
              <a:off x="9959277" y="4503612"/>
              <a:ext cx="1561211" cy="7240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a:lnSpc>
                  <a:spcPct val="130000"/>
                </a:lnSpc>
              </a:pPr>
              <a:r>
                <a:rPr lang="en-US" altLang="zh-CN" sz="1100"/>
                <a:t>Supporting text here. </a:t>
              </a:r>
            </a:p>
            <a:p>
              <a:pPr algn="ctr">
                <a:lnSpc>
                  <a:spcPct val="130000"/>
                </a:lnSpc>
              </a:pPr>
              <a:r>
                <a:rPr lang="en-US" altLang="zh-CN" sz="1100"/>
                <a:t>… …</a:t>
              </a:r>
              <a:endParaRPr lang="en-US" altLang="zh-CN" sz="1100" dirty="0"/>
            </a:p>
          </p:txBody>
        </p:sp>
        <p:sp>
          <p:nvSpPr>
            <p:cNvPr id="24" name="îṡḷíḋe">
              <a:extLst>
                <a:ext uri="{FF2B5EF4-FFF2-40B4-BE49-F238E27FC236}">
                  <a16:creationId xmlns:a16="http://schemas.microsoft.com/office/drawing/2014/main" id="{FBC2052F-2A90-4B7E-B4CA-53FDBD91761D}"/>
                </a:ext>
              </a:extLst>
            </p:cNvPr>
            <p:cNvSpPr txBox="1"/>
            <p:nvPr/>
          </p:nvSpPr>
          <p:spPr bwMode="auto">
            <a:xfrm>
              <a:off x="9959278" y="4023229"/>
              <a:ext cx="1561210" cy="480383"/>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dirty="0"/>
                <a:t>Text here</a:t>
              </a:r>
            </a:p>
          </p:txBody>
        </p:sp>
      </p:grpSp>
    </p:spTree>
    <p:extLst>
      <p:ext uri="{BB962C8B-B14F-4D97-AF65-F5344CB8AC3E}">
        <p14:creationId xmlns:p14="http://schemas.microsoft.com/office/powerpoint/2010/main" val="397690810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7ECC31A-4231-4A60-85D1-6F218A12F187}"/>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D4CF676A-DCE7-490A-88E4-1FD9E8FAA3AC}"/>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B7024B1F-DEF1-4EFF-A1EF-577BB99C4151}"/>
              </a:ext>
            </a:extLst>
          </p:cNvPr>
          <p:cNvSpPr>
            <a:spLocks noGrp="1"/>
          </p:cNvSpPr>
          <p:nvPr>
            <p:ph type="sldNum" sz="quarter" idx="12"/>
          </p:nvPr>
        </p:nvSpPr>
        <p:spPr/>
        <p:txBody>
          <a:bodyPr/>
          <a:lstStyle/>
          <a:p>
            <a:fld id="{5DD3DB80-B894-403A-B48E-6FDC1A72010E}" type="slidenum">
              <a:rPr lang="zh-CN" altLang="en-US" smtClean="0"/>
              <a:pPr/>
              <a:t>26</a:t>
            </a:fld>
            <a:endParaRPr lang="zh-CN" altLang="en-US"/>
          </a:p>
        </p:txBody>
      </p:sp>
      <p:grpSp>
        <p:nvGrpSpPr>
          <p:cNvPr id="5" name="271919"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4840FA9-EFFE-41E7-858B-08D30AA25744}"/>
              </a:ext>
            </a:extLst>
          </p:cNvPr>
          <p:cNvGrpSpPr>
            <a:grpSpLocks noChangeAspect="1"/>
          </p:cNvGrpSpPr>
          <p:nvPr/>
        </p:nvGrpSpPr>
        <p:grpSpPr>
          <a:xfrm>
            <a:off x="2" y="1278993"/>
            <a:ext cx="12191998" cy="5579006"/>
            <a:chOff x="2" y="1278993"/>
            <a:chExt cx="12191998" cy="5579006"/>
          </a:xfrm>
        </p:grpSpPr>
        <p:cxnSp>
          <p:nvCxnSpPr>
            <p:cNvPr id="6" name="直接连接符 5">
              <a:extLst>
                <a:ext uri="{FF2B5EF4-FFF2-40B4-BE49-F238E27FC236}">
                  <a16:creationId xmlns:a16="http://schemas.microsoft.com/office/drawing/2014/main" id="{048E1A77-CBED-4FEB-AFE1-E74601B68F2A}"/>
                </a:ext>
              </a:extLst>
            </p:cNvPr>
            <p:cNvCxnSpPr>
              <a:cxnSpLocks/>
              <a:stCxn id="11" idx="2"/>
              <a:endCxn id="16" idx="0"/>
            </p:cNvCxnSpPr>
            <p:nvPr/>
          </p:nvCxnSpPr>
          <p:spPr>
            <a:xfrm flipH="1">
              <a:off x="6096000" y="1840046"/>
              <a:ext cx="1" cy="1983805"/>
            </a:xfrm>
            <a:prstGeom prst="line">
              <a:avLst/>
            </a:prstGeom>
            <a:ln w="3175" cap="rnd">
              <a:solidFill>
                <a:schemeClr val="bg1">
                  <a:lumMod val="75000"/>
                </a:schemeClr>
              </a:solidFill>
              <a:round/>
            </a:ln>
          </p:spPr>
          <p:style>
            <a:lnRef idx="1">
              <a:schemeClr val="accent1"/>
            </a:lnRef>
            <a:fillRef idx="0">
              <a:schemeClr val="accent1"/>
            </a:fillRef>
            <a:effectRef idx="0">
              <a:schemeClr val="accent1"/>
            </a:effectRef>
            <a:fontRef idx="minor">
              <a:schemeClr val="tx1"/>
            </a:fontRef>
          </p:style>
        </p:cxnSp>
        <p:sp>
          <p:nvSpPr>
            <p:cNvPr id="7" name="î$liďe">
              <a:extLst>
                <a:ext uri="{FF2B5EF4-FFF2-40B4-BE49-F238E27FC236}">
                  <a16:creationId xmlns:a16="http://schemas.microsoft.com/office/drawing/2014/main" id="{795AC386-9431-4189-AED5-A6766D784DA7}"/>
                </a:ext>
              </a:extLst>
            </p:cNvPr>
            <p:cNvSpPr/>
            <p:nvPr/>
          </p:nvSpPr>
          <p:spPr>
            <a:xfrm>
              <a:off x="2" y="4696688"/>
              <a:ext cx="12191998" cy="2161311"/>
            </a:xfrm>
            <a:custGeom>
              <a:avLst/>
              <a:gdLst>
                <a:gd name="connsiteX0" fmla="*/ 6096000 w 12191998"/>
                <a:gd name="connsiteY0" fmla="*/ 0 h 2161311"/>
                <a:gd name="connsiteX1" fmla="*/ 12160526 w 12191998"/>
                <a:gd name="connsiteY1" fmla="*/ 970166 h 2161311"/>
                <a:gd name="connsiteX2" fmla="*/ 12191998 w 12191998"/>
                <a:gd name="connsiteY2" fmla="*/ 1080653 h 2161311"/>
                <a:gd name="connsiteX3" fmla="*/ 12191998 w 12191998"/>
                <a:gd name="connsiteY3" fmla="*/ 2161311 h 2161311"/>
                <a:gd name="connsiteX4" fmla="*/ 0 w 12191998"/>
                <a:gd name="connsiteY4" fmla="*/ 2161311 h 2161311"/>
                <a:gd name="connsiteX5" fmla="*/ 0 w 12191998"/>
                <a:gd name="connsiteY5" fmla="*/ 1080657 h 2161311"/>
                <a:gd name="connsiteX6" fmla="*/ 6096000 w 12191998"/>
                <a:gd name="connsiteY6" fmla="*/ 0 h 21613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1998" h="2161311">
                  <a:moveTo>
                    <a:pt x="6096000" y="0"/>
                  </a:moveTo>
                  <a:cubicBezTo>
                    <a:pt x="9252307" y="0"/>
                    <a:pt x="11848350" y="425238"/>
                    <a:pt x="12160526" y="970166"/>
                  </a:cubicBezTo>
                  <a:lnTo>
                    <a:pt x="12191998" y="1080653"/>
                  </a:lnTo>
                  <a:lnTo>
                    <a:pt x="12191998" y="2161311"/>
                  </a:lnTo>
                  <a:lnTo>
                    <a:pt x="0" y="2161311"/>
                  </a:lnTo>
                  <a:lnTo>
                    <a:pt x="0" y="1080657"/>
                  </a:lnTo>
                  <a:cubicBezTo>
                    <a:pt x="0" y="483826"/>
                    <a:pt x="2729272" y="0"/>
                    <a:pt x="6096000" y="0"/>
                  </a:cubicBezTo>
                  <a:close/>
                </a:path>
              </a:pathLst>
            </a:custGeom>
            <a:solidFill>
              <a:schemeClr val="bg1">
                <a:lumMod val="95000"/>
              </a:schemeClr>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lang="zh-CN" altLang="en-US"/>
            </a:p>
          </p:txBody>
        </p:sp>
        <p:grpSp>
          <p:nvGrpSpPr>
            <p:cNvPr id="8" name="ïṧḻíḍê">
              <a:extLst>
                <a:ext uri="{FF2B5EF4-FFF2-40B4-BE49-F238E27FC236}">
                  <a16:creationId xmlns:a16="http://schemas.microsoft.com/office/drawing/2014/main" id="{9E4F1801-ABEF-46FC-B67B-18FC3A72640A}"/>
                </a:ext>
              </a:extLst>
            </p:cNvPr>
            <p:cNvGrpSpPr/>
            <p:nvPr/>
          </p:nvGrpSpPr>
          <p:grpSpPr>
            <a:xfrm>
              <a:off x="5343554" y="3823851"/>
              <a:ext cx="1504892" cy="1745674"/>
              <a:chOff x="3542463" y="637308"/>
              <a:chExt cx="1504892" cy="1745674"/>
            </a:xfrm>
          </p:grpSpPr>
          <p:sp>
            <p:nvSpPr>
              <p:cNvPr id="16" name="ïṣlîdè">
                <a:extLst>
                  <a:ext uri="{FF2B5EF4-FFF2-40B4-BE49-F238E27FC236}">
                    <a16:creationId xmlns:a16="http://schemas.microsoft.com/office/drawing/2014/main" id="{03886948-C0D1-43BA-8125-5764B67BE7E5}"/>
                  </a:ext>
                </a:extLst>
              </p:cNvPr>
              <p:cNvSpPr/>
              <p:nvPr/>
            </p:nvSpPr>
            <p:spPr>
              <a:xfrm rot="16200000">
                <a:off x="3422072" y="757699"/>
                <a:ext cx="1745674" cy="1504892"/>
              </a:xfrm>
              <a:prstGeom prst="hexagon">
                <a:avLst/>
              </a:prstGeom>
              <a:solidFill>
                <a:schemeClr val="accent1"/>
              </a:solidFill>
              <a:ln w="762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endParaRPr lang="en-US"/>
              </a:p>
            </p:txBody>
          </p:sp>
          <p:sp>
            <p:nvSpPr>
              <p:cNvPr id="17" name="ïşlïḍé">
                <a:extLst>
                  <a:ext uri="{FF2B5EF4-FFF2-40B4-BE49-F238E27FC236}">
                    <a16:creationId xmlns:a16="http://schemas.microsoft.com/office/drawing/2014/main" id="{4F3D104D-92D3-4CEE-86FD-333A1E3B4628}"/>
                  </a:ext>
                </a:extLst>
              </p:cNvPr>
              <p:cNvSpPr/>
              <p:nvPr/>
            </p:nvSpPr>
            <p:spPr bwMode="auto">
              <a:xfrm>
                <a:off x="3963340" y="1220339"/>
                <a:ext cx="663138" cy="608542"/>
              </a:xfrm>
              <a:custGeom>
                <a:avLst/>
                <a:gdLst>
                  <a:gd name="connsiteX0" fmla="*/ 350851 w 599171"/>
                  <a:gd name="connsiteY0" fmla="*/ 405257 h 549846"/>
                  <a:gd name="connsiteX1" fmla="*/ 394672 w 599171"/>
                  <a:gd name="connsiteY1" fmla="*/ 405257 h 549846"/>
                  <a:gd name="connsiteX2" fmla="*/ 394672 w 599171"/>
                  <a:gd name="connsiteY2" fmla="*/ 528464 h 549846"/>
                  <a:gd name="connsiteX3" fmla="*/ 350851 w 599171"/>
                  <a:gd name="connsiteY3" fmla="*/ 528464 h 549846"/>
                  <a:gd name="connsiteX4" fmla="*/ 418947 w 599171"/>
                  <a:gd name="connsiteY4" fmla="*/ 362989 h 549846"/>
                  <a:gd name="connsiteX5" fmla="*/ 462839 w 599171"/>
                  <a:gd name="connsiteY5" fmla="*/ 362989 h 549846"/>
                  <a:gd name="connsiteX6" fmla="*/ 462839 w 599171"/>
                  <a:gd name="connsiteY6" fmla="*/ 528465 h 549846"/>
                  <a:gd name="connsiteX7" fmla="*/ 418947 w 599171"/>
                  <a:gd name="connsiteY7" fmla="*/ 528465 h 549846"/>
                  <a:gd name="connsiteX8" fmla="*/ 487113 w 599171"/>
                  <a:gd name="connsiteY8" fmla="*/ 320932 h 549846"/>
                  <a:gd name="connsiteX9" fmla="*/ 531005 w 599171"/>
                  <a:gd name="connsiteY9" fmla="*/ 320932 h 549846"/>
                  <a:gd name="connsiteX10" fmla="*/ 531005 w 599171"/>
                  <a:gd name="connsiteY10" fmla="*/ 528465 h 549846"/>
                  <a:gd name="connsiteX11" fmla="*/ 487113 w 599171"/>
                  <a:gd name="connsiteY11" fmla="*/ 528465 h 549846"/>
                  <a:gd name="connsiteX12" fmla="*/ 555279 w 599171"/>
                  <a:gd name="connsiteY12" fmla="*/ 278945 h 549846"/>
                  <a:gd name="connsiteX13" fmla="*/ 599171 w 599171"/>
                  <a:gd name="connsiteY13" fmla="*/ 278945 h 549846"/>
                  <a:gd name="connsiteX14" fmla="*/ 599171 w 599171"/>
                  <a:gd name="connsiteY14" fmla="*/ 528464 h 549846"/>
                  <a:gd name="connsiteX15" fmla="*/ 555279 w 599171"/>
                  <a:gd name="connsiteY15" fmla="*/ 528464 h 549846"/>
                  <a:gd name="connsiteX16" fmla="*/ 257092 w 599171"/>
                  <a:gd name="connsiteY16" fmla="*/ 0 h 549846"/>
                  <a:gd name="connsiteX17" fmla="*/ 399061 w 599171"/>
                  <a:gd name="connsiteY17" fmla="*/ 142037 h 549846"/>
                  <a:gd name="connsiteX18" fmla="*/ 320591 w 599171"/>
                  <a:gd name="connsiteY18" fmla="*/ 290261 h 549846"/>
                  <a:gd name="connsiteX19" fmla="*/ 424874 w 599171"/>
                  <a:gd name="connsiteY19" fmla="*/ 341559 h 549846"/>
                  <a:gd name="connsiteX20" fmla="*/ 397512 w 599171"/>
                  <a:gd name="connsiteY20" fmla="*/ 341559 h 549846"/>
                  <a:gd name="connsiteX21" fmla="*/ 397512 w 599171"/>
                  <a:gd name="connsiteY21" fmla="*/ 383578 h 549846"/>
                  <a:gd name="connsiteX22" fmla="*/ 329367 w 599171"/>
                  <a:gd name="connsiteY22" fmla="*/ 383578 h 549846"/>
                  <a:gd name="connsiteX23" fmla="*/ 329367 w 599171"/>
                  <a:gd name="connsiteY23" fmla="*/ 547526 h 549846"/>
                  <a:gd name="connsiteX24" fmla="*/ 257092 w 599171"/>
                  <a:gd name="connsiteY24" fmla="*/ 549846 h 549846"/>
                  <a:gd name="connsiteX25" fmla="*/ 329109 w 599171"/>
                  <a:gd name="connsiteY25" fmla="*/ 477925 h 549846"/>
                  <a:gd name="connsiteX26" fmla="*/ 268450 w 599171"/>
                  <a:gd name="connsiteY26" fmla="*/ 331506 h 549846"/>
                  <a:gd name="connsiteX27" fmla="*/ 269224 w 599171"/>
                  <a:gd name="connsiteY27" fmla="*/ 331506 h 549846"/>
                  <a:gd name="connsiteX28" fmla="*/ 292714 w 599171"/>
                  <a:gd name="connsiteY28" fmla="*/ 304439 h 549846"/>
                  <a:gd name="connsiteX29" fmla="*/ 257092 w 599171"/>
                  <a:gd name="connsiteY29" fmla="*/ 311141 h 549846"/>
                  <a:gd name="connsiteX30" fmla="*/ 221471 w 599171"/>
                  <a:gd name="connsiteY30" fmla="*/ 304439 h 549846"/>
                  <a:gd name="connsiteX31" fmla="*/ 245219 w 599171"/>
                  <a:gd name="connsiteY31" fmla="*/ 331506 h 549846"/>
                  <a:gd name="connsiteX32" fmla="*/ 245735 w 599171"/>
                  <a:gd name="connsiteY32" fmla="*/ 331506 h 549846"/>
                  <a:gd name="connsiteX33" fmla="*/ 185075 w 599171"/>
                  <a:gd name="connsiteY33" fmla="*/ 477925 h 549846"/>
                  <a:gd name="connsiteX34" fmla="*/ 257092 w 599171"/>
                  <a:gd name="connsiteY34" fmla="*/ 549846 h 549846"/>
                  <a:gd name="connsiteX35" fmla="*/ 0 w 599171"/>
                  <a:gd name="connsiteY35" fmla="*/ 486432 h 549846"/>
                  <a:gd name="connsiteX36" fmla="*/ 193594 w 599171"/>
                  <a:gd name="connsiteY36" fmla="*/ 290261 h 549846"/>
                  <a:gd name="connsiteX37" fmla="*/ 115124 w 599171"/>
                  <a:gd name="connsiteY37" fmla="*/ 142037 h 549846"/>
                  <a:gd name="connsiteX38" fmla="*/ 257092 w 599171"/>
                  <a:gd name="connsiteY38" fmla="*/ 0 h 5498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599171" h="549846">
                    <a:moveTo>
                      <a:pt x="350851" y="405257"/>
                    </a:moveTo>
                    <a:lnTo>
                      <a:pt x="394672" y="405257"/>
                    </a:lnTo>
                    <a:lnTo>
                      <a:pt x="394672" y="528464"/>
                    </a:lnTo>
                    <a:lnTo>
                      <a:pt x="350851" y="528464"/>
                    </a:lnTo>
                    <a:close/>
                    <a:moveTo>
                      <a:pt x="418947" y="362989"/>
                    </a:moveTo>
                    <a:lnTo>
                      <a:pt x="462839" y="362989"/>
                    </a:lnTo>
                    <a:lnTo>
                      <a:pt x="462839" y="528465"/>
                    </a:lnTo>
                    <a:lnTo>
                      <a:pt x="418947" y="528465"/>
                    </a:lnTo>
                    <a:close/>
                    <a:moveTo>
                      <a:pt x="487113" y="320932"/>
                    </a:moveTo>
                    <a:lnTo>
                      <a:pt x="531005" y="320932"/>
                    </a:lnTo>
                    <a:lnTo>
                      <a:pt x="531005" y="528465"/>
                    </a:lnTo>
                    <a:lnTo>
                      <a:pt x="487113" y="528465"/>
                    </a:lnTo>
                    <a:close/>
                    <a:moveTo>
                      <a:pt x="555279" y="278945"/>
                    </a:moveTo>
                    <a:lnTo>
                      <a:pt x="599171" y="278945"/>
                    </a:lnTo>
                    <a:lnTo>
                      <a:pt x="599171" y="528464"/>
                    </a:lnTo>
                    <a:lnTo>
                      <a:pt x="555279" y="528464"/>
                    </a:lnTo>
                    <a:close/>
                    <a:moveTo>
                      <a:pt x="257092" y="0"/>
                    </a:moveTo>
                    <a:cubicBezTo>
                      <a:pt x="335562" y="0"/>
                      <a:pt x="399061" y="63672"/>
                      <a:pt x="399061" y="142037"/>
                    </a:cubicBezTo>
                    <a:cubicBezTo>
                      <a:pt x="399061" y="197460"/>
                      <a:pt x="367054" y="259069"/>
                      <a:pt x="320591" y="290261"/>
                    </a:cubicBezTo>
                    <a:cubicBezTo>
                      <a:pt x="359826" y="300314"/>
                      <a:pt x="395447" y="318875"/>
                      <a:pt x="424874" y="341559"/>
                    </a:cubicBezTo>
                    <a:lnTo>
                      <a:pt x="397512" y="341559"/>
                    </a:lnTo>
                    <a:lnTo>
                      <a:pt x="397512" y="383578"/>
                    </a:lnTo>
                    <a:lnTo>
                      <a:pt x="329367" y="383578"/>
                    </a:lnTo>
                    <a:lnTo>
                      <a:pt x="329367" y="547526"/>
                    </a:lnTo>
                    <a:cubicBezTo>
                      <a:pt x="305878" y="549073"/>
                      <a:pt x="281614" y="549846"/>
                      <a:pt x="257092" y="549846"/>
                    </a:cubicBezTo>
                    <a:lnTo>
                      <a:pt x="329109" y="477925"/>
                    </a:lnTo>
                    <a:lnTo>
                      <a:pt x="268450" y="331506"/>
                    </a:lnTo>
                    <a:lnTo>
                      <a:pt x="269224" y="331506"/>
                    </a:lnTo>
                    <a:lnTo>
                      <a:pt x="292714" y="304439"/>
                    </a:lnTo>
                    <a:cubicBezTo>
                      <a:pt x="281356" y="308563"/>
                      <a:pt x="269482" y="311141"/>
                      <a:pt x="257092" y="311141"/>
                    </a:cubicBezTo>
                    <a:cubicBezTo>
                      <a:pt x="244961" y="311141"/>
                      <a:pt x="233087" y="308563"/>
                      <a:pt x="221471" y="304439"/>
                    </a:cubicBezTo>
                    <a:lnTo>
                      <a:pt x="245219" y="331506"/>
                    </a:lnTo>
                    <a:lnTo>
                      <a:pt x="245735" y="331506"/>
                    </a:lnTo>
                    <a:lnTo>
                      <a:pt x="185075" y="477925"/>
                    </a:lnTo>
                    <a:lnTo>
                      <a:pt x="257092" y="549846"/>
                    </a:lnTo>
                    <a:cubicBezTo>
                      <a:pt x="128546" y="549846"/>
                      <a:pt x="0" y="528708"/>
                      <a:pt x="0" y="486432"/>
                    </a:cubicBezTo>
                    <a:cubicBezTo>
                      <a:pt x="0" y="415027"/>
                      <a:pt x="82342" y="318617"/>
                      <a:pt x="193594" y="290261"/>
                    </a:cubicBezTo>
                    <a:cubicBezTo>
                      <a:pt x="147131" y="259069"/>
                      <a:pt x="115124" y="197460"/>
                      <a:pt x="115124" y="142037"/>
                    </a:cubicBezTo>
                    <a:cubicBezTo>
                      <a:pt x="115124" y="63672"/>
                      <a:pt x="178622" y="0"/>
                      <a:pt x="257092" y="0"/>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endParaRPr lang="en-US" sz="1798">
                  <a:solidFill>
                    <a:schemeClr val="bg1"/>
                  </a:solidFill>
                </a:endParaRPr>
              </a:p>
            </p:txBody>
          </p:sp>
        </p:grpSp>
        <p:sp>
          <p:nvSpPr>
            <p:cNvPr id="9" name="iṡ1îdé">
              <a:extLst>
                <a:ext uri="{FF2B5EF4-FFF2-40B4-BE49-F238E27FC236}">
                  <a16:creationId xmlns:a16="http://schemas.microsoft.com/office/drawing/2014/main" id="{0BD3EED8-E6F7-432F-A248-B286669E8447}"/>
                </a:ext>
              </a:extLst>
            </p:cNvPr>
            <p:cNvSpPr txBox="1"/>
            <p:nvPr/>
          </p:nvSpPr>
          <p:spPr bwMode="auto">
            <a:xfrm>
              <a:off x="4676802" y="5638428"/>
              <a:ext cx="2838396" cy="441805"/>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ctr" eaLnBrk="1" hangingPunct="1">
                <a:lnSpc>
                  <a:spcPct val="100000"/>
                </a:lnSpc>
                <a:spcBef>
                  <a:spcPct val="0"/>
                </a:spcBef>
              </a:pPr>
              <a:r>
                <a:rPr lang="en-US" altLang="zh-CN" sz="1600" b="1"/>
                <a:t>…text</a:t>
              </a:r>
              <a:endParaRPr lang="en-US" altLang="zh-CN" sz="1600" b="1" dirty="0"/>
            </a:p>
          </p:txBody>
        </p:sp>
        <p:sp>
          <p:nvSpPr>
            <p:cNvPr id="10" name="ïśliḓê">
              <a:extLst>
                <a:ext uri="{FF2B5EF4-FFF2-40B4-BE49-F238E27FC236}">
                  <a16:creationId xmlns:a16="http://schemas.microsoft.com/office/drawing/2014/main" id="{38118CA0-558F-4050-AC78-B143EAEF7AED}"/>
                </a:ext>
              </a:extLst>
            </p:cNvPr>
            <p:cNvSpPr txBox="1"/>
            <p:nvPr/>
          </p:nvSpPr>
          <p:spPr>
            <a:xfrm>
              <a:off x="5492246" y="2912945"/>
              <a:ext cx="1207509" cy="356804"/>
            </a:xfrm>
            <a:prstGeom prst="roundRect">
              <a:avLst>
                <a:gd name="adj" fmla="val 50000"/>
              </a:avLst>
            </a:prstGeom>
            <a:solidFill>
              <a:schemeClr val="bg1"/>
            </a:solidFill>
            <a:ln w="28575">
              <a:solidFill>
                <a:schemeClr val="accent2"/>
              </a:solidFill>
            </a:ln>
          </p:spPr>
          <p:txBody>
            <a:bodyPr wrap="square" lIns="91440" tIns="45720" rIns="91440" bIns="45720" rtlCol="0" anchor="ctr" anchorCtr="0">
              <a:normAutofit lnSpcReduction="10000"/>
            </a:bodyPr>
            <a:lstStyle>
              <a:defPPr>
                <a:defRPr lang="zh-CN"/>
              </a:defPPr>
              <a:lvl1pPr>
                <a:defRPr sz="1400" b="1">
                  <a:solidFill>
                    <a:schemeClr val="bg1"/>
                  </a:solidFill>
                </a:defRPr>
              </a:lvl1pPr>
            </a:lstStyle>
            <a:p>
              <a:pPr algn="ctr"/>
              <a:r>
                <a:rPr lang="en-US" altLang="zh-CN" sz="1100">
                  <a:solidFill>
                    <a:schemeClr val="tx1"/>
                  </a:solidFill>
                </a:rPr>
                <a:t>…Text</a:t>
              </a:r>
              <a:endParaRPr lang="vi-VN" sz="1100" dirty="0">
                <a:solidFill>
                  <a:schemeClr val="tx1"/>
                </a:solidFill>
              </a:endParaRPr>
            </a:p>
          </p:txBody>
        </p:sp>
        <p:sp>
          <p:nvSpPr>
            <p:cNvPr id="11" name="iśľiḓê">
              <a:extLst>
                <a:ext uri="{FF2B5EF4-FFF2-40B4-BE49-F238E27FC236}">
                  <a16:creationId xmlns:a16="http://schemas.microsoft.com/office/drawing/2014/main" id="{9BEAC6EA-88B2-4868-AB8F-489F8FE7EC3B}"/>
                </a:ext>
              </a:extLst>
            </p:cNvPr>
            <p:cNvSpPr txBox="1"/>
            <p:nvPr/>
          </p:nvSpPr>
          <p:spPr>
            <a:xfrm>
              <a:off x="5492246" y="1483242"/>
              <a:ext cx="1207509" cy="356804"/>
            </a:xfrm>
            <a:prstGeom prst="roundRect">
              <a:avLst>
                <a:gd name="adj" fmla="val 50000"/>
              </a:avLst>
            </a:prstGeom>
            <a:solidFill>
              <a:schemeClr val="bg1"/>
            </a:solidFill>
            <a:ln w="28575">
              <a:solidFill>
                <a:schemeClr val="accent2"/>
              </a:solidFill>
            </a:ln>
          </p:spPr>
          <p:txBody>
            <a:bodyPr wrap="square" lIns="91440" tIns="45720" rIns="91440" bIns="45720" rtlCol="0" anchor="ctr" anchorCtr="0">
              <a:normAutofit lnSpcReduction="10000"/>
            </a:bodyPr>
            <a:lstStyle>
              <a:defPPr>
                <a:defRPr lang="zh-CN"/>
              </a:defPPr>
              <a:lvl1pPr>
                <a:defRPr sz="1400" b="1">
                  <a:solidFill>
                    <a:schemeClr val="bg1"/>
                  </a:solidFill>
                </a:defRPr>
              </a:lvl1pPr>
            </a:lstStyle>
            <a:p>
              <a:pPr algn="ctr"/>
              <a:r>
                <a:rPr lang="en-US" altLang="zh-CN" sz="1100">
                  <a:solidFill>
                    <a:schemeClr val="tx1"/>
                  </a:solidFill>
                </a:rPr>
                <a:t>…Text</a:t>
              </a:r>
              <a:endParaRPr lang="vi-VN" sz="1100" dirty="0">
                <a:solidFill>
                  <a:schemeClr val="tx1"/>
                </a:solidFill>
              </a:endParaRPr>
            </a:p>
          </p:txBody>
        </p:sp>
        <p:sp>
          <p:nvSpPr>
            <p:cNvPr id="12" name="ïš1íḍe">
              <a:extLst>
                <a:ext uri="{FF2B5EF4-FFF2-40B4-BE49-F238E27FC236}">
                  <a16:creationId xmlns:a16="http://schemas.microsoft.com/office/drawing/2014/main" id="{67246FC0-3685-4F06-A448-1B20F198073E}"/>
                </a:ext>
              </a:extLst>
            </p:cNvPr>
            <p:cNvSpPr/>
            <p:nvPr/>
          </p:nvSpPr>
          <p:spPr bwMode="auto">
            <a:xfrm>
              <a:off x="6924730" y="2708696"/>
              <a:ext cx="4600520"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p>
            <a:p>
              <a:pPr>
                <a:lnSpc>
                  <a:spcPct val="120000"/>
                </a:lnSpc>
              </a:pPr>
              <a:r>
                <a:rPr lang="en-US" altLang="zh-CN" sz="1100" dirty="0"/>
                <a:t>……</a:t>
              </a:r>
            </a:p>
          </p:txBody>
        </p:sp>
        <p:sp>
          <p:nvSpPr>
            <p:cNvPr id="13" name="ïṧ1iḍê">
              <a:extLst>
                <a:ext uri="{FF2B5EF4-FFF2-40B4-BE49-F238E27FC236}">
                  <a16:creationId xmlns:a16="http://schemas.microsoft.com/office/drawing/2014/main" id="{33441288-FFA6-4A37-BE9B-CCF98ED56E75}"/>
                </a:ext>
              </a:extLst>
            </p:cNvPr>
            <p:cNvSpPr/>
            <p:nvPr/>
          </p:nvSpPr>
          <p:spPr bwMode="auto">
            <a:xfrm>
              <a:off x="6924730" y="1278993"/>
              <a:ext cx="4600520" cy="7653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dirty="0"/>
                <a:t>Copy paste fonts. Choose the only option to retain text.</a:t>
              </a:r>
            </a:p>
            <a:p>
              <a:pPr>
                <a:lnSpc>
                  <a:spcPct val="120000"/>
                </a:lnSpc>
              </a:pPr>
              <a:r>
                <a:rPr lang="en-US" altLang="zh-CN" sz="1100" dirty="0"/>
                <a:t>……</a:t>
              </a:r>
            </a:p>
          </p:txBody>
        </p:sp>
        <p:sp>
          <p:nvSpPr>
            <p:cNvPr id="14" name="íṡļídé">
              <a:extLst>
                <a:ext uri="{FF2B5EF4-FFF2-40B4-BE49-F238E27FC236}">
                  <a16:creationId xmlns:a16="http://schemas.microsoft.com/office/drawing/2014/main" id="{E25A27E5-F931-42D4-89D0-36AD3996BEDE}"/>
                </a:ext>
              </a:extLst>
            </p:cNvPr>
            <p:cNvSpPr txBox="1"/>
            <p:nvPr/>
          </p:nvSpPr>
          <p:spPr>
            <a:xfrm>
              <a:off x="669926" y="1514475"/>
              <a:ext cx="3959225" cy="783166"/>
            </a:xfrm>
            <a:prstGeom prst="rect">
              <a:avLst/>
            </a:prstGeom>
            <a:noFill/>
            <a:ln>
              <a:noFill/>
            </a:ln>
          </p:spPr>
          <p:txBody>
            <a:bodyPr wrap="square" lIns="91440" tIns="45720" rIns="91440" bIns="45720" anchor="b" anchorCtr="0">
              <a:normAutofit/>
            </a:bodyPr>
            <a:lstStyle/>
            <a:p>
              <a:pPr>
                <a:buSzPct val="25000"/>
              </a:pPr>
              <a:r>
                <a:rPr lang="en-US" sz="2000" b="1" dirty="0"/>
                <a:t>Unified fonts make reading more fluent.</a:t>
              </a:r>
            </a:p>
          </p:txBody>
        </p:sp>
        <p:sp>
          <p:nvSpPr>
            <p:cNvPr id="15" name="ïşlîdé">
              <a:extLst>
                <a:ext uri="{FF2B5EF4-FFF2-40B4-BE49-F238E27FC236}">
                  <a16:creationId xmlns:a16="http://schemas.microsoft.com/office/drawing/2014/main" id="{0FC7FA6B-5648-4244-9E75-7BCE2C8EC70F}"/>
                </a:ext>
              </a:extLst>
            </p:cNvPr>
            <p:cNvSpPr txBox="1"/>
            <p:nvPr/>
          </p:nvSpPr>
          <p:spPr>
            <a:xfrm>
              <a:off x="669925" y="2297640"/>
              <a:ext cx="3959225" cy="1042172"/>
            </a:xfrm>
            <a:prstGeom prst="rect">
              <a:avLst/>
            </a:prstGeom>
            <a:noFill/>
            <a:ln>
              <a:noFill/>
            </a:ln>
          </p:spPr>
          <p:txBody>
            <a:bodyPr wrap="square" lIns="91440" tIns="45720" rIns="91440" bIns="45720" anchor="ctr" anchorCtr="0">
              <a:normAutofit/>
            </a:bodyPr>
            <a:lstStyle/>
            <a:p>
              <a:pPr>
                <a:lnSpc>
                  <a:spcPct val="150000"/>
                </a:lnSpc>
                <a:buSzPct val="25000"/>
              </a:pPr>
              <a:r>
                <a:rPr lang="en-US" sz="1200" dirty="0"/>
                <a:t>Theme color makes PPT more convenient to change.</a:t>
              </a:r>
            </a:p>
            <a:p>
              <a:pPr>
                <a:lnSpc>
                  <a:spcPct val="150000"/>
                </a:lnSpc>
                <a:buSzPct val="25000"/>
              </a:pPr>
              <a:r>
                <a:rPr lang="en-US" sz="1200" dirty="0"/>
                <a:t>Adjust the spacing to adapt to Chinese typesetting, use the reference line in PPT.</a:t>
              </a:r>
            </a:p>
          </p:txBody>
        </p:sp>
      </p:grpSp>
    </p:spTree>
    <p:extLst>
      <p:ext uri="{BB962C8B-B14F-4D97-AF65-F5344CB8AC3E}">
        <p14:creationId xmlns:p14="http://schemas.microsoft.com/office/powerpoint/2010/main" val="143551234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a:t>Supporting text here.</a:t>
            </a:r>
          </a:p>
          <a:p>
            <a:pPr lvl="0">
              <a:lnSpc>
                <a:spcPct val="100000"/>
              </a:lnSpc>
            </a:pPr>
            <a:r>
              <a:rPr lang="en-US" altLang="zh-CN" dirty="0"/>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4620544" y="2712435"/>
            <a:ext cx="1252132" cy="1088682"/>
          </a:xfrm>
          <a:prstGeom prst="rect">
            <a:avLst/>
          </a:prstGeom>
          <a:solidFill>
            <a:schemeClr val="accent3"/>
          </a:solid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05</a:t>
            </a:r>
            <a:endParaRPr lang="zh-CN" altLang="en-US" spc="100" dirty="0">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5808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6336D37-5CF6-4E30-A676-9307FC22A46A}"/>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24D36653-ABEC-4913-B266-E18C3395E32B}"/>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79E596BD-3FDC-43B1-9BCF-99F80CCEBDB7}"/>
              </a:ext>
            </a:extLst>
          </p:cNvPr>
          <p:cNvSpPr>
            <a:spLocks noGrp="1"/>
          </p:cNvSpPr>
          <p:nvPr>
            <p:ph type="sldNum" sz="quarter" idx="12"/>
          </p:nvPr>
        </p:nvSpPr>
        <p:spPr/>
        <p:txBody>
          <a:bodyPr/>
          <a:lstStyle/>
          <a:p>
            <a:fld id="{5DD3DB80-B894-403A-B48E-6FDC1A72010E}" type="slidenum">
              <a:rPr lang="zh-CN" altLang="en-US" smtClean="0"/>
              <a:pPr/>
              <a:t>28</a:t>
            </a:fld>
            <a:endParaRPr lang="zh-CN" altLang="en-US"/>
          </a:p>
        </p:txBody>
      </p:sp>
      <p:grpSp>
        <p:nvGrpSpPr>
          <p:cNvPr id="5" name="271943"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F51B4DB9-B96A-41A7-AB7B-61F613B03D8C}"/>
              </a:ext>
            </a:extLst>
          </p:cNvPr>
          <p:cNvGrpSpPr>
            <a:grpSpLocks noChangeAspect="1"/>
          </p:cNvGrpSpPr>
          <p:nvPr/>
        </p:nvGrpSpPr>
        <p:grpSpPr>
          <a:xfrm>
            <a:off x="673099" y="1130300"/>
            <a:ext cx="10845801" cy="4319826"/>
            <a:chOff x="673099" y="1130300"/>
            <a:chExt cx="10845801" cy="4319826"/>
          </a:xfrm>
        </p:grpSpPr>
        <p:sp>
          <p:nvSpPr>
            <p:cNvPr id="6" name="iś1ïḑê">
              <a:extLst>
                <a:ext uri="{FF2B5EF4-FFF2-40B4-BE49-F238E27FC236}">
                  <a16:creationId xmlns:a16="http://schemas.microsoft.com/office/drawing/2014/main" id="{9B789705-9CEA-4C97-B398-35121A73F98F}"/>
                </a:ext>
              </a:extLst>
            </p:cNvPr>
            <p:cNvSpPr/>
            <p:nvPr/>
          </p:nvSpPr>
          <p:spPr>
            <a:xfrm rot="8341735" flipH="1">
              <a:off x="3807312" y="4222669"/>
              <a:ext cx="1024750" cy="109312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8516" y="4499"/>
                    <a:pt x="14591" y="8500"/>
                    <a:pt x="10132" y="11778"/>
                  </a:cubicBezTo>
                  <a:cubicBezTo>
                    <a:pt x="8255" y="13157"/>
                    <a:pt x="5662" y="14203"/>
                    <a:pt x="4109" y="12842"/>
                  </a:cubicBezTo>
                  <a:cubicBezTo>
                    <a:pt x="1726" y="10754"/>
                    <a:pt x="4412" y="6732"/>
                    <a:pt x="8055" y="7797"/>
                  </a:cubicBezTo>
                  <a:cubicBezTo>
                    <a:pt x="11161" y="8705"/>
                    <a:pt x="11409" y="12598"/>
                    <a:pt x="9408" y="15522"/>
                  </a:cubicBezTo>
                  <a:cubicBezTo>
                    <a:pt x="7373" y="18496"/>
                    <a:pt x="3870" y="20653"/>
                    <a:pt x="0" y="21600"/>
                  </a:cubicBezTo>
                </a:path>
              </a:pathLst>
            </a:custGeom>
            <a:ln w="38100" cap="rnd">
              <a:solidFill>
                <a:schemeClr val="accent1"/>
              </a:solidFill>
              <a:custDash>
                <a:ds d="100000" sp="200000"/>
              </a:custDash>
              <a:miter lim="400000"/>
              <a:tailEnd type="arrow"/>
            </a:ln>
          </p:spPr>
          <p:txBody>
            <a:bodyPr wrap="square" lIns="91440" tIns="45720" rIns="91440" bIns="45720" anchor="ctr">
              <a:normAutofit/>
            </a:bodyPr>
            <a:lstStyle/>
            <a:p>
              <a:pPr algn="ctr"/>
              <a:endParaRPr/>
            </a:p>
          </p:txBody>
        </p:sp>
        <p:sp>
          <p:nvSpPr>
            <p:cNvPr id="7" name="ïṣ1îde">
              <a:extLst>
                <a:ext uri="{FF2B5EF4-FFF2-40B4-BE49-F238E27FC236}">
                  <a16:creationId xmlns:a16="http://schemas.microsoft.com/office/drawing/2014/main" id="{8E27A2F3-6F21-46AA-8F3B-A9631FC6B457}"/>
                </a:ext>
              </a:extLst>
            </p:cNvPr>
            <p:cNvSpPr/>
            <p:nvPr/>
          </p:nvSpPr>
          <p:spPr>
            <a:xfrm>
              <a:off x="3399553" y="2833306"/>
              <a:ext cx="1657855" cy="766500"/>
            </a:xfrm>
            <a:custGeom>
              <a:avLst/>
              <a:gdLst/>
              <a:ahLst/>
              <a:cxnLst>
                <a:cxn ang="0">
                  <a:pos x="wd2" y="hd2"/>
                </a:cxn>
                <a:cxn ang="5400000">
                  <a:pos x="wd2" y="hd2"/>
                </a:cxn>
                <a:cxn ang="10800000">
                  <a:pos x="wd2" y="hd2"/>
                </a:cxn>
                <a:cxn ang="16200000">
                  <a:pos x="wd2" y="hd2"/>
                </a:cxn>
              </a:cxnLst>
              <a:rect l="0" t="0" r="r" b="b"/>
              <a:pathLst>
                <a:path w="21600" h="20760" extrusionOk="0">
                  <a:moveTo>
                    <a:pt x="21600" y="20760"/>
                  </a:moveTo>
                  <a:cubicBezTo>
                    <a:pt x="18369" y="9606"/>
                    <a:pt x="14127" y="2481"/>
                    <a:pt x="9559" y="535"/>
                  </a:cubicBezTo>
                  <a:cubicBezTo>
                    <a:pt x="6331" y="-840"/>
                    <a:pt x="3052" y="446"/>
                    <a:pt x="0" y="4285"/>
                  </a:cubicBezTo>
                </a:path>
              </a:pathLst>
            </a:custGeom>
            <a:ln w="38100" cap="rnd">
              <a:solidFill>
                <a:schemeClr val="accent1"/>
              </a:solidFill>
              <a:custDash>
                <a:ds d="100000" sp="200000"/>
              </a:custDash>
              <a:miter lim="400000"/>
              <a:tailEnd type="arrow"/>
            </a:ln>
          </p:spPr>
          <p:txBody>
            <a:bodyPr wrap="square" lIns="91440" tIns="45720" rIns="91440" bIns="45720" anchor="ctr">
              <a:normAutofit/>
            </a:bodyPr>
            <a:lstStyle/>
            <a:p>
              <a:pPr algn="ctr"/>
              <a:endParaRPr/>
            </a:p>
          </p:txBody>
        </p:sp>
        <p:sp>
          <p:nvSpPr>
            <p:cNvPr id="8" name="îṡ1îḍé">
              <a:extLst>
                <a:ext uri="{FF2B5EF4-FFF2-40B4-BE49-F238E27FC236}">
                  <a16:creationId xmlns:a16="http://schemas.microsoft.com/office/drawing/2014/main" id="{A987A58E-C4F7-4E98-88C8-908B70EF88E4}"/>
                </a:ext>
              </a:extLst>
            </p:cNvPr>
            <p:cNvSpPr/>
            <p:nvPr/>
          </p:nvSpPr>
          <p:spPr>
            <a:xfrm rot="13260000">
              <a:off x="7317040" y="4222529"/>
              <a:ext cx="1024750" cy="1093123"/>
            </a:xfrm>
            <a:custGeom>
              <a:avLst/>
              <a:gdLst/>
              <a:ahLst/>
              <a:cxnLst>
                <a:cxn ang="0">
                  <a:pos x="wd2" y="hd2"/>
                </a:cxn>
                <a:cxn ang="5400000">
                  <a:pos x="wd2" y="hd2"/>
                </a:cxn>
                <a:cxn ang="10800000">
                  <a:pos x="wd2" y="hd2"/>
                </a:cxn>
                <a:cxn ang="16200000">
                  <a:pos x="wd2" y="hd2"/>
                </a:cxn>
              </a:cxnLst>
              <a:rect l="0" t="0" r="r" b="b"/>
              <a:pathLst>
                <a:path w="21600" h="21600" extrusionOk="0">
                  <a:moveTo>
                    <a:pt x="21600" y="0"/>
                  </a:moveTo>
                  <a:cubicBezTo>
                    <a:pt x="18516" y="4499"/>
                    <a:pt x="14591" y="8500"/>
                    <a:pt x="10132" y="11778"/>
                  </a:cubicBezTo>
                  <a:cubicBezTo>
                    <a:pt x="8255" y="13157"/>
                    <a:pt x="5662" y="14203"/>
                    <a:pt x="4109" y="12842"/>
                  </a:cubicBezTo>
                  <a:cubicBezTo>
                    <a:pt x="1726" y="10754"/>
                    <a:pt x="4412" y="6732"/>
                    <a:pt x="8055" y="7797"/>
                  </a:cubicBezTo>
                  <a:cubicBezTo>
                    <a:pt x="11161" y="8705"/>
                    <a:pt x="11409" y="12598"/>
                    <a:pt x="9408" y="15522"/>
                  </a:cubicBezTo>
                  <a:cubicBezTo>
                    <a:pt x="7373" y="18496"/>
                    <a:pt x="3870" y="20653"/>
                    <a:pt x="0" y="21600"/>
                  </a:cubicBezTo>
                </a:path>
              </a:pathLst>
            </a:custGeom>
            <a:ln w="38100" cap="rnd">
              <a:solidFill>
                <a:schemeClr val="accent1"/>
              </a:solidFill>
              <a:custDash>
                <a:ds d="100000" sp="200000"/>
              </a:custDash>
              <a:miter lim="400000"/>
              <a:tailEnd type="arrow"/>
            </a:ln>
          </p:spPr>
          <p:txBody>
            <a:bodyPr wrap="square" lIns="91440" tIns="45720" rIns="91440" bIns="45720" anchor="ctr">
              <a:normAutofit/>
            </a:bodyPr>
            <a:lstStyle/>
            <a:p>
              <a:pPr algn="ctr"/>
              <a:endParaRPr/>
            </a:p>
          </p:txBody>
        </p:sp>
        <p:sp>
          <p:nvSpPr>
            <p:cNvPr id="9" name="îS1iḋé">
              <a:extLst>
                <a:ext uri="{FF2B5EF4-FFF2-40B4-BE49-F238E27FC236}">
                  <a16:creationId xmlns:a16="http://schemas.microsoft.com/office/drawing/2014/main" id="{D21BF6F4-B501-48D6-8CC9-EDDF25A34BEA}"/>
                </a:ext>
              </a:extLst>
            </p:cNvPr>
            <p:cNvSpPr/>
            <p:nvPr/>
          </p:nvSpPr>
          <p:spPr>
            <a:xfrm flipH="1">
              <a:off x="7080856" y="2833306"/>
              <a:ext cx="1657855" cy="766500"/>
            </a:xfrm>
            <a:custGeom>
              <a:avLst/>
              <a:gdLst/>
              <a:ahLst/>
              <a:cxnLst>
                <a:cxn ang="0">
                  <a:pos x="wd2" y="hd2"/>
                </a:cxn>
                <a:cxn ang="5400000">
                  <a:pos x="wd2" y="hd2"/>
                </a:cxn>
                <a:cxn ang="10800000">
                  <a:pos x="wd2" y="hd2"/>
                </a:cxn>
                <a:cxn ang="16200000">
                  <a:pos x="wd2" y="hd2"/>
                </a:cxn>
              </a:cxnLst>
              <a:rect l="0" t="0" r="r" b="b"/>
              <a:pathLst>
                <a:path w="21600" h="20760" extrusionOk="0">
                  <a:moveTo>
                    <a:pt x="21600" y="20760"/>
                  </a:moveTo>
                  <a:cubicBezTo>
                    <a:pt x="18369" y="9606"/>
                    <a:pt x="14127" y="2481"/>
                    <a:pt x="9559" y="535"/>
                  </a:cubicBezTo>
                  <a:cubicBezTo>
                    <a:pt x="6331" y="-840"/>
                    <a:pt x="3052" y="446"/>
                    <a:pt x="0" y="4285"/>
                  </a:cubicBezTo>
                </a:path>
              </a:pathLst>
            </a:custGeom>
            <a:ln w="38100" cap="rnd">
              <a:solidFill>
                <a:schemeClr val="accent1"/>
              </a:solidFill>
              <a:custDash>
                <a:ds d="100000" sp="200000"/>
              </a:custDash>
              <a:miter lim="400000"/>
              <a:tailEnd type="arrow"/>
            </a:ln>
          </p:spPr>
          <p:txBody>
            <a:bodyPr wrap="square" lIns="91440" tIns="45720" rIns="91440" bIns="45720" anchor="ctr">
              <a:normAutofit/>
            </a:bodyPr>
            <a:lstStyle/>
            <a:p>
              <a:pPr algn="ctr"/>
              <a:endParaRPr/>
            </a:p>
          </p:txBody>
        </p:sp>
        <p:grpSp>
          <p:nvGrpSpPr>
            <p:cNvPr id="10" name="iṡliḋê">
              <a:extLst>
                <a:ext uri="{FF2B5EF4-FFF2-40B4-BE49-F238E27FC236}">
                  <a16:creationId xmlns:a16="http://schemas.microsoft.com/office/drawing/2014/main" id="{9CA220C0-1679-4E85-8051-88A40CFC18A1}"/>
                </a:ext>
              </a:extLst>
            </p:cNvPr>
            <p:cNvGrpSpPr/>
            <p:nvPr/>
          </p:nvGrpSpPr>
          <p:grpSpPr>
            <a:xfrm>
              <a:off x="4654296" y="2651583"/>
              <a:ext cx="2916936" cy="2798543"/>
              <a:chOff x="4654296" y="2651583"/>
              <a:chExt cx="2916936" cy="2798543"/>
            </a:xfrm>
          </p:grpSpPr>
          <p:sp>
            <p:nvSpPr>
              <p:cNvPr id="38" name="ïsļîḑê">
                <a:extLst>
                  <a:ext uri="{FF2B5EF4-FFF2-40B4-BE49-F238E27FC236}">
                    <a16:creationId xmlns:a16="http://schemas.microsoft.com/office/drawing/2014/main" id="{6BEB5AA4-1A0F-4A20-81A8-AFECBC1F1E87}"/>
                  </a:ext>
                </a:extLst>
              </p:cNvPr>
              <p:cNvSpPr/>
              <p:nvPr/>
            </p:nvSpPr>
            <p:spPr>
              <a:xfrm>
                <a:off x="4664560" y="3906383"/>
                <a:ext cx="2898268" cy="1543743"/>
              </a:xfrm>
              <a:custGeom>
                <a:avLst/>
                <a:gdLst/>
                <a:ahLst/>
                <a:cxnLst>
                  <a:cxn ang="0">
                    <a:pos x="wd2" y="hd2"/>
                  </a:cxn>
                  <a:cxn ang="5400000">
                    <a:pos x="wd2" y="hd2"/>
                  </a:cxn>
                  <a:cxn ang="10800000">
                    <a:pos x="wd2" y="hd2"/>
                  </a:cxn>
                  <a:cxn ang="16200000">
                    <a:pos x="wd2" y="hd2"/>
                  </a:cxn>
                </a:cxnLst>
                <a:rect l="0" t="0" r="r" b="b"/>
                <a:pathLst>
                  <a:path w="21600" h="21600" extrusionOk="0">
                    <a:moveTo>
                      <a:pt x="21600" y="21387"/>
                    </a:moveTo>
                    <a:lnTo>
                      <a:pt x="60" y="21600"/>
                    </a:lnTo>
                    <a:lnTo>
                      <a:pt x="0" y="213"/>
                    </a:lnTo>
                    <a:lnTo>
                      <a:pt x="21540" y="0"/>
                    </a:lnTo>
                    <a:cubicBezTo>
                      <a:pt x="21540" y="0"/>
                      <a:pt x="21600" y="21387"/>
                      <a:pt x="21600" y="21387"/>
                    </a:cubicBezTo>
                    <a:close/>
                  </a:path>
                </a:pathLst>
              </a:custGeom>
              <a:solidFill>
                <a:srgbClr val="565F68"/>
              </a:solidFill>
              <a:ln w="12700" cap="flat">
                <a:noFill/>
                <a:miter lim="400000"/>
              </a:ln>
              <a:effectLst/>
            </p:spPr>
            <p:txBody>
              <a:bodyPr wrap="square" lIns="91440" tIns="45720" rIns="91440" bIns="45720" anchor="ctr">
                <a:normAutofit/>
              </a:bodyPr>
              <a:lstStyle/>
              <a:p>
                <a:pPr algn="ctr"/>
                <a:endParaRPr/>
              </a:p>
            </p:txBody>
          </p:sp>
          <p:sp>
            <p:nvSpPr>
              <p:cNvPr id="39" name="ïṡḷiḓé">
                <a:extLst>
                  <a:ext uri="{FF2B5EF4-FFF2-40B4-BE49-F238E27FC236}">
                    <a16:creationId xmlns:a16="http://schemas.microsoft.com/office/drawing/2014/main" id="{8C51912F-BF16-47BF-91E7-A7AA2F476BA9}"/>
                  </a:ext>
                </a:extLst>
              </p:cNvPr>
              <p:cNvSpPr/>
              <p:nvPr/>
            </p:nvSpPr>
            <p:spPr>
              <a:xfrm>
                <a:off x="4664560" y="2952735"/>
                <a:ext cx="2890217" cy="970731"/>
              </a:xfrm>
              <a:custGeom>
                <a:avLst/>
                <a:gdLst/>
                <a:ahLst/>
                <a:cxnLst>
                  <a:cxn ang="0">
                    <a:pos x="wd2" y="hd2"/>
                  </a:cxn>
                  <a:cxn ang="5400000">
                    <a:pos x="wd2" y="hd2"/>
                  </a:cxn>
                  <a:cxn ang="10800000">
                    <a:pos x="wd2" y="hd2"/>
                  </a:cxn>
                  <a:cxn ang="16200000">
                    <a:pos x="wd2" y="hd2"/>
                  </a:cxn>
                </a:cxnLst>
                <a:rect l="0" t="0" r="r" b="b"/>
                <a:pathLst>
                  <a:path w="21600" h="21600" extrusionOk="0">
                    <a:moveTo>
                      <a:pt x="0" y="21600"/>
                    </a:moveTo>
                    <a:lnTo>
                      <a:pt x="10762" y="0"/>
                    </a:lnTo>
                    <a:lnTo>
                      <a:pt x="21600" y="21261"/>
                    </a:lnTo>
                    <a:cubicBezTo>
                      <a:pt x="21600" y="21261"/>
                      <a:pt x="0" y="21600"/>
                      <a:pt x="0" y="21600"/>
                    </a:cubicBezTo>
                    <a:close/>
                  </a:path>
                </a:pathLst>
              </a:custGeom>
              <a:solidFill>
                <a:srgbClr val="565F68"/>
              </a:solidFill>
              <a:ln w="12700" cap="flat">
                <a:noFill/>
                <a:miter lim="400000"/>
              </a:ln>
              <a:effectLst/>
            </p:spPr>
            <p:txBody>
              <a:bodyPr wrap="square" lIns="91440" tIns="45720" rIns="91440" bIns="45720" anchor="ctr">
                <a:normAutofit/>
              </a:bodyPr>
              <a:lstStyle/>
              <a:p>
                <a:pPr algn="ctr"/>
                <a:endParaRPr/>
              </a:p>
            </p:txBody>
          </p:sp>
          <p:sp>
            <p:nvSpPr>
              <p:cNvPr id="40" name="ïšḷïḍé">
                <a:extLst>
                  <a:ext uri="{FF2B5EF4-FFF2-40B4-BE49-F238E27FC236}">
                    <a16:creationId xmlns:a16="http://schemas.microsoft.com/office/drawing/2014/main" id="{787D32DF-D2CC-46BD-BBF8-D6034A1E8080}"/>
                  </a:ext>
                </a:extLst>
              </p:cNvPr>
              <p:cNvSpPr/>
              <p:nvPr/>
            </p:nvSpPr>
            <p:spPr>
              <a:xfrm>
                <a:off x="4921794" y="2651583"/>
                <a:ext cx="2315365" cy="2023140"/>
              </a:xfrm>
              <a:custGeom>
                <a:avLst/>
                <a:gdLst/>
                <a:ahLst/>
                <a:cxnLst>
                  <a:cxn ang="0">
                    <a:pos x="wd2" y="hd2"/>
                  </a:cxn>
                  <a:cxn ang="5400000">
                    <a:pos x="wd2" y="hd2"/>
                  </a:cxn>
                  <a:cxn ang="10800000">
                    <a:pos x="wd2" y="hd2"/>
                  </a:cxn>
                  <a:cxn ang="16200000">
                    <a:pos x="wd2" y="hd2"/>
                  </a:cxn>
                </a:cxnLst>
                <a:rect l="0" t="0" r="r" b="b"/>
                <a:pathLst>
                  <a:path w="21600" h="21600" extrusionOk="0">
                    <a:moveTo>
                      <a:pt x="11107" y="21600"/>
                    </a:moveTo>
                    <a:lnTo>
                      <a:pt x="21600" y="15163"/>
                    </a:lnTo>
                    <a:lnTo>
                      <a:pt x="21581" y="0"/>
                    </a:lnTo>
                    <a:lnTo>
                      <a:pt x="0" y="0"/>
                    </a:lnTo>
                    <a:lnTo>
                      <a:pt x="31" y="14971"/>
                    </a:lnTo>
                    <a:cubicBezTo>
                      <a:pt x="31" y="14971"/>
                      <a:pt x="11107" y="21600"/>
                      <a:pt x="11107" y="21600"/>
                    </a:cubicBezTo>
                    <a:close/>
                  </a:path>
                </a:pathLst>
              </a:custGeom>
              <a:gradFill flip="none" rotWithShape="1">
                <a:gsLst>
                  <a:gs pos="11819">
                    <a:srgbClr val="E3E5E7"/>
                  </a:gs>
                  <a:gs pos="20041">
                    <a:srgbClr val="F1F2F3"/>
                  </a:gs>
                  <a:gs pos="51899">
                    <a:srgbClr val="FFFFFF"/>
                  </a:gs>
                </a:gsLst>
                <a:lin ang="16200000" scaled="0"/>
              </a:gradFill>
              <a:ln w="12700" cap="flat">
                <a:noFill/>
                <a:miter lim="400000"/>
              </a:ln>
              <a:effectLst/>
            </p:spPr>
            <p:txBody>
              <a:bodyPr wrap="square" lIns="91440" tIns="45720" rIns="91440" bIns="45720" anchor="ctr">
                <a:normAutofit/>
              </a:bodyPr>
              <a:lstStyle/>
              <a:p>
                <a:pPr algn="ctr"/>
                <a:endParaRPr/>
              </a:p>
            </p:txBody>
          </p:sp>
          <p:sp>
            <p:nvSpPr>
              <p:cNvPr id="41" name="išḷíḑè">
                <a:extLst>
                  <a:ext uri="{FF2B5EF4-FFF2-40B4-BE49-F238E27FC236}">
                    <a16:creationId xmlns:a16="http://schemas.microsoft.com/office/drawing/2014/main" id="{0819B773-490C-46AE-BBA1-8EC1E0DB98FB}"/>
                  </a:ext>
                </a:extLst>
              </p:cNvPr>
              <p:cNvSpPr/>
              <p:nvPr/>
            </p:nvSpPr>
            <p:spPr>
              <a:xfrm>
                <a:off x="4654296" y="3918932"/>
                <a:ext cx="1465675" cy="152852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10692"/>
                    </a:lnTo>
                    <a:lnTo>
                      <a:pt x="120" y="21600"/>
                    </a:lnTo>
                    <a:cubicBezTo>
                      <a:pt x="120" y="21600"/>
                      <a:pt x="0" y="0"/>
                      <a:pt x="0" y="0"/>
                    </a:cubicBezTo>
                    <a:close/>
                  </a:path>
                </a:pathLst>
              </a:custGeom>
              <a:solidFill>
                <a:schemeClr val="bg1">
                  <a:lumMod val="65000"/>
                </a:schemeClr>
              </a:solidFill>
              <a:ln w="12700" cap="flat">
                <a:noFill/>
                <a:miter lim="400000"/>
              </a:ln>
              <a:effectLst/>
            </p:spPr>
            <p:txBody>
              <a:bodyPr wrap="square" lIns="91440" tIns="45720" rIns="91440" bIns="45720" anchor="ctr">
                <a:normAutofit/>
              </a:bodyPr>
              <a:lstStyle/>
              <a:p>
                <a:pPr algn="ctr"/>
                <a:endParaRPr/>
              </a:p>
            </p:txBody>
          </p:sp>
          <p:sp>
            <p:nvSpPr>
              <p:cNvPr id="42" name="iSļiḍe">
                <a:extLst>
                  <a:ext uri="{FF2B5EF4-FFF2-40B4-BE49-F238E27FC236}">
                    <a16:creationId xmlns:a16="http://schemas.microsoft.com/office/drawing/2014/main" id="{803C01BC-05EC-430F-B90F-43C85916140D}"/>
                  </a:ext>
                </a:extLst>
              </p:cNvPr>
              <p:cNvSpPr/>
              <p:nvPr/>
            </p:nvSpPr>
            <p:spPr>
              <a:xfrm>
                <a:off x="6107423" y="3906383"/>
                <a:ext cx="1463809" cy="1528505"/>
              </a:xfrm>
              <a:custGeom>
                <a:avLst/>
                <a:gdLst/>
                <a:ahLst/>
                <a:cxnLst>
                  <a:cxn ang="0">
                    <a:pos x="wd2" y="hd2"/>
                  </a:cxn>
                  <a:cxn ang="5400000">
                    <a:pos x="wd2" y="hd2"/>
                  </a:cxn>
                  <a:cxn ang="10800000">
                    <a:pos x="wd2" y="hd2"/>
                  </a:cxn>
                  <a:cxn ang="16200000">
                    <a:pos x="wd2" y="hd2"/>
                  </a:cxn>
                </a:cxnLst>
                <a:rect l="0" t="0" r="r" b="b"/>
                <a:pathLst>
                  <a:path w="21600" h="21600" extrusionOk="0">
                    <a:moveTo>
                      <a:pt x="21480" y="0"/>
                    </a:moveTo>
                    <a:lnTo>
                      <a:pt x="0" y="10908"/>
                    </a:lnTo>
                    <a:lnTo>
                      <a:pt x="21600" y="21600"/>
                    </a:lnTo>
                    <a:cubicBezTo>
                      <a:pt x="21600" y="21600"/>
                      <a:pt x="21480" y="0"/>
                      <a:pt x="21480" y="0"/>
                    </a:cubicBezTo>
                    <a:close/>
                  </a:path>
                </a:pathLst>
              </a:custGeom>
              <a:solidFill>
                <a:schemeClr val="bg1">
                  <a:lumMod val="65000"/>
                </a:schemeClr>
              </a:solidFill>
              <a:ln w="12700" cap="flat">
                <a:noFill/>
                <a:miter lim="400000"/>
              </a:ln>
              <a:effectLst/>
            </p:spPr>
            <p:txBody>
              <a:bodyPr wrap="square" lIns="91440" tIns="45720" rIns="91440" bIns="45720" anchor="ctr">
                <a:normAutofit/>
              </a:bodyPr>
              <a:lstStyle/>
              <a:p>
                <a:pPr algn="ctr"/>
                <a:endParaRPr/>
              </a:p>
            </p:txBody>
          </p:sp>
          <p:sp>
            <p:nvSpPr>
              <p:cNvPr id="43" name="íS1îdè">
                <a:extLst>
                  <a:ext uri="{FF2B5EF4-FFF2-40B4-BE49-F238E27FC236}">
                    <a16:creationId xmlns:a16="http://schemas.microsoft.com/office/drawing/2014/main" id="{24C38BC3-892C-4A2C-8BE3-31F39BAC9A98}"/>
                  </a:ext>
                </a:extLst>
              </p:cNvPr>
              <p:cNvSpPr/>
              <p:nvPr/>
            </p:nvSpPr>
            <p:spPr>
              <a:xfrm>
                <a:off x="4672614" y="4678246"/>
                <a:ext cx="2890214" cy="771880"/>
              </a:xfrm>
              <a:custGeom>
                <a:avLst/>
                <a:gdLst/>
                <a:ahLst/>
                <a:cxnLst>
                  <a:cxn ang="0">
                    <a:pos x="wd2" y="hd2"/>
                  </a:cxn>
                  <a:cxn ang="5400000">
                    <a:pos x="wd2" y="hd2"/>
                  </a:cxn>
                  <a:cxn ang="10800000">
                    <a:pos x="wd2" y="hd2"/>
                  </a:cxn>
                  <a:cxn ang="16200000">
                    <a:pos x="wd2" y="hd2"/>
                  </a:cxn>
                </a:cxnLst>
                <a:rect l="0" t="0" r="r" b="b"/>
                <a:pathLst>
                  <a:path w="21600" h="21600" extrusionOk="0">
                    <a:moveTo>
                      <a:pt x="10770" y="0"/>
                    </a:moveTo>
                    <a:lnTo>
                      <a:pt x="0" y="21600"/>
                    </a:lnTo>
                    <a:lnTo>
                      <a:pt x="21600" y="21174"/>
                    </a:lnTo>
                    <a:cubicBezTo>
                      <a:pt x="21600" y="21174"/>
                      <a:pt x="10770" y="0"/>
                      <a:pt x="10770" y="0"/>
                    </a:cubicBezTo>
                    <a:close/>
                  </a:path>
                </a:pathLst>
              </a:custGeom>
              <a:solidFill>
                <a:schemeClr val="bg1">
                  <a:lumMod val="85000"/>
                </a:schemeClr>
              </a:solidFill>
              <a:ln w="12700" cap="flat">
                <a:noFill/>
                <a:miter lim="400000"/>
              </a:ln>
              <a:effectLst/>
            </p:spPr>
            <p:txBody>
              <a:bodyPr wrap="square" lIns="91440" tIns="45720" rIns="91440" bIns="45720" anchor="ctr">
                <a:normAutofit/>
              </a:bodyPr>
              <a:lstStyle/>
              <a:p>
                <a:pPr algn="ctr"/>
                <a:endParaRPr/>
              </a:p>
            </p:txBody>
          </p:sp>
          <p:sp>
            <p:nvSpPr>
              <p:cNvPr id="44" name="iṡ1iḑé">
                <a:extLst>
                  <a:ext uri="{FF2B5EF4-FFF2-40B4-BE49-F238E27FC236}">
                    <a16:creationId xmlns:a16="http://schemas.microsoft.com/office/drawing/2014/main" id="{369C4573-EDD3-4B69-A785-D1C366EB71E6}"/>
                  </a:ext>
                </a:extLst>
              </p:cNvPr>
              <p:cNvSpPr/>
              <p:nvPr/>
            </p:nvSpPr>
            <p:spPr>
              <a:xfrm>
                <a:off x="5248139" y="2921360"/>
                <a:ext cx="1724959" cy="1191278"/>
              </a:xfrm>
              <a:custGeom>
                <a:avLst/>
                <a:gdLst/>
                <a:ahLst/>
                <a:cxnLst>
                  <a:cxn ang="0">
                    <a:pos x="wd2" y="hd2"/>
                  </a:cxn>
                  <a:cxn ang="5400000">
                    <a:pos x="wd2" y="hd2"/>
                  </a:cxn>
                  <a:cxn ang="10800000">
                    <a:pos x="wd2" y="hd2"/>
                  </a:cxn>
                  <a:cxn ang="16200000">
                    <a:pos x="wd2" y="hd2"/>
                  </a:cxn>
                </a:cxnLst>
                <a:rect l="0" t="0" r="r" b="b"/>
                <a:pathLst>
                  <a:path w="21596" h="21595" extrusionOk="0">
                    <a:moveTo>
                      <a:pt x="20946" y="0"/>
                    </a:moveTo>
                    <a:lnTo>
                      <a:pt x="643" y="156"/>
                    </a:lnTo>
                    <a:cubicBezTo>
                      <a:pt x="286" y="159"/>
                      <a:pt x="-2" y="581"/>
                      <a:pt x="0" y="1098"/>
                    </a:cubicBezTo>
                    <a:cubicBezTo>
                      <a:pt x="2" y="1615"/>
                      <a:pt x="294" y="2036"/>
                      <a:pt x="650" y="2033"/>
                    </a:cubicBezTo>
                    <a:lnTo>
                      <a:pt x="20951" y="1876"/>
                    </a:lnTo>
                    <a:cubicBezTo>
                      <a:pt x="21307" y="1874"/>
                      <a:pt x="21598" y="1451"/>
                      <a:pt x="21596" y="935"/>
                    </a:cubicBezTo>
                    <a:cubicBezTo>
                      <a:pt x="21594" y="418"/>
                      <a:pt x="21302" y="-3"/>
                      <a:pt x="20946" y="0"/>
                    </a:cubicBezTo>
                    <a:close/>
                    <a:moveTo>
                      <a:pt x="20943" y="3867"/>
                    </a:moveTo>
                    <a:lnTo>
                      <a:pt x="643" y="4023"/>
                    </a:lnTo>
                    <a:cubicBezTo>
                      <a:pt x="286" y="4026"/>
                      <a:pt x="-2" y="4448"/>
                      <a:pt x="0" y="4965"/>
                    </a:cubicBezTo>
                    <a:cubicBezTo>
                      <a:pt x="2" y="5481"/>
                      <a:pt x="294" y="5902"/>
                      <a:pt x="650" y="5900"/>
                    </a:cubicBezTo>
                    <a:lnTo>
                      <a:pt x="20951" y="5747"/>
                    </a:lnTo>
                    <a:cubicBezTo>
                      <a:pt x="21307" y="5744"/>
                      <a:pt x="21598" y="5318"/>
                      <a:pt x="21596" y="4801"/>
                    </a:cubicBezTo>
                    <a:cubicBezTo>
                      <a:pt x="21594" y="4285"/>
                      <a:pt x="21300" y="3864"/>
                      <a:pt x="20943" y="3867"/>
                    </a:cubicBezTo>
                    <a:close/>
                    <a:moveTo>
                      <a:pt x="20946" y="7734"/>
                    </a:moveTo>
                    <a:lnTo>
                      <a:pt x="643" y="7890"/>
                    </a:lnTo>
                    <a:cubicBezTo>
                      <a:pt x="286" y="7893"/>
                      <a:pt x="-2" y="8315"/>
                      <a:pt x="0" y="8832"/>
                    </a:cubicBezTo>
                    <a:cubicBezTo>
                      <a:pt x="2" y="9348"/>
                      <a:pt x="294" y="9769"/>
                      <a:pt x="650" y="9766"/>
                    </a:cubicBezTo>
                    <a:lnTo>
                      <a:pt x="20951" y="9610"/>
                    </a:lnTo>
                    <a:cubicBezTo>
                      <a:pt x="21307" y="9608"/>
                      <a:pt x="21598" y="9185"/>
                      <a:pt x="21596" y="8668"/>
                    </a:cubicBezTo>
                    <a:cubicBezTo>
                      <a:pt x="21594" y="8152"/>
                      <a:pt x="21302" y="7731"/>
                      <a:pt x="20946" y="7734"/>
                    </a:cubicBezTo>
                    <a:close/>
                    <a:moveTo>
                      <a:pt x="20943" y="11714"/>
                    </a:moveTo>
                    <a:lnTo>
                      <a:pt x="643" y="11870"/>
                    </a:lnTo>
                    <a:cubicBezTo>
                      <a:pt x="286" y="11873"/>
                      <a:pt x="-2" y="12296"/>
                      <a:pt x="0" y="12812"/>
                    </a:cubicBezTo>
                    <a:cubicBezTo>
                      <a:pt x="2" y="13329"/>
                      <a:pt x="294" y="13749"/>
                      <a:pt x="650" y="13747"/>
                    </a:cubicBezTo>
                    <a:lnTo>
                      <a:pt x="20951" y="13594"/>
                    </a:lnTo>
                    <a:cubicBezTo>
                      <a:pt x="21307" y="13592"/>
                      <a:pt x="21598" y="13166"/>
                      <a:pt x="21596" y="12649"/>
                    </a:cubicBezTo>
                    <a:cubicBezTo>
                      <a:pt x="21594" y="12133"/>
                      <a:pt x="21300" y="11711"/>
                      <a:pt x="20943" y="11714"/>
                    </a:cubicBezTo>
                    <a:close/>
                    <a:moveTo>
                      <a:pt x="20946" y="15581"/>
                    </a:moveTo>
                    <a:lnTo>
                      <a:pt x="643" y="15737"/>
                    </a:lnTo>
                    <a:cubicBezTo>
                      <a:pt x="286" y="15740"/>
                      <a:pt x="-2" y="16163"/>
                      <a:pt x="0" y="16679"/>
                    </a:cubicBezTo>
                    <a:cubicBezTo>
                      <a:pt x="2" y="17196"/>
                      <a:pt x="294" y="17617"/>
                      <a:pt x="650" y="17614"/>
                    </a:cubicBezTo>
                    <a:lnTo>
                      <a:pt x="20951" y="17458"/>
                    </a:lnTo>
                    <a:cubicBezTo>
                      <a:pt x="21307" y="17455"/>
                      <a:pt x="21598" y="17032"/>
                      <a:pt x="21596" y="16516"/>
                    </a:cubicBezTo>
                    <a:cubicBezTo>
                      <a:pt x="21594" y="15999"/>
                      <a:pt x="21302" y="15578"/>
                      <a:pt x="20946" y="15581"/>
                    </a:cubicBezTo>
                    <a:close/>
                    <a:moveTo>
                      <a:pt x="20943" y="19562"/>
                    </a:moveTo>
                    <a:lnTo>
                      <a:pt x="643" y="19718"/>
                    </a:lnTo>
                    <a:cubicBezTo>
                      <a:pt x="286" y="19721"/>
                      <a:pt x="-2" y="20143"/>
                      <a:pt x="0" y="20660"/>
                    </a:cubicBezTo>
                    <a:cubicBezTo>
                      <a:pt x="2" y="21176"/>
                      <a:pt x="294" y="21597"/>
                      <a:pt x="650" y="21594"/>
                    </a:cubicBezTo>
                    <a:lnTo>
                      <a:pt x="20951" y="21442"/>
                    </a:lnTo>
                    <a:cubicBezTo>
                      <a:pt x="21307" y="21439"/>
                      <a:pt x="21598" y="21013"/>
                      <a:pt x="21596" y="20496"/>
                    </a:cubicBezTo>
                    <a:cubicBezTo>
                      <a:pt x="21594" y="19980"/>
                      <a:pt x="21300" y="19559"/>
                      <a:pt x="20943" y="19562"/>
                    </a:cubicBezTo>
                    <a:close/>
                  </a:path>
                </a:pathLst>
              </a:custGeom>
              <a:solidFill>
                <a:srgbClr val="D7D7D7"/>
              </a:solidFill>
              <a:ln w="12700" cap="flat">
                <a:noFill/>
                <a:miter lim="400000"/>
              </a:ln>
              <a:effectLst/>
            </p:spPr>
            <p:txBody>
              <a:bodyPr wrap="square" lIns="91440" tIns="45720" rIns="91440" bIns="45720" anchor="ctr">
                <a:normAutofit/>
              </a:bodyPr>
              <a:lstStyle/>
              <a:p>
                <a:pPr algn="ctr"/>
                <a:endParaRPr/>
              </a:p>
            </p:txBody>
          </p:sp>
        </p:grpSp>
        <p:grpSp>
          <p:nvGrpSpPr>
            <p:cNvPr id="11" name="iṣḷide">
              <a:extLst>
                <a:ext uri="{FF2B5EF4-FFF2-40B4-BE49-F238E27FC236}">
                  <a16:creationId xmlns:a16="http://schemas.microsoft.com/office/drawing/2014/main" id="{33391B5E-2873-455D-A363-E90BE8B1872A}"/>
                </a:ext>
              </a:extLst>
            </p:cNvPr>
            <p:cNvGrpSpPr/>
            <p:nvPr/>
          </p:nvGrpSpPr>
          <p:grpSpPr>
            <a:xfrm>
              <a:off x="673100" y="2855113"/>
              <a:ext cx="2108063" cy="1032278"/>
              <a:chOff x="696000" y="2124000"/>
              <a:chExt cx="2108063" cy="1032278"/>
            </a:xfrm>
          </p:grpSpPr>
          <p:sp>
            <p:nvSpPr>
              <p:cNvPr id="36" name="íṣļíḑè">
                <a:extLst>
                  <a:ext uri="{FF2B5EF4-FFF2-40B4-BE49-F238E27FC236}">
                    <a16:creationId xmlns:a16="http://schemas.microsoft.com/office/drawing/2014/main" id="{DE54D7C7-B576-4CBD-B986-3328BBD14043}"/>
                  </a:ext>
                </a:extLst>
              </p:cNvPr>
              <p:cNvSpPr/>
              <p:nvPr/>
            </p:nvSpPr>
            <p:spPr bwMode="auto">
              <a:xfrm>
                <a:off x="696000" y="2511598"/>
                <a:ext cx="2108063" cy="644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sz="1100"/>
                  <a:t>Supporting text here. </a:t>
                </a:r>
              </a:p>
              <a:p>
                <a:pPr algn="r">
                  <a:lnSpc>
                    <a:spcPct val="120000"/>
                  </a:lnSpc>
                </a:pPr>
                <a:r>
                  <a:rPr lang="en-US" altLang="zh-CN" sz="1100"/>
                  <a:t>… …</a:t>
                </a:r>
                <a:endParaRPr lang="en-US" altLang="zh-CN" sz="1100" dirty="0"/>
              </a:p>
            </p:txBody>
          </p:sp>
          <p:sp>
            <p:nvSpPr>
              <p:cNvPr id="37" name="ïṥļíďè">
                <a:extLst>
                  <a:ext uri="{FF2B5EF4-FFF2-40B4-BE49-F238E27FC236}">
                    <a16:creationId xmlns:a16="http://schemas.microsoft.com/office/drawing/2014/main" id="{E371CE47-24DF-4928-9D89-DEEA7A13760F}"/>
                  </a:ext>
                </a:extLst>
              </p:cNvPr>
              <p:cNvSpPr txBox="1"/>
              <p:nvPr/>
            </p:nvSpPr>
            <p:spPr bwMode="auto">
              <a:xfrm>
                <a:off x="696000" y="2124000"/>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b="1" dirty="0"/>
                  <a:t>Text here</a:t>
                </a:r>
              </a:p>
            </p:txBody>
          </p:sp>
        </p:grpSp>
        <p:grpSp>
          <p:nvGrpSpPr>
            <p:cNvPr id="12" name="îṡlïḑê">
              <a:extLst>
                <a:ext uri="{FF2B5EF4-FFF2-40B4-BE49-F238E27FC236}">
                  <a16:creationId xmlns:a16="http://schemas.microsoft.com/office/drawing/2014/main" id="{69921D07-7752-46A5-A71A-320EE92E931D}"/>
                </a:ext>
              </a:extLst>
            </p:cNvPr>
            <p:cNvGrpSpPr/>
            <p:nvPr/>
          </p:nvGrpSpPr>
          <p:grpSpPr>
            <a:xfrm>
              <a:off x="9393443" y="2855113"/>
              <a:ext cx="2108063" cy="1032278"/>
              <a:chOff x="9415542" y="2124000"/>
              <a:chExt cx="2108063" cy="1032278"/>
            </a:xfrm>
          </p:grpSpPr>
          <p:sp>
            <p:nvSpPr>
              <p:cNvPr id="34" name="ïṡļíḍé">
                <a:extLst>
                  <a:ext uri="{FF2B5EF4-FFF2-40B4-BE49-F238E27FC236}">
                    <a16:creationId xmlns:a16="http://schemas.microsoft.com/office/drawing/2014/main" id="{F5163FCC-9CE7-4CF6-B8F6-C2B4A323961B}"/>
                  </a:ext>
                </a:extLst>
              </p:cNvPr>
              <p:cNvSpPr/>
              <p:nvPr/>
            </p:nvSpPr>
            <p:spPr bwMode="auto">
              <a:xfrm>
                <a:off x="9415542" y="2511598"/>
                <a:ext cx="2108063" cy="644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a:t>Supporting text here. </a:t>
                </a:r>
              </a:p>
              <a:p>
                <a:pPr>
                  <a:lnSpc>
                    <a:spcPct val="120000"/>
                  </a:lnSpc>
                </a:pPr>
                <a:r>
                  <a:rPr lang="en-US" altLang="zh-CN" sz="1100"/>
                  <a:t>… …</a:t>
                </a:r>
                <a:endParaRPr lang="en-US" altLang="zh-CN" sz="1100" dirty="0"/>
              </a:p>
            </p:txBody>
          </p:sp>
          <p:sp>
            <p:nvSpPr>
              <p:cNvPr id="35" name="íšḻîḓê">
                <a:extLst>
                  <a:ext uri="{FF2B5EF4-FFF2-40B4-BE49-F238E27FC236}">
                    <a16:creationId xmlns:a16="http://schemas.microsoft.com/office/drawing/2014/main" id="{57E5CA4C-2F77-46B2-ADFB-6F922466F77A}"/>
                  </a:ext>
                </a:extLst>
              </p:cNvPr>
              <p:cNvSpPr txBox="1"/>
              <p:nvPr/>
            </p:nvSpPr>
            <p:spPr bwMode="auto">
              <a:xfrm>
                <a:off x="9415542" y="2124000"/>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10000"/>
                  </a:lnSpc>
                  <a:spcBef>
                    <a:spcPct val="0"/>
                  </a:spcBef>
                </a:pPr>
                <a:r>
                  <a:rPr lang="en-US" altLang="zh-CN" b="1" dirty="0"/>
                  <a:t>Text here</a:t>
                </a:r>
              </a:p>
            </p:txBody>
          </p:sp>
        </p:grpSp>
        <p:grpSp>
          <p:nvGrpSpPr>
            <p:cNvPr id="13" name="îṥliḍé">
              <a:extLst>
                <a:ext uri="{FF2B5EF4-FFF2-40B4-BE49-F238E27FC236}">
                  <a16:creationId xmlns:a16="http://schemas.microsoft.com/office/drawing/2014/main" id="{F7FA867B-4722-4946-B122-8C60F7D8EE58}"/>
                </a:ext>
              </a:extLst>
            </p:cNvPr>
            <p:cNvGrpSpPr/>
            <p:nvPr/>
          </p:nvGrpSpPr>
          <p:grpSpPr>
            <a:xfrm>
              <a:off x="9410837" y="4416267"/>
              <a:ext cx="2108063" cy="1032278"/>
              <a:chOff x="9432937" y="4241722"/>
              <a:chExt cx="2108063" cy="1032278"/>
            </a:xfrm>
          </p:grpSpPr>
          <p:sp>
            <p:nvSpPr>
              <p:cNvPr id="32" name="îṩḻíḓê">
                <a:extLst>
                  <a:ext uri="{FF2B5EF4-FFF2-40B4-BE49-F238E27FC236}">
                    <a16:creationId xmlns:a16="http://schemas.microsoft.com/office/drawing/2014/main" id="{B8185C8B-6B8E-4EC5-843C-512D5DCF3EF2}"/>
                  </a:ext>
                </a:extLst>
              </p:cNvPr>
              <p:cNvSpPr/>
              <p:nvPr/>
            </p:nvSpPr>
            <p:spPr bwMode="auto">
              <a:xfrm>
                <a:off x="9432937" y="4629320"/>
                <a:ext cx="2108063" cy="644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pPr>
                <a:r>
                  <a:rPr lang="en-US" altLang="zh-CN" sz="1100"/>
                  <a:t>Supporting text here. </a:t>
                </a:r>
              </a:p>
              <a:p>
                <a:pPr>
                  <a:lnSpc>
                    <a:spcPct val="120000"/>
                  </a:lnSpc>
                </a:pPr>
                <a:r>
                  <a:rPr lang="en-US" altLang="zh-CN" sz="1100"/>
                  <a:t>… …</a:t>
                </a:r>
                <a:endParaRPr lang="en-US" altLang="zh-CN" sz="1100" dirty="0"/>
              </a:p>
            </p:txBody>
          </p:sp>
          <p:sp>
            <p:nvSpPr>
              <p:cNvPr id="33" name="îslide">
                <a:extLst>
                  <a:ext uri="{FF2B5EF4-FFF2-40B4-BE49-F238E27FC236}">
                    <a16:creationId xmlns:a16="http://schemas.microsoft.com/office/drawing/2014/main" id="{49AFD32A-AD70-4920-8B0E-CB835C846051}"/>
                  </a:ext>
                </a:extLst>
              </p:cNvPr>
              <p:cNvSpPr txBox="1"/>
              <p:nvPr/>
            </p:nvSpPr>
            <p:spPr bwMode="auto">
              <a:xfrm>
                <a:off x="9432937" y="4241722"/>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lnSpcReduction="10000"/>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nSpc>
                    <a:spcPct val="120000"/>
                  </a:lnSpc>
                  <a:spcBef>
                    <a:spcPct val="0"/>
                  </a:spcBef>
                  <a:buFontTx/>
                  <a:buNone/>
                </a:pPr>
                <a:r>
                  <a:rPr lang="en-US" altLang="zh-CN" b="1" dirty="0"/>
                  <a:t>Text here</a:t>
                </a:r>
              </a:p>
            </p:txBody>
          </p:sp>
        </p:grpSp>
        <p:grpSp>
          <p:nvGrpSpPr>
            <p:cNvPr id="14" name="ïSļíde">
              <a:extLst>
                <a:ext uri="{FF2B5EF4-FFF2-40B4-BE49-F238E27FC236}">
                  <a16:creationId xmlns:a16="http://schemas.microsoft.com/office/drawing/2014/main" id="{EE414495-A077-4625-B39E-232177CAC15F}"/>
                </a:ext>
              </a:extLst>
            </p:cNvPr>
            <p:cNvGrpSpPr/>
            <p:nvPr/>
          </p:nvGrpSpPr>
          <p:grpSpPr>
            <a:xfrm>
              <a:off x="674415" y="4416267"/>
              <a:ext cx="2108063" cy="1032278"/>
              <a:chOff x="697315" y="4241722"/>
              <a:chExt cx="2108063" cy="1032278"/>
            </a:xfrm>
          </p:grpSpPr>
          <p:sp>
            <p:nvSpPr>
              <p:cNvPr id="30" name="ïŝľidê">
                <a:extLst>
                  <a:ext uri="{FF2B5EF4-FFF2-40B4-BE49-F238E27FC236}">
                    <a16:creationId xmlns:a16="http://schemas.microsoft.com/office/drawing/2014/main" id="{BED3EF21-56C3-43CD-8419-013091791FC4}"/>
                  </a:ext>
                </a:extLst>
              </p:cNvPr>
              <p:cNvSpPr/>
              <p:nvPr/>
            </p:nvSpPr>
            <p:spPr bwMode="auto">
              <a:xfrm>
                <a:off x="697315" y="4629320"/>
                <a:ext cx="2108063" cy="6446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20000"/>
                  </a:lnSpc>
                </a:pPr>
                <a:r>
                  <a:rPr lang="en-US" altLang="zh-CN" sz="1100"/>
                  <a:t>Supporting text here. </a:t>
                </a:r>
              </a:p>
              <a:p>
                <a:pPr algn="r">
                  <a:lnSpc>
                    <a:spcPct val="120000"/>
                  </a:lnSpc>
                </a:pPr>
                <a:r>
                  <a:rPr lang="en-US" altLang="zh-CN" sz="1100"/>
                  <a:t>… …</a:t>
                </a:r>
                <a:endParaRPr lang="en-US" altLang="zh-CN" sz="1100" dirty="0"/>
              </a:p>
            </p:txBody>
          </p:sp>
          <p:sp>
            <p:nvSpPr>
              <p:cNvPr id="31" name="îşlïḓé">
                <a:extLst>
                  <a:ext uri="{FF2B5EF4-FFF2-40B4-BE49-F238E27FC236}">
                    <a16:creationId xmlns:a16="http://schemas.microsoft.com/office/drawing/2014/main" id="{A00C6F49-C1C7-47F2-9CB0-D95D0F9207B4}"/>
                  </a:ext>
                </a:extLst>
              </p:cNvPr>
              <p:cNvSpPr txBox="1"/>
              <p:nvPr/>
            </p:nvSpPr>
            <p:spPr bwMode="auto">
              <a:xfrm>
                <a:off x="697315" y="4241722"/>
                <a:ext cx="2108063" cy="3875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b" anchorCtr="0">
                <a:norm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a:lnSpc>
                    <a:spcPct val="110000"/>
                  </a:lnSpc>
                  <a:spcBef>
                    <a:spcPct val="0"/>
                  </a:spcBef>
                </a:pPr>
                <a:r>
                  <a:rPr lang="en-US" altLang="zh-CN" b="1" dirty="0"/>
                  <a:t>Text here</a:t>
                </a:r>
              </a:p>
            </p:txBody>
          </p:sp>
        </p:grpSp>
        <p:cxnSp>
          <p:nvCxnSpPr>
            <p:cNvPr id="15" name="直接连接符 14">
              <a:extLst>
                <a:ext uri="{FF2B5EF4-FFF2-40B4-BE49-F238E27FC236}">
                  <a16:creationId xmlns:a16="http://schemas.microsoft.com/office/drawing/2014/main" id="{59F9DFB3-6ACA-41CF-9F84-73EEAD4AE10F}"/>
                </a:ext>
              </a:extLst>
            </p:cNvPr>
            <p:cNvCxnSpPr/>
            <p:nvPr/>
          </p:nvCxnSpPr>
          <p:spPr>
            <a:xfrm>
              <a:off x="673100" y="4151829"/>
              <a:ext cx="2002900" cy="0"/>
            </a:xfrm>
            <a:prstGeom prst="line">
              <a:avLst/>
            </a:prstGeom>
            <a:ln w="3175"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16" name="直接连接符 15">
              <a:extLst>
                <a:ext uri="{FF2B5EF4-FFF2-40B4-BE49-F238E27FC236}">
                  <a16:creationId xmlns:a16="http://schemas.microsoft.com/office/drawing/2014/main" id="{4B12E292-E3FE-49D9-A6DE-5A0CEB8E4A0E}"/>
                </a:ext>
              </a:extLst>
            </p:cNvPr>
            <p:cNvCxnSpPr>
              <a:cxnSpLocks/>
            </p:cNvCxnSpPr>
            <p:nvPr/>
          </p:nvCxnSpPr>
          <p:spPr>
            <a:xfrm>
              <a:off x="8970498" y="4151829"/>
              <a:ext cx="2548402" cy="0"/>
            </a:xfrm>
            <a:prstGeom prst="line">
              <a:avLst/>
            </a:prstGeom>
            <a:ln w="3175" cap="rnd">
              <a:solidFill>
                <a:schemeClr val="bg1">
                  <a:lumMod val="6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17" name="ïṧḻíďê">
              <a:extLst>
                <a:ext uri="{FF2B5EF4-FFF2-40B4-BE49-F238E27FC236}">
                  <a16:creationId xmlns:a16="http://schemas.microsoft.com/office/drawing/2014/main" id="{D3309370-A97E-4CEF-8FCB-ED42B864EAD8}"/>
                </a:ext>
              </a:extLst>
            </p:cNvPr>
            <p:cNvSpPr txBox="1"/>
            <p:nvPr/>
          </p:nvSpPr>
          <p:spPr>
            <a:xfrm>
              <a:off x="673099" y="1130300"/>
              <a:ext cx="10845800" cy="581926"/>
            </a:xfrm>
            <a:prstGeom prst="rect">
              <a:avLst/>
            </a:prstGeom>
            <a:noFill/>
            <a:ln>
              <a:noFill/>
            </a:ln>
          </p:spPr>
          <p:txBody>
            <a:bodyPr wrap="square" lIns="91440" tIns="45720" rIns="91440" bIns="45720" anchor="ctr" anchorCtr="0">
              <a:normAutofit/>
            </a:bodyPr>
            <a:lstStyle/>
            <a:p>
              <a:pPr marL="0" marR="0" lvl="0" indent="0" algn="ctr" defTabSz="913765" rtl="0" eaLnBrk="1" fontAlgn="auto" latinLnBrk="0" hangingPunct="1">
                <a:lnSpc>
                  <a:spcPct val="100000"/>
                </a:lnSpc>
                <a:spcBef>
                  <a:spcPts val="0"/>
                </a:spcBef>
                <a:spcAft>
                  <a:spcPts val="0"/>
                </a:spcAft>
                <a:buClrTx/>
                <a:buSzPct val="25000"/>
                <a:buFontTx/>
                <a:buNone/>
                <a:defRPr/>
              </a:pPr>
              <a:r>
                <a:rPr kumimoji="0" lang="en-US" sz="2800" b="0" i="0" u="none" strike="noStrike" kern="1200" cap="none" spc="0" normalizeH="0" baseline="0" noProof="0" dirty="0">
                  <a:ln>
                    <a:noFill/>
                  </a:ln>
                  <a:solidFill>
                    <a:srgbClr val="000000"/>
                  </a:solidFill>
                  <a:effectLst/>
                  <a:uLnTx/>
                  <a:uFillTx/>
                </a:rPr>
                <a:t>Unified fonts make reading more fluent.</a:t>
              </a:r>
            </a:p>
          </p:txBody>
        </p:sp>
        <p:grpSp>
          <p:nvGrpSpPr>
            <p:cNvPr id="18" name="ï$ḻíde">
              <a:extLst>
                <a:ext uri="{FF2B5EF4-FFF2-40B4-BE49-F238E27FC236}">
                  <a16:creationId xmlns:a16="http://schemas.microsoft.com/office/drawing/2014/main" id="{FE22F91B-702A-4937-88DA-22DA95624F7C}"/>
                </a:ext>
              </a:extLst>
            </p:cNvPr>
            <p:cNvGrpSpPr/>
            <p:nvPr/>
          </p:nvGrpSpPr>
          <p:grpSpPr>
            <a:xfrm>
              <a:off x="2903223" y="2847123"/>
              <a:ext cx="442451" cy="442451"/>
              <a:chOff x="855997" y="1916602"/>
              <a:chExt cx="703465" cy="703465"/>
            </a:xfrm>
          </p:grpSpPr>
          <p:sp>
            <p:nvSpPr>
              <p:cNvPr id="28" name="ïṧḻîḓe">
                <a:extLst>
                  <a:ext uri="{FF2B5EF4-FFF2-40B4-BE49-F238E27FC236}">
                    <a16:creationId xmlns:a16="http://schemas.microsoft.com/office/drawing/2014/main" id="{C61C3E36-8D0B-4A08-91AC-7157DABE19EC}"/>
                  </a:ext>
                </a:extLst>
              </p:cNvPr>
              <p:cNvSpPr/>
              <p:nvPr/>
            </p:nvSpPr>
            <p:spPr>
              <a:xfrm>
                <a:off x="855997" y="1916602"/>
                <a:ext cx="703465" cy="7034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20000"/>
              </a:bodyPr>
              <a:lstStyle/>
              <a:p>
                <a:pPr algn="ctr"/>
                <a:endParaRPr/>
              </a:p>
            </p:txBody>
          </p:sp>
          <p:sp>
            <p:nvSpPr>
              <p:cNvPr id="29" name="îṣḷîďê">
                <a:extLst>
                  <a:ext uri="{FF2B5EF4-FFF2-40B4-BE49-F238E27FC236}">
                    <a16:creationId xmlns:a16="http://schemas.microsoft.com/office/drawing/2014/main" id="{878EA4A4-AED7-43B4-BF87-B3F3F87A25F3}"/>
                  </a:ext>
                </a:extLst>
              </p:cNvPr>
              <p:cNvSpPr/>
              <p:nvPr/>
            </p:nvSpPr>
            <p:spPr bwMode="auto">
              <a:xfrm>
                <a:off x="1025570" y="2128283"/>
                <a:ext cx="364318" cy="280104"/>
              </a:xfrm>
              <a:custGeom>
                <a:avLst/>
                <a:gdLst>
                  <a:gd name="connsiteX0" fmla="*/ 32283 w 425250"/>
                  <a:gd name="connsiteY0" fmla="*/ 47013 h 326953"/>
                  <a:gd name="connsiteX1" fmla="*/ 150654 w 425250"/>
                  <a:gd name="connsiteY1" fmla="*/ 47013 h 326953"/>
                  <a:gd name="connsiteX2" fmla="*/ 165002 w 425250"/>
                  <a:gd name="connsiteY2" fmla="*/ 61369 h 326953"/>
                  <a:gd name="connsiteX3" fmla="*/ 150654 w 425250"/>
                  <a:gd name="connsiteY3" fmla="*/ 75725 h 326953"/>
                  <a:gd name="connsiteX4" fmla="*/ 32283 w 425250"/>
                  <a:gd name="connsiteY4" fmla="*/ 75725 h 326953"/>
                  <a:gd name="connsiteX5" fmla="*/ 28696 w 425250"/>
                  <a:gd name="connsiteY5" fmla="*/ 75725 h 326953"/>
                  <a:gd name="connsiteX6" fmla="*/ 28696 w 425250"/>
                  <a:gd name="connsiteY6" fmla="*/ 294652 h 326953"/>
                  <a:gd name="connsiteX7" fmla="*/ 32283 w 425250"/>
                  <a:gd name="connsiteY7" fmla="*/ 298241 h 326953"/>
                  <a:gd name="connsiteX8" fmla="*/ 369461 w 425250"/>
                  <a:gd name="connsiteY8" fmla="*/ 298241 h 326953"/>
                  <a:gd name="connsiteX9" fmla="*/ 373048 w 425250"/>
                  <a:gd name="connsiteY9" fmla="*/ 294652 h 326953"/>
                  <a:gd name="connsiteX10" fmla="*/ 373048 w 425250"/>
                  <a:gd name="connsiteY10" fmla="*/ 201339 h 326953"/>
                  <a:gd name="connsiteX11" fmla="*/ 387396 w 425250"/>
                  <a:gd name="connsiteY11" fmla="*/ 186983 h 326953"/>
                  <a:gd name="connsiteX12" fmla="*/ 401744 w 425250"/>
                  <a:gd name="connsiteY12" fmla="*/ 201339 h 326953"/>
                  <a:gd name="connsiteX13" fmla="*/ 401744 w 425250"/>
                  <a:gd name="connsiteY13" fmla="*/ 294652 h 326953"/>
                  <a:gd name="connsiteX14" fmla="*/ 369461 w 425250"/>
                  <a:gd name="connsiteY14" fmla="*/ 326953 h 326953"/>
                  <a:gd name="connsiteX15" fmla="*/ 32283 w 425250"/>
                  <a:gd name="connsiteY15" fmla="*/ 326953 h 326953"/>
                  <a:gd name="connsiteX16" fmla="*/ 0 w 425250"/>
                  <a:gd name="connsiteY16" fmla="*/ 294652 h 326953"/>
                  <a:gd name="connsiteX17" fmla="*/ 0 w 425250"/>
                  <a:gd name="connsiteY17" fmla="*/ 75725 h 326953"/>
                  <a:gd name="connsiteX18" fmla="*/ 32283 w 425250"/>
                  <a:gd name="connsiteY18" fmla="*/ 47013 h 326953"/>
                  <a:gd name="connsiteX19" fmla="*/ 291885 w 425250"/>
                  <a:gd name="connsiteY19" fmla="*/ 0 h 326953"/>
                  <a:gd name="connsiteX20" fmla="*/ 425250 w 425250"/>
                  <a:gd name="connsiteY20" fmla="*/ 104112 h 326953"/>
                  <a:gd name="connsiteX21" fmla="*/ 291885 w 425250"/>
                  <a:gd name="connsiteY21" fmla="*/ 208224 h 326953"/>
                  <a:gd name="connsiteX22" fmla="*/ 291885 w 425250"/>
                  <a:gd name="connsiteY22" fmla="*/ 143603 h 326953"/>
                  <a:gd name="connsiteX23" fmla="*/ 126079 w 425250"/>
                  <a:gd name="connsiteY23" fmla="*/ 269255 h 326953"/>
                  <a:gd name="connsiteX24" fmla="*/ 291885 w 425250"/>
                  <a:gd name="connsiteY24" fmla="*/ 71801 h 326953"/>
                  <a:gd name="connsiteX25" fmla="*/ 291885 w 425250"/>
                  <a:gd name="connsiteY25" fmla="*/ 0 h 32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5250" h="326953">
                    <a:moveTo>
                      <a:pt x="32283" y="47013"/>
                    </a:moveTo>
                    <a:cubicBezTo>
                      <a:pt x="150654" y="47013"/>
                      <a:pt x="150654" y="47013"/>
                      <a:pt x="150654" y="47013"/>
                    </a:cubicBezTo>
                    <a:cubicBezTo>
                      <a:pt x="157828" y="47013"/>
                      <a:pt x="165002" y="50602"/>
                      <a:pt x="165002" y="61369"/>
                    </a:cubicBezTo>
                    <a:cubicBezTo>
                      <a:pt x="165002" y="68547"/>
                      <a:pt x="157828" y="75725"/>
                      <a:pt x="150654" y="75725"/>
                    </a:cubicBezTo>
                    <a:cubicBezTo>
                      <a:pt x="32283" y="75725"/>
                      <a:pt x="32283" y="75725"/>
                      <a:pt x="32283" y="75725"/>
                    </a:cubicBezTo>
                    <a:cubicBezTo>
                      <a:pt x="28696" y="75725"/>
                      <a:pt x="28696" y="75725"/>
                      <a:pt x="28696" y="75725"/>
                    </a:cubicBezTo>
                    <a:cubicBezTo>
                      <a:pt x="28696" y="294652"/>
                      <a:pt x="28696" y="294652"/>
                      <a:pt x="28696" y="294652"/>
                    </a:cubicBezTo>
                    <a:cubicBezTo>
                      <a:pt x="28696" y="298241"/>
                      <a:pt x="28696" y="298241"/>
                      <a:pt x="32283" y="298241"/>
                    </a:cubicBezTo>
                    <a:cubicBezTo>
                      <a:pt x="369461" y="298241"/>
                      <a:pt x="369461" y="298241"/>
                      <a:pt x="369461" y="298241"/>
                    </a:cubicBezTo>
                    <a:cubicBezTo>
                      <a:pt x="369461" y="298241"/>
                      <a:pt x="373048" y="298241"/>
                      <a:pt x="373048" y="294652"/>
                    </a:cubicBezTo>
                    <a:cubicBezTo>
                      <a:pt x="373048" y="201339"/>
                      <a:pt x="373048" y="201339"/>
                      <a:pt x="373048" y="201339"/>
                    </a:cubicBezTo>
                    <a:cubicBezTo>
                      <a:pt x="373048" y="194161"/>
                      <a:pt x="376635" y="186983"/>
                      <a:pt x="387396" y="186983"/>
                    </a:cubicBezTo>
                    <a:cubicBezTo>
                      <a:pt x="394570" y="186983"/>
                      <a:pt x="401744" y="194161"/>
                      <a:pt x="401744" y="201339"/>
                    </a:cubicBezTo>
                    <a:cubicBezTo>
                      <a:pt x="401744" y="294652"/>
                      <a:pt x="401744" y="294652"/>
                      <a:pt x="401744" y="294652"/>
                    </a:cubicBezTo>
                    <a:cubicBezTo>
                      <a:pt x="401744" y="312597"/>
                      <a:pt x="387396" y="326953"/>
                      <a:pt x="369461" y="326953"/>
                    </a:cubicBezTo>
                    <a:cubicBezTo>
                      <a:pt x="32283" y="326953"/>
                      <a:pt x="32283" y="326953"/>
                      <a:pt x="32283" y="326953"/>
                    </a:cubicBezTo>
                    <a:cubicBezTo>
                      <a:pt x="14348" y="326953"/>
                      <a:pt x="0" y="312597"/>
                      <a:pt x="0" y="294652"/>
                    </a:cubicBezTo>
                    <a:cubicBezTo>
                      <a:pt x="0" y="75725"/>
                      <a:pt x="0" y="75725"/>
                      <a:pt x="0" y="75725"/>
                    </a:cubicBezTo>
                    <a:cubicBezTo>
                      <a:pt x="0" y="61369"/>
                      <a:pt x="14348" y="47013"/>
                      <a:pt x="32283" y="47013"/>
                    </a:cubicBezTo>
                    <a:close/>
                    <a:moveTo>
                      <a:pt x="291885" y="0"/>
                    </a:moveTo>
                    <a:cubicBezTo>
                      <a:pt x="291885" y="0"/>
                      <a:pt x="291885" y="0"/>
                      <a:pt x="425250" y="104112"/>
                    </a:cubicBezTo>
                    <a:cubicBezTo>
                      <a:pt x="425250" y="104112"/>
                      <a:pt x="425250" y="104112"/>
                      <a:pt x="291885" y="208224"/>
                    </a:cubicBezTo>
                    <a:cubicBezTo>
                      <a:pt x="291885" y="208224"/>
                      <a:pt x="291885" y="208224"/>
                      <a:pt x="291885" y="143603"/>
                    </a:cubicBezTo>
                    <a:cubicBezTo>
                      <a:pt x="234213" y="147193"/>
                      <a:pt x="180146" y="154373"/>
                      <a:pt x="126079" y="269255"/>
                    </a:cubicBezTo>
                    <a:cubicBezTo>
                      <a:pt x="126079" y="136423"/>
                      <a:pt x="162124" y="75392"/>
                      <a:pt x="291885" y="71801"/>
                    </a:cubicBezTo>
                    <a:cubicBezTo>
                      <a:pt x="291885" y="71801"/>
                      <a:pt x="291885" y="71801"/>
                      <a:pt x="291885" y="0"/>
                    </a:cubicBezTo>
                    <a:close/>
                  </a:path>
                </a:pathLst>
              </a:custGeom>
              <a:solidFill>
                <a:schemeClr val="bg1"/>
              </a:solidFill>
              <a:ln w="9525">
                <a:solidFill>
                  <a:schemeClr val="bg1"/>
                </a:solidFill>
                <a:round/>
                <a:headEnd/>
                <a:tailEnd/>
              </a:ln>
            </p:spPr>
            <p:txBody>
              <a:bodyPr wrap="square" lIns="91440" tIns="45720" rIns="91440" bIns="45720" anchor="ctr">
                <a:normAutofit fontScale="32500" lnSpcReduction="20000"/>
              </a:bodyPr>
              <a:lstStyle/>
              <a:p>
                <a:pPr algn="ctr"/>
                <a:endParaRPr/>
              </a:p>
            </p:txBody>
          </p:sp>
        </p:grpSp>
        <p:grpSp>
          <p:nvGrpSpPr>
            <p:cNvPr id="19" name="îSḻíḍê">
              <a:extLst>
                <a:ext uri="{FF2B5EF4-FFF2-40B4-BE49-F238E27FC236}">
                  <a16:creationId xmlns:a16="http://schemas.microsoft.com/office/drawing/2014/main" id="{2B73A114-E070-4B2E-AB4B-C87F736C0873}"/>
                </a:ext>
              </a:extLst>
            </p:cNvPr>
            <p:cNvGrpSpPr/>
            <p:nvPr/>
          </p:nvGrpSpPr>
          <p:grpSpPr>
            <a:xfrm>
              <a:off x="2903223" y="4388839"/>
              <a:ext cx="442451" cy="442451"/>
              <a:chOff x="855997" y="1916602"/>
              <a:chExt cx="703465" cy="703465"/>
            </a:xfrm>
          </p:grpSpPr>
          <p:sp>
            <p:nvSpPr>
              <p:cNvPr id="26" name="iṣľîḑê">
                <a:extLst>
                  <a:ext uri="{FF2B5EF4-FFF2-40B4-BE49-F238E27FC236}">
                    <a16:creationId xmlns:a16="http://schemas.microsoft.com/office/drawing/2014/main" id="{FF1416FF-4AB6-4B13-94B8-9BBA31D20FDD}"/>
                  </a:ext>
                </a:extLst>
              </p:cNvPr>
              <p:cNvSpPr/>
              <p:nvPr/>
            </p:nvSpPr>
            <p:spPr>
              <a:xfrm>
                <a:off x="855997" y="1916602"/>
                <a:ext cx="703465" cy="70346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20000"/>
              </a:bodyPr>
              <a:lstStyle/>
              <a:p>
                <a:pPr algn="ctr"/>
                <a:endParaRPr/>
              </a:p>
            </p:txBody>
          </p:sp>
          <p:sp>
            <p:nvSpPr>
              <p:cNvPr id="27" name="iSḷidê">
                <a:extLst>
                  <a:ext uri="{FF2B5EF4-FFF2-40B4-BE49-F238E27FC236}">
                    <a16:creationId xmlns:a16="http://schemas.microsoft.com/office/drawing/2014/main" id="{D7044190-1D8C-4E54-A2BD-D35935917E80}"/>
                  </a:ext>
                </a:extLst>
              </p:cNvPr>
              <p:cNvSpPr/>
              <p:nvPr/>
            </p:nvSpPr>
            <p:spPr bwMode="auto">
              <a:xfrm>
                <a:off x="1025570" y="2128283"/>
                <a:ext cx="364318" cy="280104"/>
              </a:xfrm>
              <a:custGeom>
                <a:avLst/>
                <a:gdLst>
                  <a:gd name="connsiteX0" fmla="*/ 32283 w 425250"/>
                  <a:gd name="connsiteY0" fmla="*/ 47013 h 326953"/>
                  <a:gd name="connsiteX1" fmla="*/ 150654 w 425250"/>
                  <a:gd name="connsiteY1" fmla="*/ 47013 h 326953"/>
                  <a:gd name="connsiteX2" fmla="*/ 165002 w 425250"/>
                  <a:gd name="connsiteY2" fmla="*/ 61369 h 326953"/>
                  <a:gd name="connsiteX3" fmla="*/ 150654 w 425250"/>
                  <a:gd name="connsiteY3" fmla="*/ 75725 h 326953"/>
                  <a:gd name="connsiteX4" fmla="*/ 32283 w 425250"/>
                  <a:gd name="connsiteY4" fmla="*/ 75725 h 326953"/>
                  <a:gd name="connsiteX5" fmla="*/ 28696 w 425250"/>
                  <a:gd name="connsiteY5" fmla="*/ 75725 h 326953"/>
                  <a:gd name="connsiteX6" fmla="*/ 28696 w 425250"/>
                  <a:gd name="connsiteY6" fmla="*/ 294652 h 326953"/>
                  <a:gd name="connsiteX7" fmla="*/ 32283 w 425250"/>
                  <a:gd name="connsiteY7" fmla="*/ 298241 h 326953"/>
                  <a:gd name="connsiteX8" fmla="*/ 369461 w 425250"/>
                  <a:gd name="connsiteY8" fmla="*/ 298241 h 326953"/>
                  <a:gd name="connsiteX9" fmla="*/ 373048 w 425250"/>
                  <a:gd name="connsiteY9" fmla="*/ 294652 h 326953"/>
                  <a:gd name="connsiteX10" fmla="*/ 373048 w 425250"/>
                  <a:gd name="connsiteY10" fmla="*/ 201339 h 326953"/>
                  <a:gd name="connsiteX11" fmla="*/ 387396 w 425250"/>
                  <a:gd name="connsiteY11" fmla="*/ 186983 h 326953"/>
                  <a:gd name="connsiteX12" fmla="*/ 401744 w 425250"/>
                  <a:gd name="connsiteY12" fmla="*/ 201339 h 326953"/>
                  <a:gd name="connsiteX13" fmla="*/ 401744 w 425250"/>
                  <a:gd name="connsiteY13" fmla="*/ 294652 h 326953"/>
                  <a:gd name="connsiteX14" fmla="*/ 369461 w 425250"/>
                  <a:gd name="connsiteY14" fmla="*/ 326953 h 326953"/>
                  <a:gd name="connsiteX15" fmla="*/ 32283 w 425250"/>
                  <a:gd name="connsiteY15" fmla="*/ 326953 h 326953"/>
                  <a:gd name="connsiteX16" fmla="*/ 0 w 425250"/>
                  <a:gd name="connsiteY16" fmla="*/ 294652 h 326953"/>
                  <a:gd name="connsiteX17" fmla="*/ 0 w 425250"/>
                  <a:gd name="connsiteY17" fmla="*/ 75725 h 326953"/>
                  <a:gd name="connsiteX18" fmla="*/ 32283 w 425250"/>
                  <a:gd name="connsiteY18" fmla="*/ 47013 h 326953"/>
                  <a:gd name="connsiteX19" fmla="*/ 291885 w 425250"/>
                  <a:gd name="connsiteY19" fmla="*/ 0 h 326953"/>
                  <a:gd name="connsiteX20" fmla="*/ 425250 w 425250"/>
                  <a:gd name="connsiteY20" fmla="*/ 104112 h 326953"/>
                  <a:gd name="connsiteX21" fmla="*/ 291885 w 425250"/>
                  <a:gd name="connsiteY21" fmla="*/ 208224 h 326953"/>
                  <a:gd name="connsiteX22" fmla="*/ 291885 w 425250"/>
                  <a:gd name="connsiteY22" fmla="*/ 143603 h 326953"/>
                  <a:gd name="connsiteX23" fmla="*/ 126079 w 425250"/>
                  <a:gd name="connsiteY23" fmla="*/ 269255 h 326953"/>
                  <a:gd name="connsiteX24" fmla="*/ 291885 w 425250"/>
                  <a:gd name="connsiteY24" fmla="*/ 71801 h 326953"/>
                  <a:gd name="connsiteX25" fmla="*/ 291885 w 425250"/>
                  <a:gd name="connsiteY25" fmla="*/ 0 h 32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5250" h="326953">
                    <a:moveTo>
                      <a:pt x="32283" y="47013"/>
                    </a:moveTo>
                    <a:cubicBezTo>
                      <a:pt x="150654" y="47013"/>
                      <a:pt x="150654" y="47013"/>
                      <a:pt x="150654" y="47013"/>
                    </a:cubicBezTo>
                    <a:cubicBezTo>
                      <a:pt x="157828" y="47013"/>
                      <a:pt x="165002" y="50602"/>
                      <a:pt x="165002" y="61369"/>
                    </a:cubicBezTo>
                    <a:cubicBezTo>
                      <a:pt x="165002" y="68547"/>
                      <a:pt x="157828" y="75725"/>
                      <a:pt x="150654" y="75725"/>
                    </a:cubicBezTo>
                    <a:cubicBezTo>
                      <a:pt x="32283" y="75725"/>
                      <a:pt x="32283" y="75725"/>
                      <a:pt x="32283" y="75725"/>
                    </a:cubicBezTo>
                    <a:cubicBezTo>
                      <a:pt x="28696" y="75725"/>
                      <a:pt x="28696" y="75725"/>
                      <a:pt x="28696" y="75725"/>
                    </a:cubicBezTo>
                    <a:cubicBezTo>
                      <a:pt x="28696" y="294652"/>
                      <a:pt x="28696" y="294652"/>
                      <a:pt x="28696" y="294652"/>
                    </a:cubicBezTo>
                    <a:cubicBezTo>
                      <a:pt x="28696" y="298241"/>
                      <a:pt x="28696" y="298241"/>
                      <a:pt x="32283" y="298241"/>
                    </a:cubicBezTo>
                    <a:cubicBezTo>
                      <a:pt x="369461" y="298241"/>
                      <a:pt x="369461" y="298241"/>
                      <a:pt x="369461" y="298241"/>
                    </a:cubicBezTo>
                    <a:cubicBezTo>
                      <a:pt x="369461" y="298241"/>
                      <a:pt x="373048" y="298241"/>
                      <a:pt x="373048" y="294652"/>
                    </a:cubicBezTo>
                    <a:cubicBezTo>
                      <a:pt x="373048" y="201339"/>
                      <a:pt x="373048" y="201339"/>
                      <a:pt x="373048" y="201339"/>
                    </a:cubicBezTo>
                    <a:cubicBezTo>
                      <a:pt x="373048" y="194161"/>
                      <a:pt x="376635" y="186983"/>
                      <a:pt x="387396" y="186983"/>
                    </a:cubicBezTo>
                    <a:cubicBezTo>
                      <a:pt x="394570" y="186983"/>
                      <a:pt x="401744" y="194161"/>
                      <a:pt x="401744" y="201339"/>
                    </a:cubicBezTo>
                    <a:cubicBezTo>
                      <a:pt x="401744" y="294652"/>
                      <a:pt x="401744" y="294652"/>
                      <a:pt x="401744" y="294652"/>
                    </a:cubicBezTo>
                    <a:cubicBezTo>
                      <a:pt x="401744" y="312597"/>
                      <a:pt x="387396" y="326953"/>
                      <a:pt x="369461" y="326953"/>
                    </a:cubicBezTo>
                    <a:cubicBezTo>
                      <a:pt x="32283" y="326953"/>
                      <a:pt x="32283" y="326953"/>
                      <a:pt x="32283" y="326953"/>
                    </a:cubicBezTo>
                    <a:cubicBezTo>
                      <a:pt x="14348" y="326953"/>
                      <a:pt x="0" y="312597"/>
                      <a:pt x="0" y="294652"/>
                    </a:cubicBezTo>
                    <a:cubicBezTo>
                      <a:pt x="0" y="75725"/>
                      <a:pt x="0" y="75725"/>
                      <a:pt x="0" y="75725"/>
                    </a:cubicBezTo>
                    <a:cubicBezTo>
                      <a:pt x="0" y="61369"/>
                      <a:pt x="14348" y="47013"/>
                      <a:pt x="32283" y="47013"/>
                    </a:cubicBezTo>
                    <a:close/>
                    <a:moveTo>
                      <a:pt x="291885" y="0"/>
                    </a:moveTo>
                    <a:cubicBezTo>
                      <a:pt x="291885" y="0"/>
                      <a:pt x="291885" y="0"/>
                      <a:pt x="425250" y="104112"/>
                    </a:cubicBezTo>
                    <a:cubicBezTo>
                      <a:pt x="425250" y="104112"/>
                      <a:pt x="425250" y="104112"/>
                      <a:pt x="291885" y="208224"/>
                    </a:cubicBezTo>
                    <a:cubicBezTo>
                      <a:pt x="291885" y="208224"/>
                      <a:pt x="291885" y="208224"/>
                      <a:pt x="291885" y="143603"/>
                    </a:cubicBezTo>
                    <a:cubicBezTo>
                      <a:pt x="234213" y="147193"/>
                      <a:pt x="180146" y="154373"/>
                      <a:pt x="126079" y="269255"/>
                    </a:cubicBezTo>
                    <a:cubicBezTo>
                      <a:pt x="126079" y="136423"/>
                      <a:pt x="162124" y="75392"/>
                      <a:pt x="291885" y="71801"/>
                    </a:cubicBezTo>
                    <a:cubicBezTo>
                      <a:pt x="291885" y="71801"/>
                      <a:pt x="291885" y="71801"/>
                      <a:pt x="291885" y="0"/>
                    </a:cubicBezTo>
                    <a:close/>
                  </a:path>
                </a:pathLst>
              </a:custGeom>
              <a:solidFill>
                <a:schemeClr val="bg1"/>
              </a:solidFill>
              <a:ln w="9525">
                <a:solidFill>
                  <a:schemeClr val="bg1"/>
                </a:solidFill>
                <a:round/>
                <a:headEnd/>
                <a:tailEnd/>
              </a:ln>
            </p:spPr>
            <p:txBody>
              <a:bodyPr wrap="square" lIns="91440" tIns="45720" rIns="91440" bIns="45720" anchor="ctr">
                <a:normAutofit fontScale="32500" lnSpcReduction="20000"/>
              </a:bodyPr>
              <a:lstStyle/>
              <a:p>
                <a:pPr algn="ctr"/>
                <a:endParaRPr/>
              </a:p>
            </p:txBody>
          </p:sp>
        </p:grpSp>
        <p:grpSp>
          <p:nvGrpSpPr>
            <p:cNvPr id="20" name="íSḻïḑe">
              <a:extLst>
                <a:ext uri="{FF2B5EF4-FFF2-40B4-BE49-F238E27FC236}">
                  <a16:creationId xmlns:a16="http://schemas.microsoft.com/office/drawing/2014/main" id="{F9B2FC92-3CCB-4BDD-87F3-09FD9FBE844F}"/>
                </a:ext>
              </a:extLst>
            </p:cNvPr>
            <p:cNvGrpSpPr/>
            <p:nvPr/>
          </p:nvGrpSpPr>
          <p:grpSpPr>
            <a:xfrm>
              <a:off x="8863843" y="2847123"/>
              <a:ext cx="442451" cy="442451"/>
              <a:chOff x="855997" y="1916602"/>
              <a:chExt cx="703465" cy="703465"/>
            </a:xfrm>
          </p:grpSpPr>
          <p:sp>
            <p:nvSpPr>
              <p:cNvPr id="24" name="îṧļiḍê">
                <a:extLst>
                  <a:ext uri="{FF2B5EF4-FFF2-40B4-BE49-F238E27FC236}">
                    <a16:creationId xmlns:a16="http://schemas.microsoft.com/office/drawing/2014/main" id="{C4EE9C90-3831-4359-BBE1-D6CED92457F0}"/>
                  </a:ext>
                </a:extLst>
              </p:cNvPr>
              <p:cNvSpPr/>
              <p:nvPr/>
            </p:nvSpPr>
            <p:spPr>
              <a:xfrm>
                <a:off x="855997" y="1916602"/>
                <a:ext cx="703465" cy="7034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20000"/>
              </a:bodyPr>
              <a:lstStyle/>
              <a:p>
                <a:pPr algn="ctr"/>
                <a:endParaRPr/>
              </a:p>
            </p:txBody>
          </p:sp>
          <p:sp>
            <p:nvSpPr>
              <p:cNvPr id="25" name="iSlíḍe">
                <a:extLst>
                  <a:ext uri="{FF2B5EF4-FFF2-40B4-BE49-F238E27FC236}">
                    <a16:creationId xmlns:a16="http://schemas.microsoft.com/office/drawing/2014/main" id="{54DD476F-EA84-4E2E-AC8B-AF9B490C039F}"/>
                  </a:ext>
                </a:extLst>
              </p:cNvPr>
              <p:cNvSpPr/>
              <p:nvPr/>
            </p:nvSpPr>
            <p:spPr bwMode="auto">
              <a:xfrm>
                <a:off x="1025570" y="2128283"/>
                <a:ext cx="364318" cy="280104"/>
              </a:xfrm>
              <a:custGeom>
                <a:avLst/>
                <a:gdLst>
                  <a:gd name="connsiteX0" fmla="*/ 32283 w 425250"/>
                  <a:gd name="connsiteY0" fmla="*/ 47013 h 326953"/>
                  <a:gd name="connsiteX1" fmla="*/ 150654 w 425250"/>
                  <a:gd name="connsiteY1" fmla="*/ 47013 h 326953"/>
                  <a:gd name="connsiteX2" fmla="*/ 165002 w 425250"/>
                  <a:gd name="connsiteY2" fmla="*/ 61369 h 326953"/>
                  <a:gd name="connsiteX3" fmla="*/ 150654 w 425250"/>
                  <a:gd name="connsiteY3" fmla="*/ 75725 h 326953"/>
                  <a:gd name="connsiteX4" fmla="*/ 32283 w 425250"/>
                  <a:gd name="connsiteY4" fmla="*/ 75725 h 326953"/>
                  <a:gd name="connsiteX5" fmla="*/ 28696 w 425250"/>
                  <a:gd name="connsiteY5" fmla="*/ 75725 h 326953"/>
                  <a:gd name="connsiteX6" fmla="*/ 28696 w 425250"/>
                  <a:gd name="connsiteY6" fmla="*/ 294652 h 326953"/>
                  <a:gd name="connsiteX7" fmla="*/ 32283 w 425250"/>
                  <a:gd name="connsiteY7" fmla="*/ 298241 h 326953"/>
                  <a:gd name="connsiteX8" fmla="*/ 369461 w 425250"/>
                  <a:gd name="connsiteY8" fmla="*/ 298241 h 326953"/>
                  <a:gd name="connsiteX9" fmla="*/ 373048 w 425250"/>
                  <a:gd name="connsiteY9" fmla="*/ 294652 h 326953"/>
                  <a:gd name="connsiteX10" fmla="*/ 373048 w 425250"/>
                  <a:gd name="connsiteY10" fmla="*/ 201339 h 326953"/>
                  <a:gd name="connsiteX11" fmla="*/ 387396 w 425250"/>
                  <a:gd name="connsiteY11" fmla="*/ 186983 h 326953"/>
                  <a:gd name="connsiteX12" fmla="*/ 401744 w 425250"/>
                  <a:gd name="connsiteY12" fmla="*/ 201339 h 326953"/>
                  <a:gd name="connsiteX13" fmla="*/ 401744 w 425250"/>
                  <a:gd name="connsiteY13" fmla="*/ 294652 h 326953"/>
                  <a:gd name="connsiteX14" fmla="*/ 369461 w 425250"/>
                  <a:gd name="connsiteY14" fmla="*/ 326953 h 326953"/>
                  <a:gd name="connsiteX15" fmla="*/ 32283 w 425250"/>
                  <a:gd name="connsiteY15" fmla="*/ 326953 h 326953"/>
                  <a:gd name="connsiteX16" fmla="*/ 0 w 425250"/>
                  <a:gd name="connsiteY16" fmla="*/ 294652 h 326953"/>
                  <a:gd name="connsiteX17" fmla="*/ 0 w 425250"/>
                  <a:gd name="connsiteY17" fmla="*/ 75725 h 326953"/>
                  <a:gd name="connsiteX18" fmla="*/ 32283 w 425250"/>
                  <a:gd name="connsiteY18" fmla="*/ 47013 h 326953"/>
                  <a:gd name="connsiteX19" fmla="*/ 291885 w 425250"/>
                  <a:gd name="connsiteY19" fmla="*/ 0 h 326953"/>
                  <a:gd name="connsiteX20" fmla="*/ 425250 w 425250"/>
                  <a:gd name="connsiteY20" fmla="*/ 104112 h 326953"/>
                  <a:gd name="connsiteX21" fmla="*/ 291885 w 425250"/>
                  <a:gd name="connsiteY21" fmla="*/ 208224 h 326953"/>
                  <a:gd name="connsiteX22" fmla="*/ 291885 w 425250"/>
                  <a:gd name="connsiteY22" fmla="*/ 143603 h 326953"/>
                  <a:gd name="connsiteX23" fmla="*/ 126079 w 425250"/>
                  <a:gd name="connsiteY23" fmla="*/ 269255 h 326953"/>
                  <a:gd name="connsiteX24" fmla="*/ 291885 w 425250"/>
                  <a:gd name="connsiteY24" fmla="*/ 71801 h 326953"/>
                  <a:gd name="connsiteX25" fmla="*/ 291885 w 425250"/>
                  <a:gd name="connsiteY25" fmla="*/ 0 h 32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5250" h="326953">
                    <a:moveTo>
                      <a:pt x="32283" y="47013"/>
                    </a:moveTo>
                    <a:cubicBezTo>
                      <a:pt x="150654" y="47013"/>
                      <a:pt x="150654" y="47013"/>
                      <a:pt x="150654" y="47013"/>
                    </a:cubicBezTo>
                    <a:cubicBezTo>
                      <a:pt x="157828" y="47013"/>
                      <a:pt x="165002" y="50602"/>
                      <a:pt x="165002" y="61369"/>
                    </a:cubicBezTo>
                    <a:cubicBezTo>
                      <a:pt x="165002" y="68547"/>
                      <a:pt x="157828" y="75725"/>
                      <a:pt x="150654" y="75725"/>
                    </a:cubicBezTo>
                    <a:cubicBezTo>
                      <a:pt x="32283" y="75725"/>
                      <a:pt x="32283" y="75725"/>
                      <a:pt x="32283" y="75725"/>
                    </a:cubicBezTo>
                    <a:cubicBezTo>
                      <a:pt x="28696" y="75725"/>
                      <a:pt x="28696" y="75725"/>
                      <a:pt x="28696" y="75725"/>
                    </a:cubicBezTo>
                    <a:cubicBezTo>
                      <a:pt x="28696" y="294652"/>
                      <a:pt x="28696" y="294652"/>
                      <a:pt x="28696" y="294652"/>
                    </a:cubicBezTo>
                    <a:cubicBezTo>
                      <a:pt x="28696" y="298241"/>
                      <a:pt x="28696" y="298241"/>
                      <a:pt x="32283" y="298241"/>
                    </a:cubicBezTo>
                    <a:cubicBezTo>
                      <a:pt x="369461" y="298241"/>
                      <a:pt x="369461" y="298241"/>
                      <a:pt x="369461" y="298241"/>
                    </a:cubicBezTo>
                    <a:cubicBezTo>
                      <a:pt x="369461" y="298241"/>
                      <a:pt x="373048" y="298241"/>
                      <a:pt x="373048" y="294652"/>
                    </a:cubicBezTo>
                    <a:cubicBezTo>
                      <a:pt x="373048" y="201339"/>
                      <a:pt x="373048" y="201339"/>
                      <a:pt x="373048" y="201339"/>
                    </a:cubicBezTo>
                    <a:cubicBezTo>
                      <a:pt x="373048" y="194161"/>
                      <a:pt x="376635" y="186983"/>
                      <a:pt x="387396" y="186983"/>
                    </a:cubicBezTo>
                    <a:cubicBezTo>
                      <a:pt x="394570" y="186983"/>
                      <a:pt x="401744" y="194161"/>
                      <a:pt x="401744" y="201339"/>
                    </a:cubicBezTo>
                    <a:cubicBezTo>
                      <a:pt x="401744" y="294652"/>
                      <a:pt x="401744" y="294652"/>
                      <a:pt x="401744" y="294652"/>
                    </a:cubicBezTo>
                    <a:cubicBezTo>
                      <a:pt x="401744" y="312597"/>
                      <a:pt x="387396" y="326953"/>
                      <a:pt x="369461" y="326953"/>
                    </a:cubicBezTo>
                    <a:cubicBezTo>
                      <a:pt x="32283" y="326953"/>
                      <a:pt x="32283" y="326953"/>
                      <a:pt x="32283" y="326953"/>
                    </a:cubicBezTo>
                    <a:cubicBezTo>
                      <a:pt x="14348" y="326953"/>
                      <a:pt x="0" y="312597"/>
                      <a:pt x="0" y="294652"/>
                    </a:cubicBezTo>
                    <a:cubicBezTo>
                      <a:pt x="0" y="75725"/>
                      <a:pt x="0" y="75725"/>
                      <a:pt x="0" y="75725"/>
                    </a:cubicBezTo>
                    <a:cubicBezTo>
                      <a:pt x="0" y="61369"/>
                      <a:pt x="14348" y="47013"/>
                      <a:pt x="32283" y="47013"/>
                    </a:cubicBezTo>
                    <a:close/>
                    <a:moveTo>
                      <a:pt x="291885" y="0"/>
                    </a:moveTo>
                    <a:cubicBezTo>
                      <a:pt x="291885" y="0"/>
                      <a:pt x="291885" y="0"/>
                      <a:pt x="425250" y="104112"/>
                    </a:cubicBezTo>
                    <a:cubicBezTo>
                      <a:pt x="425250" y="104112"/>
                      <a:pt x="425250" y="104112"/>
                      <a:pt x="291885" y="208224"/>
                    </a:cubicBezTo>
                    <a:cubicBezTo>
                      <a:pt x="291885" y="208224"/>
                      <a:pt x="291885" y="208224"/>
                      <a:pt x="291885" y="143603"/>
                    </a:cubicBezTo>
                    <a:cubicBezTo>
                      <a:pt x="234213" y="147193"/>
                      <a:pt x="180146" y="154373"/>
                      <a:pt x="126079" y="269255"/>
                    </a:cubicBezTo>
                    <a:cubicBezTo>
                      <a:pt x="126079" y="136423"/>
                      <a:pt x="162124" y="75392"/>
                      <a:pt x="291885" y="71801"/>
                    </a:cubicBezTo>
                    <a:cubicBezTo>
                      <a:pt x="291885" y="71801"/>
                      <a:pt x="291885" y="71801"/>
                      <a:pt x="291885" y="0"/>
                    </a:cubicBezTo>
                    <a:close/>
                  </a:path>
                </a:pathLst>
              </a:custGeom>
              <a:solidFill>
                <a:schemeClr val="bg1"/>
              </a:solidFill>
              <a:ln w="9525">
                <a:solidFill>
                  <a:schemeClr val="bg1"/>
                </a:solidFill>
                <a:round/>
                <a:headEnd/>
                <a:tailEnd/>
              </a:ln>
            </p:spPr>
            <p:txBody>
              <a:bodyPr wrap="square" lIns="91440" tIns="45720" rIns="91440" bIns="45720" anchor="ctr">
                <a:normAutofit fontScale="32500" lnSpcReduction="20000"/>
              </a:bodyPr>
              <a:lstStyle/>
              <a:p>
                <a:pPr algn="ctr"/>
                <a:endParaRPr/>
              </a:p>
            </p:txBody>
          </p:sp>
        </p:grpSp>
        <p:grpSp>
          <p:nvGrpSpPr>
            <p:cNvPr id="21" name="íśľiďè">
              <a:extLst>
                <a:ext uri="{FF2B5EF4-FFF2-40B4-BE49-F238E27FC236}">
                  <a16:creationId xmlns:a16="http://schemas.microsoft.com/office/drawing/2014/main" id="{8C82DFD3-2746-48B8-B2E1-153D59747BEF}"/>
                </a:ext>
              </a:extLst>
            </p:cNvPr>
            <p:cNvGrpSpPr/>
            <p:nvPr/>
          </p:nvGrpSpPr>
          <p:grpSpPr>
            <a:xfrm>
              <a:off x="8863843" y="4388839"/>
              <a:ext cx="442451" cy="442451"/>
              <a:chOff x="855997" y="1916602"/>
              <a:chExt cx="703465" cy="703465"/>
            </a:xfrm>
          </p:grpSpPr>
          <p:sp>
            <p:nvSpPr>
              <p:cNvPr id="22" name="iSḻiḑé">
                <a:extLst>
                  <a:ext uri="{FF2B5EF4-FFF2-40B4-BE49-F238E27FC236}">
                    <a16:creationId xmlns:a16="http://schemas.microsoft.com/office/drawing/2014/main" id="{E3DA622B-756C-45BE-8B8F-14D920B42469}"/>
                  </a:ext>
                </a:extLst>
              </p:cNvPr>
              <p:cNvSpPr/>
              <p:nvPr/>
            </p:nvSpPr>
            <p:spPr>
              <a:xfrm>
                <a:off x="855997" y="1916602"/>
                <a:ext cx="703465" cy="70346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fontScale="92500" lnSpcReduction="20000"/>
              </a:bodyPr>
              <a:lstStyle/>
              <a:p>
                <a:pPr algn="ctr"/>
                <a:endParaRPr/>
              </a:p>
            </p:txBody>
          </p:sp>
          <p:sp>
            <p:nvSpPr>
              <p:cNvPr id="23" name="išḻíďe">
                <a:extLst>
                  <a:ext uri="{FF2B5EF4-FFF2-40B4-BE49-F238E27FC236}">
                    <a16:creationId xmlns:a16="http://schemas.microsoft.com/office/drawing/2014/main" id="{78888461-5077-445E-8B18-946DAD5CD34A}"/>
                  </a:ext>
                </a:extLst>
              </p:cNvPr>
              <p:cNvSpPr/>
              <p:nvPr/>
            </p:nvSpPr>
            <p:spPr bwMode="auto">
              <a:xfrm>
                <a:off x="1025570" y="2128283"/>
                <a:ext cx="364318" cy="280104"/>
              </a:xfrm>
              <a:custGeom>
                <a:avLst/>
                <a:gdLst>
                  <a:gd name="connsiteX0" fmla="*/ 32283 w 425250"/>
                  <a:gd name="connsiteY0" fmla="*/ 47013 h 326953"/>
                  <a:gd name="connsiteX1" fmla="*/ 150654 w 425250"/>
                  <a:gd name="connsiteY1" fmla="*/ 47013 h 326953"/>
                  <a:gd name="connsiteX2" fmla="*/ 165002 w 425250"/>
                  <a:gd name="connsiteY2" fmla="*/ 61369 h 326953"/>
                  <a:gd name="connsiteX3" fmla="*/ 150654 w 425250"/>
                  <a:gd name="connsiteY3" fmla="*/ 75725 h 326953"/>
                  <a:gd name="connsiteX4" fmla="*/ 32283 w 425250"/>
                  <a:gd name="connsiteY4" fmla="*/ 75725 h 326953"/>
                  <a:gd name="connsiteX5" fmla="*/ 28696 w 425250"/>
                  <a:gd name="connsiteY5" fmla="*/ 75725 h 326953"/>
                  <a:gd name="connsiteX6" fmla="*/ 28696 w 425250"/>
                  <a:gd name="connsiteY6" fmla="*/ 294652 h 326953"/>
                  <a:gd name="connsiteX7" fmla="*/ 32283 w 425250"/>
                  <a:gd name="connsiteY7" fmla="*/ 298241 h 326953"/>
                  <a:gd name="connsiteX8" fmla="*/ 369461 w 425250"/>
                  <a:gd name="connsiteY8" fmla="*/ 298241 h 326953"/>
                  <a:gd name="connsiteX9" fmla="*/ 373048 w 425250"/>
                  <a:gd name="connsiteY9" fmla="*/ 294652 h 326953"/>
                  <a:gd name="connsiteX10" fmla="*/ 373048 w 425250"/>
                  <a:gd name="connsiteY10" fmla="*/ 201339 h 326953"/>
                  <a:gd name="connsiteX11" fmla="*/ 387396 w 425250"/>
                  <a:gd name="connsiteY11" fmla="*/ 186983 h 326953"/>
                  <a:gd name="connsiteX12" fmla="*/ 401744 w 425250"/>
                  <a:gd name="connsiteY12" fmla="*/ 201339 h 326953"/>
                  <a:gd name="connsiteX13" fmla="*/ 401744 w 425250"/>
                  <a:gd name="connsiteY13" fmla="*/ 294652 h 326953"/>
                  <a:gd name="connsiteX14" fmla="*/ 369461 w 425250"/>
                  <a:gd name="connsiteY14" fmla="*/ 326953 h 326953"/>
                  <a:gd name="connsiteX15" fmla="*/ 32283 w 425250"/>
                  <a:gd name="connsiteY15" fmla="*/ 326953 h 326953"/>
                  <a:gd name="connsiteX16" fmla="*/ 0 w 425250"/>
                  <a:gd name="connsiteY16" fmla="*/ 294652 h 326953"/>
                  <a:gd name="connsiteX17" fmla="*/ 0 w 425250"/>
                  <a:gd name="connsiteY17" fmla="*/ 75725 h 326953"/>
                  <a:gd name="connsiteX18" fmla="*/ 32283 w 425250"/>
                  <a:gd name="connsiteY18" fmla="*/ 47013 h 326953"/>
                  <a:gd name="connsiteX19" fmla="*/ 291885 w 425250"/>
                  <a:gd name="connsiteY19" fmla="*/ 0 h 326953"/>
                  <a:gd name="connsiteX20" fmla="*/ 425250 w 425250"/>
                  <a:gd name="connsiteY20" fmla="*/ 104112 h 326953"/>
                  <a:gd name="connsiteX21" fmla="*/ 291885 w 425250"/>
                  <a:gd name="connsiteY21" fmla="*/ 208224 h 326953"/>
                  <a:gd name="connsiteX22" fmla="*/ 291885 w 425250"/>
                  <a:gd name="connsiteY22" fmla="*/ 143603 h 326953"/>
                  <a:gd name="connsiteX23" fmla="*/ 126079 w 425250"/>
                  <a:gd name="connsiteY23" fmla="*/ 269255 h 326953"/>
                  <a:gd name="connsiteX24" fmla="*/ 291885 w 425250"/>
                  <a:gd name="connsiteY24" fmla="*/ 71801 h 326953"/>
                  <a:gd name="connsiteX25" fmla="*/ 291885 w 425250"/>
                  <a:gd name="connsiteY25" fmla="*/ 0 h 326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425250" h="326953">
                    <a:moveTo>
                      <a:pt x="32283" y="47013"/>
                    </a:moveTo>
                    <a:cubicBezTo>
                      <a:pt x="150654" y="47013"/>
                      <a:pt x="150654" y="47013"/>
                      <a:pt x="150654" y="47013"/>
                    </a:cubicBezTo>
                    <a:cubicBezTo>
                      <a:pt x="157828" y="47013"/>
                      <a:pt x="165002" y="50602"/>
                      <a:pt x="165002" y="61369"/>
                    </a:cubicBezTo>
                    <a:cubicBezTo>
                      <a:pt x="165002" y="68547"/>
                      <a:pt x="157828" y="75725"/>
                      <a:pt x="150654" y="75725"/>
                    </a:cubicBezTo>
                    <a:cubicBezTo>
                      <a:pt x="32283" y="75725"/>
                      <a:pt x="32283" y="75725"/>
                      <a:pt x="32283" y="75725"/>
                    </a:cubicBezTo>
                    <a:cubicBezTo>
                      <a:pt x="28696" y="75725"/>
                      <a:pt x="28696" y="75725"/>
                      <a:pt x="28696" y="75725"/>
                    </a:cubicBezTo>
                    <a:cubicBezTo>
                      <a:pt x="28696" y="294652"/>
                      <a:pt x="28696" y="294652"/>
                      <a:pt x="28696" y="294652"/>
                    </a:cubicBezTo>
                    <a:cubicBezTo>
                      <a:pt x="28696" y="298241"/>
                      <a:pt x="28696" y="298241"/>
                      <a:pt x="32283" y="298241"/>
                    </a:cubicBezTo>
                    <a:cubicBezTo>
                      <a:pt x="369461" y="298241"/>
                      <a:pt x="369461" y="298241"/>
                      <a:pt x="369461" y="298241"/>
                    </a:cubicBezTo>
                    <a:cubicBezTo>
                      <a:pt x="369461" y="298241"/>
                      <a:pt x="373048" y="298241"/>
                      <a:pt x="373048" y="294652"/>
                    </a:cubicBezTo>
                    <a:cubicBezTo>
                      <a:pt x="373048" y="201339"/>
                      <a:pt x="373048" y="201339"/>
                      <a:pt x="373048" y="201339"/>
                    </a:cubicBezTo>
                    <a:cubicBezTo>
                      <a:pt x="373048" y="194161"/>
                      <a:pt x="376635" y="186983"/>
                      <a:pt x="387396" y="186983"/>
                    </a:cubicBezTo>
                    <a:cubicBezTo>
                      <a:pt x="394570" y="186983"/>
                      <a:pt x="401744" y="194161"/>
                      <a:pt x="401744" y="201339"/>
                    </a:cubicBezTo>
                    <a:cubicBezTo>
                      <a:pt x="401744" y="294652"/>
                      <a:pt x="401744" y="294652"/>
                      <a:pt x="401744" y="294652"/>
                    </a:cubicBezTo>
                    <a:cubicBezTo>
                      <a:pt x="401744" y="312597"/>
                      <a:pt x="387396" y="326953"/>
                      <a:pt x="369461" y="326953"/>
                    </a:cubicBezTo>
                    <a:cubicBezTo>
                      <a:pt x="32283" y="326953"/>
                      <a:pt x="32283" y="326953"/>
                      <a:pt x="32283" y="326953"/>
                    </a:cubicBezTo>
                    <a:cubicBezTo>
                      <a:pt x="14348" y="326953"/>
                      <a:pt x="0" y="312597"/>
                      <a:pt x="0" y="294652"/>
                    </a:cubicBezTo>
                    <a:cubicBezTo>
                      <a:pt x="0" y="75725"/>
                      <a:pt x="0" y="75725"/>
                      <a:pt x="0" y="75725"/>
                    </a:cubicBezTo>
                    <a:cubicBezTo>
                      <a:pt x="0" y="61369"/>
                      <a:pt x="14348" y="47013"/>
                      <a:pt x="32283" y="47013"/>
                    </a:cubicBezTo>
                    <a:close/>
                    <a:moveTo>
                      <a:pt x="291885" y="0"/>
                    </a:moveTo>
                    <a:cubicBezTo>
                      <a:pt x="291885" y="0"/>
                      <a:pt x="291885" y="0"/>
                      <a:pt x="425250" y="104112"/>
                    </a:cubicBezTo>
                    <a:cubicBezTo>
                      <a:pt x="425250" y="104112"/>
                      <a:pt x="425250" y="104112"/>
                      <a:pt x="291885" y="208224"/>
                    </a:cubicBezTo>
                    <a:cubicBezTo>
                      <a:pt x="291885" y="208224"/>
                      <a:pt x="291885" y="208224"/>
                      <a:pt x="291885" y="143603"/>
                    </a:cubicBezTo>
                    <a:cubicBezTo>
                      <a:pt x="234213" y="147193"/>
                      <a:pt x="180146" y="154373"/>
                      <a:pt x="126079" y="269255"/>
                    </a:cubicBezTo>
                    <a:cubicBezTo>
                      <a:pt x="126079" y="136423"/>
                      <a:pt x="162124" y="75392"/>
                      <a:pt x="291885" y="71801"/>
                    </a:cubicBezTo>
                    <a:cubicBezTo>
                      <a:pt x="291885" y="71801"/>
                      <a:pt x="291885" y="71801"/>
                      <a:pt x="291885" y="0"/>
                    </a:cubicBezTo>
                    <a:close/>
                  </a:path>
                </a:pathLst>
              </a:custGeom>
              <a:solidFill>
                <a:schemeClr val="bg1"/>
              </a:solidFill>
              <a:ln w="9525">
                <a:solidFill>
                  <a:schemeClr val="bg1"/>
                </a:solidFill>
                <a:round/>
                <a:headEnd/>
                <a:tailEnd/>
              </a:ln>
            </p:spPr>
            <p:txBody>
              <a:bodyPr wrap="square" lIns="91440" tIns="45720" rIns="91440" bIns="45720" anchor="ctr">
                <a:normAutofit fontScale="32500" lnSpcReduction="20000"/>
              </a:bodyPr>
              <a:lstStyle/>
              <a:p>
                <a:pPr algn="ctr"/>
                <a:endParaRPr/>
              </a:p>
            </p:txBody>
          </p:sp>
        </p:grpSp>
      </p:grpSp>
    </p:spTree>
    <p:extLst>
      <p:ext uri="{BB962C8B-B14F-4D97-AF65-F5344CB8AC3E}">
        <p14:creationId xmlns:p14="http://schemas.microsoft.com/office/powerpoint/2010/main" val="202589629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38A0ED0-A4CF-4DF8-9FD0-9AD98A107DA9}"/>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DDEE4674-F35B-42AE-8CB4-3CBD62BAF51A}"/>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549C995A-E8B4-4A53-AE36-77695BD76928}"/>
              </a:ext>
            </a:extLst>
          </p:cNvPr>
          <p:cNvSpPr>
            <a:spLocks noGrp="1"/>
          </p:cNvSpPr>
          <p:nvPr>
            <p:ph type="sldNum" sz="quarter" idx="12"/>
          </p:nvPr>
        </p:nvSpPr>
        <p:spPr/>
        <p:txBody>
          <a:bodyPr/>
          <a:lstStyle/>
          <a:p>
            <a:fld id="{5DD3DB80-B894-403A-B48E-6FDC1A72010E}" type="slidenum">
              <a:rPr lang="zh-CN" altLang="en-US" smtClean="0"/>
              <a:pPr/>
              <a:t>29</a:t>
            </a:fld>
            <a:endParaRPr lang="zh-CN" altLang="en-US"/>
          </a:p>
        </p:txBody>
      </p:sp>
      <p:grpSp>
        <p:nvGrpSpPr>
          <p:cNvPr id="5" name="27194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41D13842-F829-44B8-BE9A-D88D1E6ECA56}"/>
              </a:ext>
            </a:extLst>
          </p:cNvPr>
          <p:cNvGrpSpPr>
            <a:grpSpLocks noChangeAspect="1"/>
          </p:cNvGrpSpPr>
          <p:nvPr/>
        </p:nvGrpSpPr>
        <p:grpSpPr>
          <a:xfrm>
            <a:off x="1957580" y="1282818"/>
            <a:ext cx="8487091" cy="4654771"/>
            <a:chOff x="1957580" y="1282818"/>
            <a:chExt cx="8487091" cy="4654771"/>
          </a:xfrm>
        </p:grpSpPr>
        <p:grpSp>
          <p:nvGrpSpPr>
            <p:cNvPr id="6" name="ísḷiḋé">
              <a:extLst>
                <a:ext uri="{FF2B5EF4-FFF2-40B4-BE49-F238E27FC236}">
                  <a16:creationId xmlns:a16="http://schemas.microsoft.com/office/drawing/2014/main" id="{A44230C5-C6FB-4C0B-B2AD-5A07F26CC1E6}"/>
                </a:ext>
              </a:extLst>
            </p:cNvPr>
            <p:cNvGrpSpPr/>
            <p:nvPr/>
          </p:nvGrpSpPr>
          <p:grpSpPr>
            <a:xfrm>
              <a:off x="5419309" y="1815804"/>
              <a:ext cx="238958" cy="3645492"/>
              <a:chOff x="5489678" y="2022789"/>
              <a:chExt cx="238958" cy="3645492"/>
            </a:xfrm>
          </p:grpSpPr>
          <p:cxnSp>
            <p:nvCxnSpPr>
              <p:cNvPr id="31" name="直接连接符 30">
                <a:extLst>
                  <a:ext uri="{FF2B5EF4-FFF2-40B4-BE49-F238E27FC236}">
                    <a16:creationId xmlns:a16="http://schemas.microsoft.com/office/drawing/2014/main" id="{8676CDFC-E909-4A4D-94F3-A3D644D2C260}"/>
                  </a:ext>
                </a:extLst>
              </p:cNvPr>
              <p:cNvCxnSpPr>
                <a:cxnSpLocks/>
              </p:cNvCxnSpPr>
              <p:nvPr/>
            </p:nvCxnSpPr>
            <p:spPr>
              <a:xfrm>
                <a:off x="5609157" y="4052520"/>
                <a:ext cx="0" cy="1376803"/>
              </a:xfrm>
              <a:prstGeom prst="line">
                <a:avLst/>
              </a:prstGeom>
              <a:ln w="635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32" name="直接连接符 31">
                <a:extLst>
                  <a:ext uri="{FF2B5EF4-FFF2-40B4-BE49-F238E27FC236}">
                    <a16:creationId xmlns:a16="http://schemas.microsoft.com/office/drawing/2014/main" id="{360AB1E3-FAC1-4453-A2D3-0327F707D271}"/>
                  </a:ext>
                </a:extLst>
              </p:cNvPr>
              <p:cNvCxnSpPr>
                <a:cxnSpLocks/>
                <a:stCxn id="33" idx="2"/>
              </p:cNvCxnSpPr>
              <p:nvPr/>
            </p:nvCxnSpPr>
            <p:spPr>
              <a:xfrm>
                <a:off x="5609157" y="2261747"/>
                <a:ext cx="0" cy="1376803"/>
              </a:xfrm>
              <a:prstGeom prst="line">
                <a:avLst/>
              </a:prstGeom>
              <a:ln w="635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33" name="ïSḻîde">
                <a:extLst>
                  <a:ext uri="{FF2B5EF4-FFF2-40B4-BE49-F238E27FC236}">
                    <a16:creationId xmlns:a16="http://schemas.microsoft.com/office/drawing/2014/main" id="{BB7867E7-FD99-4F18-9586-6AE50210AA38}"/>
                  </a:ext>
                </a:extLst>
              </p:cNvPr>
              <p:cNvSpPr/>
              <p:nvPr/>
            </p:nvSpPr>
            <p:spPr>
              <a:xfrm flipH="1">
                <a:off x="5489678" y="2022789"/>
                <a:ext cx="238958" cy="238958"/>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34" name="íṧļîḋê">
                <a:extLst>
                  <a:ext uri="{FF2B5EF4-FFF2-40B4-BE49-F238E27FC236}">
                    <a16:creationId xmlns:a16="http://schemas.microsoft.com/office/drawing/2014/main" id="{07C6D637-714E-4FF5-95B6-BFBE20F04FDF}"/>
                  </a:ext>
                </a:extLst>
              </p:cNvPr>
              <p:cNvSpPr/>
              <p:nvPr/>
            </p:nvSpPr>
            <p:spPr>
              <a:xfrm flipH="1">
                <a:off x="5489678" y="3726056"/>
                <a:ext cx="238958" cy="238958"/>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35" name="iSľidé">
                <a:extLst>
                  <a:ext uri="{FF2B5EF4-FFF2-40B4-BE49-F238E27FC236}">
                    <a16:creationId xmlns:a16="http://schemas.microsoft.com/office/drawing/2014/main" id="{1F709A6A-CDC0-4D25-AADB-250F27C6CB38}"/>
                  </a:ext>
                </a:extLst>
              </p:cNvPr>
              <p:cNvSpPr/>
              <p:nvPr/>
            </p:nvSpPr>
            <p:spPr>
              <a:xfrm flipH="1">
                <a:off x="5489678" y="5429323"/>
                <a:ext cx="238958" cy="238958"/>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grpSp>
        <p:grpSp>
          <p:nvGrpSpPr>
            <p:cNvPr id="7" name="ïŝľiḑê">
              <a:extLst>
                <a:ext uri="{FF2B5EF4-FFF2-40B4-BE49-F238E27FC236}">
                  <a16:creationId xmlns:a16="http://schemas.microsoft.com/office/drawing/2014/main" id="{0D87D834-DE50-4868-A22E-AA11239A57B8}"/>
                </a:ext>
              </a:extLst>
            </p:cNvPr>
            <p:cNvGrpSpPr/>
            <p:nvPr/>
          </p:nvGrpSpPr>
          <p:grpSpPr>
            <a:xfrm>
              <a:off x="6533734" y="1815804"/>
              <a:ext cx="238958" cy="3645492"/>
              <a:chOff x="5489678" y="2022789"/>
              <a:chExt cx="238958" cy="3645492"/>
            </a:xfrm>
          </p:grpSpPr>
          <p:cxnSp>
            <p:nvCxnSpPr>
              <p:cNvPr id="26" name="直接连接符 25">
                <a:extLst>
                  <a:ext uri="{FF2B5EF4-FFF2-40B4-BE49-F238E27FC236}">
                    <a16:creationId xmlns:a16="http://schemas.microsoft.com/office/drawing/2014/main" id="{1791BE2B-FE19-4CAC-B9B1-02F2360489A0}"/>
                  </a:ext>
                </a:extLst>
              </p:cNvPr>
              <p:cNvCxnSpPr>
                <a:cxnSpLocks/>
              </p:cNvCxnSpPr>
              <p:nvPr/>
            </p:nvCxnSpPr>
            <p:spPr>
              <a:xfrm>
                <a:off x="5609157" y="4052520"/>
                <a:ext cx="0" cy="1376803"/>
              </a:xfrm>
              <a:prstGeom prst="line">
                <a:avLst/>
              </a:prstGeom>
              <a:ln w="635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27" name="直接连接符 26">
                <a:extLst>
                  <a:ext uri="{FF2B5EF4-FFF2-40B4-BE49-F238E27FC236}">
                    <a16:creationId xmlns:a16="http://schemas.microsoft.com/office/drawing/2014/main" id="{840FF532-BD76-47BF-9720-B662134DD6A6}"/>
                  </a:ext>
                </a:extLst>
              </p:cNvPr>
              <p:cNvCxnSpPr>
                <a:cxnSpLocks/>
                <a:stCxn id="28" idx="2"/>
              </p:cNvCxnSpPr>
              <p:nvPr/>
            </p:nvCxnSpPr>
            <p:spPr>
              <a:xfrm>
                <a:off x="5609157" y="2261747"/>
                <a:ext cx="0" cy="1376803"/>
              </a:xfrm>
              <a:prstGeom prst="line">
                <a:avLst/>
              </a:prstGeom>
              <a:ln w="63500">
                <a:solidFill>
                  <a:schemeClr val="bg1">
                    <a:lumMod val="85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8" name="iS1îḓè">
                <a:extLst>
                  <a:ext uri="{FF2B5EF4-FFF2-40B4-BE49-F238E27FC236}">
                    <a16:creationId xmlns:a16="http://schemas.microsoft.com/office/drawing/2014/main" id="{CCE6E189-B29C-4446-9BB4-2B4DCDCE9AF0}"/>
                  </a:ext>
                </a:extLst>
              </p:cNvPr>
              <p:cNvSpPr/>
              <p:nvPr/>
            </p:nvSpPr>
            <p:spPr>
              <a:xfrm flipH="1">
                <a:off x="5489678" y="2022789"/>
                <a:ext cx="238958" cy="238958"/>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29" name="îsľíďê">
                <a:extLst>
                  <a:ext uri="{FF2B5EF4-FFF2-40B4-BE49-F238E27FC236}">
                    <a16:creationId xmlns:a16="http://schemas.microsoft.com/office/drawing/2014/main" id="{2FF97A07-2759-49BF-B261-AD2129F80A5B}"/>
                  </a:ext>
                </a:extLst>
              </p:cNvPr>
              <p:cNvSpPr/>
              <p:nvPr/>
            </p:nvSpPr>
            <p:spPr>
              <a:xfrm flipH="1">
                <a:off x="5489678" y="3726056"/>
                <a:ext cx="238958" cy="238958"/>
              </a:xfrm>
              <a:prstGeom prst="diamond">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sp>
            <p:nvSpPr>
              <p:cNvPr id="30" name="ïṧlîḓê">
                <a:extLst>
                  <a:ext uri="{FF2B5EF4-FFF2-40B4-BE49-F238E27FC236}">
                    <a16:creationId xmlns:a16="http://schemas.microsoft.com/office/drawing/2014/main" id="{0AF5675E-FAF5-4022-94D3-90D9AF6337D9}"/>
                  </a:ext>
                </a:extLst>
              </p:cNvPr>
              <p:cNvSpPr/>
              <p:nvPr/>
            </p:nvSpPr>
            <p:spPr>
              <a:xfrm flipH="1">
                <a:off x="5489678" y="5429323"/>
                <a:ext cx="238958" cy="238958"/>
              </a:xfrm>
              <a:prstGeom prst="diamond">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vi-VN" sz="900"/>
              </a:p>
            </p:txBody>
          </p:sp>
        </p:grpSp>
        <p:sp>
          <p:nvSpPr>
            <p:cNvPr id="8" name="isḻîḋé">
              <a:extLst>
                <a:ext uri="{FF2B5EF4-FFF2-40B4-BE49-F238E27FC236}">
                  <a16:creationId xmlns:a16="http://schemas.microsoft.com/office/drawing/2014/main" id="{6D491C01-A3F7-4519-A008-C21BAA4F862A}"/>
                </a:ext>
              </a:extLst>
            </p:cNvPr>
            <p:cNvSpPr txBox="1"/>
            <p:nvPr/>
          </p:nvSpPr>
          <p:spPr>
            <a:xfrm>
              <a:off x="1957580" y="1282818"/>
              <a:ext cx="2410141" cy="527057"/>
            </a:xfrm>
            <a:prstGeom prst="rect">
              <a:avLst/>
            </a:prstGeom>
            <a:noFill/>
          </p:spPr>
          <p:txBody>
            <a:bodyPr wrap="square" lIns="91440" tIns="45720" rIns="91440" bIns="45720" rtlCol="0" anchor="b" anchorCtr="0">
              <a:normAutofit/>
            </a:bodyPr>
            <a:lstStyle/>
            <a:p>
              <a:pPr algn="r">
                <a:lnSpc>
                  <a:spcPct val="150000"/>
                </a:lnSpc>
              </a:pPr>
              <a:r>
                <a:rPr lang="en-US" altLang="zh-CN" sz="1600" b="1" dirty="0"/>
                <a:t>Text here</a:t>
              </a:r>
              <a:endParaRPr lang="vi-VN" sz="1600" b="1" dirty="0"/>
            </a:p>
          </p:txBody>
        </p:sp>
        <p:sp>
          <p:nvSpPr>
            <p:cNvPr id="9" name="išḷïḓé">
              <a:extLst>
                <a:ext uri="{FF2B5EF4-FFF2-40B4-BE49-F238E27FC236}">
                  <a16:creationId xmlns:a16="http://schemas.microsoft.com/office/drawing/2014/main" id="{2BBDC8E5-707D-4065-B592-D7B0002BBF5C}"/>
                </a:ext>
              </a:extLst>
            </p:cNvPr>
            <p:cNvSpPr txBox="1"/>
            <p:nvPr/>
          </p:nvSpPr>
          <p:spPr>
            <a:xfrm>
              <a:off x="1957580" y="1809874"/>
              <a:ext cx="2410141" cy="698715"/>
            </a:xfrm>
            <a:prstGeom prst="rect">
              <a:avLst/>
            </a:prstGeom>
            <a:noFill/>
          </p:spPr>
          <p:txBody>
            <a:bodyPr wrap="square" lIns="91440" tIns="45720" rIns="91440" bIns="45720" rtlCol="0" anchor="t" anchorCtr="0">
              <a:normAutofit/>
            </a:bodyPr>
            <a:lstStyle/>
            <a:p>
              <a:pPr algn="r">
                <a:lnSpc>
                  <a:spcPct val="120000"/>
                </a:lnSpc>
              </a:pPr>
              <a:r>
                <a:rPr lang="en-US" altLang="zh-CN" sz="1100" dirty="0"/>
                <a:t>Copy paste fonts. Choose the only option to retain text……</a:t>
              </a:r>
            </a:p>
          </p:txBody>
        </p:sp>
        <p:sp>
          <p:nvSpPr>
            <p:cNvPr id="10" name="ï$lïďê">
              <a:extLst>
                <a:ext uri="{FF2B5EF4-FFF2-40B4-BE49-F238E27FC236}">
                  <a16:creationId xmlns:a16="http://schemas.microsoft.com/office/drawing/2014/main" id="{C8733202-B9A0-48C7-A9C1-BE0B4EF3DD9B}"/>
                </a:ext>
              </a:extLst>
            </p:cNvPr>
            <p:cNvSpPr/>
            <p:nvPr/>
          </p:nvSpPr>
          <p:spPr>
            <a:xfrm>
              <a:off x="4475338" y="1533718"/>
              <a:ext cx="728737" cy="728737"/>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sz="1400">
                  <a:solidFill>
                    <a:schemeClr val="bg1"/>
                  </a:solidFill>
                </a:rPr>
                <a:t>15K</a:t>
              </a:r>
              <a:endParaRPr lang="en-US" sz="1400" dirty="0">
                <a:solidFill>
                  <a:schemeClr val="bg1"/>
                </a:solidFill>
              </a:endParaRPr>
            </a:p>
          </p:txBody>
        </p:sp>
        <p:sp>
          <p:nvSpPr>
            <p:cNvPr id="11" name="iśľîďe">
              <a:extLst>
                <a:ext uri="{FF2B5EF4-FFF2-40B4-BE49-F238E27FC236}">
                  <a16:creationId xmlns:a16="http://schemas.microsoft.com/office/drawing/2014/main" id="{06C50FAC-6457-4887-AD0D-6716222E5DBE}"/>
                </a:ext>
              </a:extLst>
            </p:cNvPr>
            <p:cNvSpPr txBox="1"/>
            <p:nvPr/>
          </p:nvSpPr>
          <p:spPr>
            <a:xfrm>
              <a:off x="1957580" y="2997318"/>
              <a:ext cx="2410141" cy="527057"/>
            </a:xfrm>
            <a:prstGeom prst="rect">
              <a:avLst/>
            </a:prstGeom>
            <a:noFill/>
          </p:spPr>
          <p:txBody>
            <a:bodyPr wrap="square" lIns="91440" tIns="45720" rIns="91440" bIns="45720" rtlCol="0" anchor="b" anchorCtr="0">
              <a:normAutofit/>
            </a:bodyPr>
            <a:lstStyle/>
            <a:p>
              <a:pPr algn="r">
                <a:lnSpc>
                  <a:spcPct val="150000"/>
                </a:lnSpc>
              </a:pPr>
              <a:r>
                <a:rPr lang="en-US" altLang="zh-CN" sz="1600" b="1" dirty="0"/>
                <a:t>Text here</a:t>
              </a:r>
              <a:endParaRPr lang="vi-VN" sz="1600" b="1" dirty="0"/>
            </a:p>
          </p:txBody>
        </p:sp>
        <p:sp>
          <p:nvSpPr>
            <p:cNvPr id="12" name="ïşḷîďè">
              <a:extLst>
                <a:ext uri="{FF2B5EF4-FFF2-40B4-BE49-F238E27FC236}">
                  <a16:creationId xmlns:a16="http://schemas.microsoft.com/office/drawing/2014/main" id="{749BD529-8805-4BA5-91A6-768DB7B560C3}"/>
                </a:ext>
              </a:extLst>
            </p:cNvPr>
            <p:cNvSpPr txBox="1"/>
            <p:nvPr/>
          </p:nvSpPr>
          <p:spPr>
            <a:xfrm>
              <a:off x="1957580" y="3524374"/>
              <a:ext cx="2410141" cy="698715"/>
            </a:xfrm>
            <a:prstGeom prst="rect">
              <a:avLst/>
            </a:prstGeom>
            <a:noFill/>
          </p:spPr>
          <p:txBody>
            <a:bodyPr wrap="square" lIns="91440" tIns="45720" rIns="91440" bIns="45720" rtlCol="0" anchor="t" anchorCtr="0">
              <a:normAutofit/>
            </a:bodyPr>
            <a:lstStyle/>
            <a:p>
              <a:pPr algn="r">
                <a:lnSpc>
                  <a:spcPct val="120000"/>
                </a:lnSpc>
              </a:pPr>
              <a:r>
                <a:rPr lang="en-US" altLang="zh-CN" sz="1100" dirty="0"/>
                <a:t>Copy paste fonts. Choose the only option to retain text……</a:t>
              </a:r>
            </a:p>
          </p:txBody>
        </p:sp>
        <p:sp>
          <p:nvSpPr>
            <p:cNvPr id="13" name="îṥľíďê">
              <a:extLst>
                <a:ext uri="{FF2B5EF4-FFF2-40B4-BE49-F238E27FC236}">
                  <a16:creationId xmlns:a16="http://schemas.microsoft.com/office/drawing/2014/main" id="{D19D59F3-8435-41A1-A9D0-A422C62B4C70}"/>
                </a:ext>
              </a:extLst>
            </p:cNvPr>
            <p:cNvSpPr/>
            <p:nvPr/>
          </p:nvSpPr>
          <p:spPr>
            <a:xfrm>
              <a:off x="4475338" y="3248218"/>
              <a:ext cx="728737" cy="728737"/>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sz="1400">
                  <a:solidFill>
                    <a:schemeClr val="bg1"/>
                  </a:solidFill>
                </a:rPr>
                <a:t>30K</a:t>
              </a:r>
              <a:endParaRPr lang="en-US" sz="1400" dirty="0">
                <a:solidFill>
                  <a:schemeClr val="bg1"/>
                </a:solidFill>
              </a:endParaRPr>
            </a:p>
          </p:txBody>
        </p:sp>
        <p:sp>
          <p:nvSpPr>
            <p:cNvPr id="14" name="îṩḷíḋê">
              <a:extLst>
                <a:ext uri="{FF2B5EF4-FFF2-40B4-BE49-F238E27FC236}">
                  <a16:creationId xmlns:a16="http://schemas.microsoft.com/office/drawing/2014/main" id="{D96F3EE2-58BC-46CB-938E-A9610648C51F}"/>
                </a:ext>
              </a:extLst>
            </p:cNvPr>
            <p:cNvSpPr txBox="1"/>
            <p:nvPr/>
          </p:nvSpPr>
          <p:spPr>
            <a:xfrm>
              <a:off x="1957580" y="4711818"/>
              <a:ext cx="2410141" cy="527057"/>
            </a:xfrm>
            <a:prstGeom prst="rect">
              <a:avLst/>
            </a:prstGeom>
            <a:noFill/>
          </p:spPr>
          <p:txBody>
            <a:bodyPr wrap="square" lIns="91440" tIns="45720" rIns="91440" bIns="45720" rtlCol="0" anchor="b" anchorCtr="0">
              <a:normAutofit/>
            </a:bodyPr>
            <a:lstStyle/>
            <a:p>
              <a:pPr algn="r">
                <a:lnSpc>
                  <a:spcPct val="150000"/>
                </a:lnSpc>
              </a:pPr>
              <a:r>
                <a:rPr lang="en-US" altLang="zh-CN" sz="1600" b="1" dirty="0"/>
                <a:t>Text here</a:t>
              </a:r>
              <a:endParaRPr lang="vi-VN" sz="1600" b="1" dirty="0"/>
            </a:p>
          </p:txBody>
        </p:sp>
        <p:sp>
          <p:nvSpPr>
            <p:cNvPr id="15" name="îšľïḍé">
              <a:extLst>
                <a:ext uri="{FF2B5EF4-FFF2-40B4-BE49-F238E27FC236}">
                  <a16:creationId xmlns:a16="http://schemas.microsoft.com/office/drawing/2014/main" id="{4AA94B04-3D2C-49E5-81AC-884E890F177D}"/>
                </a:ext>
              </a:extLst>
            </p:cNvPr>
            <p:cNvSpPr txBox="1"/>
            <p:nvPr/>
          </p:nvSpPr>
          <p:spPr>
            <a:xfrm>
              <a:off x="1957580" y="5238874"/>
              <a:ext cx="2410141" cy="698715"/>
            </a:xfrm>
            <a:prstGeom prst="rect">
              <a:avLst/>
            </a:prstGeom>
            <a:noFill/>
          </p:spPr>
          <p:txBody>
            <a:bodyPr wrap="square" lIns="91440" tIns="45720" rIns="91440" bIns="45720" rtlCol="0" anchor="t" anchorCtr="0">
              <a:normAutofit/>
            </a:bodyPr>
            <a:lstStyle/>
            <a:p>
              <a:pPr algn="r">
                <a:lnSpc>
                  <a:spcPct val="120000"/>
                </a:lnSpc>
              </a:pPr>
              <a:r>
                <a:rPr lang="en-US" altLang="zh-CN" sz="1100" dirty="0"/>
                <a:t>Copy paste fonts. Choose the only option to retain text……</a:t>
              </a:r>
            </a:p>
          </p:txBody>
        </p:sp>
        <p:sp>
          <p:nvSpPr>
            <p:cNvPr id="16" name="îşḷíḍè">
              <a:extLst>
                <a:ext uri="{FF2B5EF4-FFF2-40B4-BE49-F238E27FC236}">
                  <a16:creationId xmlns:a16="http://schemas.microsoft.com/office/drawing/2014/main" id="{49AB43DB-C446-45C9-BDC2-48595837D4EF}"/>
                </a:ext>
              </a:extLst>
            </p:cNvPr>
            <p:cNvSpPr/>
            <p:nvPr/>
          </p:nvSpPr>
          <p:spPr>
            <a:xfrm>
              <a:off x="4475338" y="4962718"/>
              <a:ext cx="728737" cy="728737"/>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sz="1400">
                  <a:solidFill>
                    <a:schemeClr val="bg1"/>
                  </a:solidFill>
                </a:rPr>
                <a:t>15K</a:t>
              </a:r>
              <a:endParaRPr lang="en-US" sz="1400" dirty="0">
                <a:solidFill>
                  <a:schemeClr val="bg1"/>
                </a:solidFill>
              </a:endParaRPr>
            </a:p>
          </p:txBody>
        </p:sp>
        <p:sp>
          <p:nvSpPr>
            <p:cNvPr id="17" name="îṣlïḓè">
              <a:extLst>
                <a:ext uri="{FF2B5EF4-FFF2-40B4-BE49-F238E27FC236}">
                  <a16:creationId xmlns:a16="http://schemas.microsoft.com/office/drawing/2014/main" id="{10AAF67D-F2D8-49E2-9ECF-0D9E0B029BEB}"/>
                </a:ext>
              </a:extLst>
            </p:cNvPr>
            <p:cNvSpPr/>
            <p:nvPr/>
          </p:nvSpPr>
          <p:spPr>
            <a:xfrm>
              <a:off x="7150113" y="1533718"/>
              <a:ext cx="728737" cy="728737"/>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sz="1400">
                  <a:solidFill>
                    <a:schemeClr val="bg1"/>
                  </a:solidFill>
                </a:rPr>
                <a:t>15K</a:t>
              </a:r>
              <a:endParaRPr lang="en-US" sz="1400" dirty="0">
                <a:solidFill>
                  <a:schemeClr val="bg1"/>
                </a:solidFill>
              </a:endParaRPr>
            </a:p>
          </p:txBody>
        </p:sp>
        <p:sp>
          <p:nvSpPr>
            <p:cNvPr id="18" name="ïṥḻiḋe">
              <a:extLst>
                <a:ext uri="{FF2B5EF4-FFF2-40B4-BE49-F238E27FC236}">
                  <a16:creationId xmlns:a16="http://schemas.microsoft.com/office/drawing/2014/main" id="{8A3AAEBD-C65E-40D5-AE65-2A4CEEE5E316}"/>
                </a:ext>
              </a:extLst>
            </p:cNvPr>
            <p:cNvSpPr/>
            <p:nvPr/>
          </p:nvSpPr>
          <p:spPr>
            <a:xfrm>
              <a:off x="7150113" y="3248218"/>
              <a:ext cx="728737" cy="728737"/>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sz="1400">
                  <a:solidFill>
                    <a:schemeClr val="bg1"/>
                  </a:solidFill>
                </a:rPr>
                <a:t>30K</a:t>
              </a:r>
              <a:endParaRPr lang="en-US" sz="1400" dirty="0">
                <a:solidFill>
                  <a:schemeClr val="bg1"/>
                </a:solidFill>
              </a:endParaRPr>
            </a:p>
          </p:txBody>
        </p:sp>
        <p:sp>
          <p:nvSpPr>
            <p:cNvPr id="19" name="iṡlíḋé">
              <a:extLst>
                <a:ext uri="{FF2B5EF4-FFF2-40B4-BE49-F238E27FC236}">
                  <a16:creationId xmlns:a16="http://schemas.microsoft.com/office/drawing/2014/main" id="{8E374670-D9CF-4135-9752-72F8C914166D}"/>
                </a:ext>
              </a:extLst>
            </p:cNvPr>
            <p:cNvSpPr/>
            <p:nvPr/>
          </p:nvSpPr>
          <p:spPr>
            <a:xfrm>
              <a:off x="7150113" y="4962718"/>
              <a:ext cx="728737" cy="728737"/>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a:bodyPr>
            <a:lstStyle/>
            <a:p>
              <a:pPr algn="ctr"/>
              <a:r>
                <a:rPr lang="en-US" sz="1400">
                  <a:solidFill>
                    <a:schemeClr val="bg1"/>
                  </a:solidFill>
                </a:rPr>
                <a:t>15K</a:t>
              </a:r>
              <a:endParaRPr lang="en-US" sz="1400" dirty="0">
                <a:solidFill>
                  <a:schemeClr val="bg1"/>
                </a:solidFill>
              </a:endParaRPr>
            </a:p>
          </p:txBody>
        </p:sp>
        <p:sp>
          <p:nvSpPr>
            <p:cNvPr id="20" name="iŝḻíďe">
              <a:extLst>
                <a:ext uri="{FF2B5EF4-FFF2-40B4-BE49-F238E27FC236}">
                  <a16:creationId xmlns:a16="http://schemas.microsoft.com/office/drawing/2014/main" id="{529955C2-42B2-4B26-8990-46B14E9FF728}"/>
                </a:ext>
              </a:extLst>
            </p:cNvPr>
            <p:cNvSpPr txBox="1"/>
            <p:nvPr/>
          </p:nvSpPr>
          <p:spPr>
            <a:xfrm>
              <a:off x="8034530" y="1282818"/>
              <a:ext cx="2410141" cy="527057"/>
            </a:xfrm>
            <a:prstGeom prst="rect">
              <a:avLst/>
            </a:prstGeom>
            <a:noFill/>
          </p:spPr>
          <p:txBody>
            <a:bodyPr wrap="square" lIns="91440" tIns="45720" rIns="91440" bIns="45720" rtlCol="0" anchor="b" anchorCtr="0">
              <a:normAutofit/>
            </a:bodyPr>
            <a:lstStyle/>
            <a:p>
              <a:pPr>
                <a:lnSpc>
                  <a:spcPct val="150000"/>
                </a:lnSpc>
              </a:pPr>
              <a:r>
                <a:rPr lang="en-US" altLang="zh-CN" sz="1600" b="1" dirty="0"/>
                <a:t>Text here</a:t>
              </a:r>
              <a:endParaRPr lang="vi-VN" sz="1600" b="1" dirty="0"/>
            </a:p>
          </p:txBody>
        </p:sp>
        <p:sp>
          <p:nvSpPr>
            <p:cNvPr id="21" name="îSľidê">
              <a:extLst>
                <a:ext uri="{FF2B5EF4-FFF2-40B4-BE49-F238E27FC236}">
                  <a16:creationId xmlns:a16="http://schemas.microsoft.com/office/drawing/2014/main" id="{C3F94D5A-D2AC-4FE5-BF65-1DE5CAB776E0}"/>
                </a:ext>
              </a:extLst>
            </p:cNvPr>
            <p:cNvSpPr txBox="1"/>
            <p:nvPr/>
          </p:nvSpPr>
          <p:spPr>
            <a:xfrm>
              <a:off x="8034530" y="1809874"/>
              <a:ext cx="2410141" cy="698715"/>
            </a:xfrm>
            <a:prstGeom prst="rect">
              <a:avLst/>
            </a:prstGeom>
            <a:noFill/>
          </p:spPr>
          <p:txBody>
            <a:bodyPr wrap="square" lIns="91440" tIns="45720" rIns="91440" bIns="45720" rtlCol="0" anchor="t" anchorCtr="0">
              <a:normAutofit/>
            </a:bodyPr>
            <a:lstStyle/>
            <a:p>
              <a:pPr>
                <a:lnSpc>
                  <a:spcPct val="120000"/>
                </a:lnSpc>
              </a:pPr>
              <a:r>
                <a:rPr lang="en-US" altLang="zh-CN" sz="1100" dirty="0"/>
                <a:t>Copy paste fonts. Choose the only option to retain text……</a:t>
              </a:r>
            </a:p>
          </p:txBody>
        </p:sp>
        <p:sp>
          <p:nvSpPr>
            <p:cNvPr id="22" name="îś1ïḓè">
              <a:extLst>
                <a:ext uri="{FF2B5EF4-FFF2-40B4-BE49-F238E27FC236}">
                  <a16:creationId xmlns:a16="http://schemas.microsoft.com/office/drawing/2014/main" id="{11B49BC5-9FFC-4621-AB4D-D6507F0EA7DC}"/>
                </a:ext>
              </a:extLst>
            </p:cNvPr>
            <p:cNvSpPr txBox="1"/>
            <p:nvPr/>
          </p:nvSpPr>
          <p:spPr>
            <a:xfrm>
              <a:off x="8034530" y="2997318"/>
              <a:ext cx="2410141" cy="527057"/>
            </a:xfrm>
            <a:prstGeom prst="rect">
              <a:avLst/>
            </a:prstGeom>
            <a:noFill/>
          </p:spPr>
          <p:txBody>
            <a:bodyPr wrap="square" lIns="91440" tIns="45720" rIns="91440" bIns="45720" rtlCol="0" anchor="b" anchorCtr="0">
              <a:normAutofit/>
            </a:bodyPr>
            <a:lstStyle/>
            <a:p>
              <a:pPr>
                <a:lnSpc>
                  <a:spcPct val="150000"/>
                </a:lnSpc>
              </a:pPr>
              <a:r>
                <a:rPr lang="en-US" altLang="zh-CN" sz="1600" b="1" dirty="0"/>
                <a:t>Text here</a:t>
              </a:r>
              <a:endParaRPr lang="vi-VN" sz="1600" b="1" dirty="0"/>
            </a:p>
          </p:txBody>
        </p:sp>
        <p:sp>
          <p:nvSpPr>
            <p:cNvPr id="23" name="ïṧḷíḑé">
              <a:extLst>
                <a:ext uri="{FF2B5EF4-FFF2-40B4-BE49-F238E27FC236}">
                  <a16:creationId xmlns:a16="http://schemas.microsoft.com/office/drawing/2014/main" id="{C7E1D16A-4F1A-48E6-B2F0-EB180A8DBECB}"/>
                </a:ext>
              </a:extLst>
            </p:cNvPr>
            <p:cNvSpPr txBox="1"/>
            <p:nvPr/>
          </p:nvSpPr>
          <p:spPr>
            <a:xfrm>
              <a:off x="8034530" y="3524374"/>
              <a:ext cx="2410141" cy="698715"/>
            </a:xfrm>
            <a:prstGeom prst="rect">
              <a:avLst/>
            </a:prstGeom>
            <a:noFill/>
          </p:spPr>
          <p:txBody>
            <a:bodyPr wrap="square" lIns="91440" tIns="45720" rIns="91440" bIns="45720" rtlCol="0" anchor="t" anchorCtr="0">
              <a:normAutofit/>
            </a:bodyPr>
            <a:lstStyle/>
            <a:p>
              <a:pPr>
                <a:lnSpc>
                  <a:spcPct val="120000"/>
                </a:lnSpc>
              </a:pPr>
              <a:r>
                <a:rPr lang="en-US" altLang="zh-CN" sz="1100" dirty="0"/>
                <a:t>Copy paste fonts. Choose the only option to retain text……</a:t>
              </a:r>
            </a:p>
          </p:txBody>
        </p:sp>
        <p:sp>
          <p:nvSpPr>
            <p:cNvPr id="24" name="ïṡḷiḑe">
              <a:extLst>
                <a:ext uri="{FF2B5EF4-FFF2-40B4-BE49-F238E27FC236}">
                  <a16:creationId xmlns:a16="http://schemas.microsoft.com/office/drawing/2014/main" id="{E898289D-E788-46D1-96BB-BDB32F07FEA3}"/>
                </a:ext>
              </a:extLst>
            </p:cNvPr>
            <p:cNvSpPr txBox="1"/>
            <p:nvPr/>
          </p:nvSpPr>
          <p:spPr>
            <a:xfrm>
              <a:off x="8034530" y="4711818"/>
              <a:ext cx="2410141" cy="527057"/>
            </a:xfrm>
            <a:prstGeom prst="rect">
              <a:avLst/>
            </a:prstGeom>
            <a:noFill/>
          </p:spPr>
          <p:txBody>
            <a:bodyPr wrap="square" lIns="91440" tIns="45720" rIns="91440" bIns="45720" rtlCol="0" anchor="b" anchorCtr="0">
              <a:normAutofit/>
            </a:bodyPr>
            <a:lstStyle/>
            <a:p>
              <a:pPr>
                <a:lnSpc>
                  <a:spcPct val="150000"/>
                </a:lnSpc>
              </a:pPr>
              <a:r>
                <a:rPr lang="en-US" altLang="zh-CN" sz="1600" b="1" dirty="0"/>
                <a:t>Text here</a:t>
              </a:r>
              <a:endParaRPr lang="vi-VN" sz="1600" b="1" dirty="0"/>
            </a:p>
          </p:txBody>
        </p:sp>
        <p:sp>
          <p:nvSpPr>
            <p:cNvPr id="25" name="íśḷiḋé">
              <a:extLst>
                <a:ext uri="{FF2B5EF4-FFF2-40B4-BE49-F238E27FC236}">
                  <a16:creationId xmlns:a16="http://schemas.microsoft.com/office/drawing/2014/main" id="{E134CC4F-D960-40E5-AEE5-6C6726AB5732}"/>
                </a:ext>
              </a:extLst>
            </p:cNvPr>
            <p:cNvSpPr txBox="1"/>
            <p:nvPr/>
          </p:nvSpPr>
          <p:spPr>
            <a:xfrm>
              <a:off x="8034530" y="5238874"/>
              <a:ext cx="2410141" cy="698715"/>
            </a:xfrm>
            <a:prstGeom prst="rect">
              <a:avLst/>
            </a:prstGeom>
            <a:noFill/>
          </p:spPr>
          <p:txBody>
            <a:bodyPr wrap="square" lIns="91440" tIns="45720" rIns="91440" bIns="45720" rtlCol="0" anchor="t" anchorCtr="0">
              <a:normAutofit/>
            </a:bodyPr>
            <a:lstStyle/>
            <a:p>
              <a:pPr>
                <a:lnSpc>
                  <a:spcPct val="120000"/>
                </a:lnSpc>
              </a:pPr>
              <a:r>
                <a:rPr lang="en-US" altLang="zh-CN" sz="1100" dirty="0"/>
                <a:t>Copy paste fonts. Choose the only option to retain text……</a:t>
              </a:r>
            </a:p>
          </p:txBody>
        </p:sp>
      </p:grpSp>
    </p:spTree>
    <p:extLst>
      <p:ext uri="{BB962C8B-B14F-4D97-AF65-F5344CB8AC3E}">
        <p14:creationId xmlns:p14="http://schemas.microsoft.com/office/powerpoint/2010/main" val="88631647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a:t>Supporting text here.</a:t>
            </a:r>
          </a:p>
          <a:p>
            <a:pPr lvl="0">
              <a:lnSpc>
                <a:spcPct val="100000"/>
              </a:lnSpc>
            </a:pPr>
            <a:r>
              <a:rPr lang="en-US" altLang="zh-CN" dirty="0"/>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4620544" y="2712435"/>
            <a:ext cx="1252132" cy="1088682"/>
          </a:xfrm>
          <a:prstGeom prst="rect">
            <a:avLst/>
          </a:prstGeom>
          <a:solidFill>
            <a:schemeClr val="accent3"/>
          </a:solid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01</a:t>
            </a:r>
            <a:endParaRPr lang="zh-CN" altLang="en-US" spc="100" dirty="0">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2371597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F2FCC50-892F-4281-93A5-A88BC1C3EE2A}"/>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459278B8-197B-4848-B432-39FA8E93D3C1}"/>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35F14F91-CE81-4C26-9FCD-6300A9BE070C}"/>
              </a:ext>
            </a:extLst>
          </p:cNvPr>
          <p:cNvSpPr>
            <a:spLocks noGrp="1"/>
          </p:cNvSpPr>
          <p:nvPr>
            <p:ph type="sldNum" sz="quarter" idx="12"/>
          </p:nvPr>
        </p:nvSpPr>
        <p:spPr/>
        <p:txBody>
          <a:bodyPr/>
          <a:lstStyle/>
          <a:p>
            <a:fld id="{5DD3DB80-B894-403A-B48E-6FDC1A72010E}" type="slidenum">
              <a:rPr lang="zh-CN" altLang="en-US" smtClean="0"/>
              <a:pPr/>
              <a:t>30</a:t>
            </a:fld>
            <a:endParaRPr lang="zh-CN" altLang="en-US"/>
          </a:p>
        </p:txBody>
      </p:sp>
      <p:grpSp>
        <p:nvGrpSpPr>
          <p:cNvPr id="5" name="27192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362D314-F31F-428A-9DF6-AC59AC894731}"/>
              </a:ext>
            </a:extLst>
          </p:cNvPr>
          <p:cNvGrpSpPr>
            <a:grpSpLocks noChangeAspect="1"/>
          </p:cNvGrpSpPr>
          <p:nvPr/>
        </p:nvGrpSpPr>
        <p:grpSpPr>
          <a:xfrm>
            <a:off x="727148" y="1187609"/>
            <a:ext cx="10793340" cy="4956016"/>
            <a:chOff x="727148" y="1187609"/>
            <a:chExt cx="10793340" cy="4956016"/>
          </a:xfrm>
        </p:grpSpPr>
        <p:cxnSp>
          <p:nvCxnSpPr>
            <p:cNvPr id="6" name="直接连接符 5">
              <a:extLst>
                <a:ext uri="{FF2B5EF4-FFF2-40B4-BE49-F238E27FC236}">
                  <a16:creationId xmlns:a16="http://schemas.microsoft.com/office/drawing/2014/main" id="{DD9B9900-A8C8-4CAA-880B-2BE644F6ADD5}"/>
                </a:ext>
              </a:extLst>
            </p:cNvPr>
            <p:cNvCxnSpPr>
              <a:cxnSpLocks/>
              <a:stCxn id="7" idx="0"/>
              <a:endCxn id="10" idx="2"/>
            </p:cNvCxnSpPr>
            <p:nvPr/>
          </p:nvCxnSpPr>
          <p:spPr>
            <a:xfrm>
              <a:off x="6096000" y="1717251"/>
              <a:ext cx="0" cy="3639099"/>
            </a:xfrm>
            <a:prstGeom prst="line">
              <a:avLst/>
            </a:prstGeom>
            <a:ln w="3810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7" name="i$ļïḍè">
              <a:extLst>
                <a:ext uri="{FF2B5EF4-FFF2-40B4-BE49-F238E27FC236}">
                  <a16:creationId xmlns:a16="http://schemas.microsoft.com/office/drawing/2014/main" id="{AB02810B-5094-496D-A5B9-5EF827DE0A01}"/>
                </a:ext>
              </a:extLst>
            </p:cNvPr>
            <p:cNvSpPr/>
            <p:nvPr/>
          </p:nvSpPr>
          <p:spPr bwMode="auto">
            <a:xfrm flipV="1">
              <a:off x="3615078" y="1187609"/>
              <a:ext cx="4961844" cy="529642"/>
            </a:xfrm>
            <a:prstGeom prst="trapezoid">
              <a:avLst/>
            </a:prstGeom>
            <a:solidFill>
              <a:schemeClr val="tx2">
                <a:lumMod val="40000"/>
                <a:lumOff val="60000"/>
              </a:schemeClr>
            </a:solidFill>
            <a:ln>
              <a:noFill/>
            </a:ln>
          </p:spPr>
          <p:txBody>
            <a:bodyPr vert="horz" wrap="square" lIns="91440" tIns="45720" rIns="91440" bIns="45720" numCol="1" rtlCol="0" anchor="t" anchorCtr="0" compatLnSpc="1">
              <a:prstTxWarp prst="textNoShape">
                <a:avLst/>
              </a:prstTxWarp>
              <a:normAutofit/>
            </a:bodyPr>
            <a:lstStyle/>
            <a:p>
              <a:pPr algn="l"/>
              <a:endParaRPr lang="id-ID" dirty="0"/>
            </a:p>
          </p:txBody>
        </p:sp>
        <p:sp>
          <p:nvSpPr>
            <p:cNvPr id="8" name="ïṣ1iḑé">
              <a:extLst>
                <a:ext uri="{FF2B5EF4-FFF2-40B4-BE49-F238E27FC236}">
                  <a16:creationId xmlns:a16="http://schemas.microsoft.com/office/drawing/2014/main" id="{4D0E0266-8BA2-44F6-A298-CF1407313BCF}"/>
                </a:ext>
              </a:extLst>
            </p:cNvPr>
            <p:cNvSpPr/>
            <p:nvPr/>
          </p:nvSpPr>
          <p:spPr bwMode="auto">
            <a:xfrm flipV="1">
              <a:off x="4070293" y="2577189"/>
              <a:ext cx="4051414" cy="529642"/>
            </a:xfrm>
            <a:prstGeom prst="trapezoid">
              <a:avLst/>
            </a:prstGeom>
            <a:solidFill>
              <a:schemeClr val="tx2">
                <a:lumMod val="20000"/>
                <a:lumOff val="80000"/>
              </a:schemeClr>
            </a:solidFill>
            <a:ln>
              <a:noFill/>
            </a:ln>
          </p:spPr>
          <p:txBody>
            <a:bodyPr vert="horz" wrap="square" lIns="91440" tIns="45720" rIns="91440" bIns="45720" numCol="1" rtlCol="0" anchor="t" anchorCtr="0" compatLnSpc="1">
              <a:prstTxWarp prst="textNoShape">
                <a:avLst/>
              </a:prstTxWarp>
              <a:normAutofit/>
            </a:bodyPr>
            <a:lstStyle/>
            <a:p>
              <a:pPr algn="l"/>
              <a:endParaRPr lang="id-ID" dirty="0"/>
            </a:p>
          </p:txBody>
        </p:sp>
        <p:sp>
          <p:nvSpPr>
            <p:cNvPr id="9" name="íṡľíḑê">
              <a:extLst>
                <a:ext uri="{FF2B5EF4-FFF2-40B4-BE49-F238E27FC236}">
                  <a16:creationId xmlns:a16="http://schemas.microsoft.com/office/drawing/2014/main" id="{AF7DA0FB-1B31-4D40-B740-462103FEFC65}"/>
                </a:ext>
              </a:extLst>
            </p:cNvPr>
            <p:cNvSpPr/>
            <p:nvPr/>
          </p:nvSpPr>
          <p:spPr bwMode="auto">
            <a:xfrm flipV="1">
              <a:off x="4662073" y="3966769"/>
              <a:ext cx="2867855" cy="529642"/>
            </a:xfrm>
            <a:prstGeom prst="trapezoid">
              <a:avLst/>
            </a:prstGeom>
            <a:solidFill>
              <a:schemeClr val="tx2">
                <a:lumMod val="20000"/>
                <a:lumOff val="80000"/>
              </a:schemeClr>
            </a:solidFill>
            <a:ln>
              <a:noFill/>
            </a:ln>
          </p:spPr>
          <p:txBody>
            <a:bodyPr vert="horz" wrap="square" lIns="91440" tIns="45720" rIns="91440" bIns="45720" numCol="1" rtlCol="0" anchor="t" anchorCtr="0" compatLnSpc="1">
              <a:prstTxWarp prst="textNoShape">
                <a:avLst/>
              </a:prstTxWarp>
              <a:normAutofit/>
            </a:bodyPr>
            <a:lstStyle/>
            <a:p>
              <a:pPr algn="l"/>
              <a:endParaRPr lang="id-ID" dirty="0"/>
            </a:p>
          </p:txBody>
        </p:sp>
        <p:sp>
          <p:nvSpPr>
            <p:cNvPr id="10" name="iṩ1íḑé">
              <a:extLst>
                <a:ext uri="{FF2B5EF4-FFF2-40B4-BE49-F238E27FC236}">
                  <a16:creationId xmlns:a16="http://schemas.microsoft.com/office/drawing/2014/main" id="{813A3A44-C541-4EF5-AACB-BF53BDDB064F}"/>
                </a:ext>
              </a:extLst>
            </p:cNvPr>
            <p:cNvSpPr/>
            <p:nvPr/>
          </p:nvSpPr>
          <p:spPr bwMode="auto">
            <a:xfrm flipV="1">
              <a:off x="4992104" y="5356350"/>
              <a:ext cx="2207792" cy="787275"/>
            </a:xfrm>
            <a:prstGeom prst="flowChartExtract">
              <a:avLst/>
            </a:prstGeom>
            <a:solidFill>
              <a:schemeClr val="tx2"/>
            </a:solidFill>
            <a:ln>
              <a:noFill/>
            </a:ln>
          </p:spPr>
          <p:txBody>
            <a:bodyPr vert="horz" wrap="square" lIns="91440" tIns="45720" rIns="91440" bIns="45720" numCol="1" rtlCol="0" anchor="t" anchorCtr="0" compatLnSpc="1">
              <a:prstTxWarp prst="textNoShape">
                <a:avLst/>
              </a:prstTxWarp>
              <a:normAutofit/>
            </a:bodyPr>
            <a:lstStyle/>
            <a:p>
              <a:pPr algn="l"/>
              <a:endParaRPr lang="id-ID" dirty="0"/>
            </a:p>
          </p:txBody>
        </p:sp>
        <p:sp>
          <p:nvSpPr>
            <p:cNvPr id="11" name="îŝļiḓê">
              <a:extLst>
                <a:ext uri="{FF2B5EF4-FFF2-40B4-BE49-F238E27FC236}">
                  <a16:creationId xmlns:a16="http://schemas.microsoft.com/office/drawing/2014/main" id="{51ABB8E3-D041-4807-93F6-B1AEC0819E36}"/>
                </a:ext>
              </a:extLst>
            </p:cNvPr>
            <p:cNvSpPr txBox="1"/>
            <p:nvPr/>
          </p:nvSpPr>
          <p:spPr>
            <a:xfrm>
              <a:off x="5117162" y="1257001"/>
              <a:ext cx="1957676" cy="390859"/>
            </a:xfrm>
            <a:prstGeom prst="rect">
              <a:avLst/>
            </a:prstGeom>
            <a:noFill/>
          </p:spPr>
          <p:txBody>
            <a:bodyPr wrap="square" lIns="91440" tIns="45720" rIns="91440" bIns="45720" rtlCol="0" anchor="ctr" anchorCtr="0">
              <a:normAutofit/>
            </a:bodyPr>
            <a:lstStyle/>
            <a:p>
              <a:pPr algn="ctr"/>
              <a:r>
                <a:rPr lang="en-US" altLang="zh-CN" sz="1600" b="1"/>
                <a:t>…text</a:t>
              </a:r>
              <a:endParaRPr lang="vi-VN" sz="1600" b="1" dirty="0"/>
            </a:p>
          </p:txBody>
        </p:sp>
        <p:sp>
          <p:nvSpPr>
            <p:cNvPr id="12" name="íšḻïdè">
              <a:extLst>
                <a:ext uri="{FF2B5EF4-FFF2-40B4-BE49-F238E27FC236}">
                  <a16:creationId xmlns:a16="http://schemas.microsoft.com/office/drawing/2014/main" id="{CB32EEA8-F713-4865-B483-6287E097542C}"/>
                </a:ext>
              </a:extLst>
            </p:cNvPr>
            <p:cNvSpPr txBox="1"/>
            <p:nvPr/>
          </p:nvSpPr>
          <p:spPr>
            <a:xfrm>
              <a:off x="5117162" y="2646581"/>
              <a:ext cx="1957676" cy="390859"/>
            </a:xfrm>
            <a:prstGeom prst="rect">
              <a:avLst/>
            </a:prstGeom>
            <a:noFill/>
          </p:spPr>
          <p:txBody>
            <a:bodyPr wrap="square" lIns="91440" tIns="45720" rIns="91440" bIns="45720" rtlCol="0" anchor="ctr" anchorCtr="0">
              <a:normAutofit/>
            </a:bodyPr>
            <a:lstStyle/>
            <a:p>
              <a:pPr algn="ctr"/>
              <a:r>
                <a:rPr lang="en-US" altLang="zh-CN" sz="1600" b="1"/>
                <a:t>…text</a:t>
              </a:r>
              <a:endParaRPr lang="vi-VN" sz="1600" b="1" dirty="0"/>
            </a:p>
          </p:txBody>
        </p:sp>
        <p:sp>
          <p:nvSpPr>
            <p:cNvPr id="13" name="íṣḷíḍé">
              <a:extLst>
                <a:ext uri="{FF2B5EF4-FFF2-40B4-BE49-F238E27FC236}">
                  <a16:creationId xmlns:a16="http://schemas.microsoft.com/office/drawing/2014/main" id="{E7CCC5D9-4482-4ABB-BD11-16EEFDC3A65A}"/>
                </a:ext>
              </a:extLst>
            </p:cNvPr>
            <p:cNvSpPr txBox="1"/>
            <p:nvPr/>
          </p:nvSpPr>
          <p:spPr>
            <a:xfrm>
              <a:off x="5117162" y="4036160"/>
              <a:ext cx="1957676" cy="390859"/>
            </a:xfrm>
            <a:prstGeom prst="rect">
              <a:avLst/>
            </a:prstGeom>
            <a:noFill/>
          </p:spPr>
          <p:txBody>
            <a:bodyPr wrap="square" lIns="91440" tIns="45720" rIns="91440" bIns="45720" rtlCol="0" anchor="ctr" anchorCtr="0">
              <a:normAutofit/>
            </a:bodyPr>
            <a:lstStyle/>
            <a:p>
              <a:pPr algn="ctr"/>
              <a:r>
                <a:rPr lang="en-US" altLang="zh-CN" sz="1600" b="1"/>
                <a:t>…text</a:t>
              </a:r>
              <a:endParaRPr lang="vi-VN" sz="1600" b="1" dirty="0"/>
            </a:p>
          </p:txBody>
        </p:sp>
        <p:sp>
          <p:nvSpPr>
            <p:cNvPr id="14" name="î$ļiḓê">
              <a:extLst>
                <a:ext uri="{FF2B5EF4-FFF2-40B4-BE49-F238E27FC236}">
                  <a16:creationId xmlns:a16="http://schemas.microsoft.com/office/drawing/2014/main" id="{559D8438-6328-40FE-80C0-9D8770DA96E1}"/>
                </a:ext>
              </a:extLst>
            </p:cNvPr>
            <p:cNvSpPr txBox="1"/>
            <p:nvPr/>
          </p:nvSpPr>
          <p:spPr>
            <a:xfrm>
              <a:off x="5117162" y="5474961"/>
              <a:ext cx="1957676" cy="390859"/>
            </a:xfrm>
            <a:prstGeom prst="rect">
              <a:avLst/>
            </a:prstGeom>
            <a:noFill/>
          </p:spPr>
          <p:txBody>
            <a:bodyPr wrap="square" lIns="91440" tIns="45720" rIns="91440" bIns="45720" rtlCol="0" anchor="ctr" anchorCtr="0">
              <a:normAutofit/>
            </a:bodyPr>
            <a:lstStyle/>
            <a:p>
              <a:pPr algn="ctr"/>
              <a:r>
                <a:rPr lang="en-US" altLang="zh-CN" sz="1600" b="1">
                  <a:solidFill>
                    <a:schemeClr val="bg1"/>
                  </a:solidFill>
                </a:rPr>
                <a:t>…text</a:t>
              </a:r>
              <a:endParaRPr lang="vi-VN" sz="1600" b="1" dirty="0">
                <a:solidFill>
                  <a:schemeClr val="bg1"/>
                </a:solidFill>
              </a:endParaRPr>
            </a:p>
          </p:txBody>
        </p:sp>
        <p:grpSp>
          <p:nvGrpSpPr>
            <p:cNvPr id="15" name="ïś1ïḍè">
              <a:extLst>
                <a:ext uri="{FF2B5EF4-FFF2-40B4-BE49-F238E27FC236}">
                  <a16:creationId xmlns:a16="http://schemas.microsoft.com/office/drawing/2014/main" id="{EF30AAE2-FFC2-490C-9F18-5D1EC2D142CD}"/>
                </a:ext>
              </a:extLst>
            </p:cNvPr>
            <p:cNvGrpSpPr/>
            <p:nvPr/>
          </p:nvGrpSpPr>
          <p:grpSpPr>
            <a:xfrm>
              <a:off x="4375932" y="1843778"/>
              <a:ext cx="3440136" cy="698715"/>
              <a:chOff x="4399191" y="1843778"/>
              <a:chExt cx="3440136" cy="698715"/>
            </a:xfrm>
          </p:grpSpPr>
          <p:sp>
            <p:nvSpPr>
              <p:cNvPr id="64" name="íś1îďe">
                <a:extLst>
                  <a:ext uri="{FF2B5EF4-FFF2-40B4-BE49-F238E27FC236}">
                    <a16:creationId xmlns:a16="http://schemas.microsoft.com/office/drawing/2014/main" id="{981404C5-4432-42DC-9EDD-DE3C7AAA1842}"/>
                  </a:ext>
                </a:extLst>
              </p:cNvPr>
              <p:cNvSpPr txBox="1"/>
              <p:nvPr/>
            </p:nvSpPr>
            <p:spPr>
              <a:xfrm>
                <a:off x="4399191" y="1843778"/>
                <a:ext cx="1611336" cy="698715"/>
              </a:xfrm>
              <a:prstGeom prst="rect">
                <a:avLst/>
              </a:prstGeom>
              <a:noFill/>
            </p:spPr>
            <p:txBody>
              <a:bodyPr wrap="square" lIns="91440" tIns="45720" rIns="91440" bIns="45720" rtlCol="0" anchor="t" anchorCtr="0">
                <a:normAutofit/>
              </a:bodyPr>
              <a:lstStyle/>
              <a:p>
                <a:pPr algn="ctr">
                  <a:lnSpc>
                    <a:spcPct val="120000"/>
                  </a:lnSpc>
                </a:pPr>
                <a:r>
                  <a:rPr lang="en-US" altLang="zh-CN" sz="1100"/>
                  <a:t>Supporting text here. </a:t>
                </a:r>
              </a:p>
              <a:p>
                <a:pPr algn="ctr">
                  <a:lnSpc>
                    <a:spcPct val="120000"/>
                  </a:lnSpc>
                </a:pPr>
                <a:r>
                  <a:rPr lang="en-US" altLang="zh-CN" sz="1100"/>
                  <a:t>… …</a:t>
                </a:r>
                <a:endParaRPr lang="en-US" altLang="zh-CN" sz="1100" dirty="0"/>
              </a:p>
            </p:txBody>
          </p:sp>
          <p:sp>
            <p:nvSpPr>
              <p:cNvPr id="65" name="ïšļïḋê">
                <a:extLst>
                  <a:ext uri="{FF2B5EF4-FFF2-40B4-BE49-F238E27FC236}">
                    <a16:creationId xmlns:a16="http://schemas.microsoft.com/office/drawing/2014/main" id="{05F230A4-C2CA-4EC6-9EBF-4AFB452341E3}"/>
                  </a:ext>
                </a:extLst>
              </p:cNvPr>
              <p:cNvSpPr txBox="1"/>
              <p:nvPr/>
            </p:nvSpPr>
            <p:spPr>
              <a:xfrm>
                <a:off x="6227991" y="1843778"/>
                <a:ext cx="1611336" cy="698715"/>
              </a:xfrm>
              <a:prstGeom prst="rect">
                <a:avLst/>
              </a:prstGeom>
              <a:noFill/>
            </p:spPr>
            <p:txBody>
              <a:bodyPr wrap="square" lIns="91440" tIns="45720" rIns="91440" bIns="45720" rtlCol="0" anchor="t" anchorCtr="0">
                <a:normAutofit/>
              </a:bodyPr>
              <a:lstStyle/>
              <a:p>
                <a:pPr algn="ctr">
                  <a:lnSpc>
                    <a:spcPct val="120000"/>
                  </a:lnSpc>
                </a:pPr>
                <a:r>
                  <a:rPr lang="en-US" altLang="zh-CN" sz="1100"/>
                  <a:t>Supporting text here. </a:t>
                </a:r>
              </a:p>
              <a:p>
                <a:pPr algn="ctr">
                  <a:lnSpc>
                    <a:spcPct val="120000"/>
                  </a:lnSpc>
                </a:pPr>
                <a:r>
                  <a:rPr lang="en-US" altLang="zh-CN" sz="1100"/>
                  <a:t>… …</a:t>
                </a:r>
                <a:endParaRPr lang="en-US" altLang="zh-CN" sz="1100" dirty="0"/>
              </a:p>
            </p:txBody>
          </p:sp>
        </p:grpSp>
        <p:grpSp>
          <p:nvGrpSpPr>
            <p:cNvPr id="16" name="iş1îḍè">
              <a:extLst>
                <a:ext uri="{FF2B5EF4-FFF2-40B4-BE49-F238E27FC236}">
                  <a16:creationId xmlns:a16="http://schemas.microsoft.com/office/drawing/2014/main" id="{5127DEC5-FDE8-4741-BF1A-0C922FF273D8}"/>
                </a:ext>
              </a:extLst>
            </p:cNvPr>
            <p:cNvGrpSpPr/>
            <p:nvPr/>
          </p:nvGrpSpPr>
          <p:grpSpPr>
            <a:xfrm>
              <a:off x="4375932" y="3149443"/>
              <a:ext cx="3440136" cy="698715"/>
              <a:chOff x="4399191" y="1843778"/>
              <a:chExt cx="3440136" cy="698715"/>
            </a:xfrm>
          </p:grpSpPr>
          <p:sp>
            <p:nvSpPr>
              <p:cNvPr id="62" name="îṧḻiďé">
                <a:extLst>
                  <a:ext uri="{FF2B5EF4-FFF2-40B4-BE49-F238E27FC236}">
                    <a16:creationId xmlns:a16="http://schemas.microsoft.com/office/drawing/2014/main" id="{DDC5B8C2-44EB-42B7-8A62-393C86922B9E}"/>
                  </a:ext>
                </a:extLst>
              </p:cNvPr>
              <p:cNvSpPr txBox="1"/>
              <p:nvPr/>
            </p:nvSpPr>
            <p:spPr>
              <a:xfrm>
                <a:off x="4399191" y="1843778"/>
                <a:ext cx="1611336" cy="698715"/>
              </a:xfrm>
              <a:prstGeom prst="rect">
                <a:avLst/>
              </a:prstGeom>
              <a:noFill/>
            </p:spPr>
            <p:txBody>
              <a:bodyPr wrap="square" lIns="91440" tIns="45720" rIns="91440" bIns="45720" rtlCol="0" anchor="t" anchorCtr="0">
                <a:normAutofit/>
              </a:bodyPr>
              <a:lstStyle/>
              <a:p>
                <a:pPr algn="ctr">
                  <a:lnSpc>
                    <a:spcPct val="120000"/>
                  </a:lnSpc>
                </a:pPr>
                <a:r>
                  <a:rPr lang="en-US" altLang="zh-CN" sz="1100"/>
                  <a:t>Supporting text here. </a:t>
                </a:r>
              </a:p>
              <a:p>
                <a:pPr algn="ctr">
                  <a:lnSpc>
                    <a:spcPct val="120000"/>
                  </a:lnSpc>
                </a:pPr>
                <a:r>
                  <a:rPr lang="en-US" altLang="zh-CN" sz="1100"/>
                  <a:t>… …</a:t>
                </a:r>
                <a:endParaRPr lang="en-US" altLang="zh-CN" sz="1100" dirty="0"/>
              </a:p>
            </p:txBody>
          </p:sp>
          <p:sp>
            <p:nvSpPr>
              <p:cNvPr id="63" name="îṥľïďê">
                <a:extLst>
                  <a:ext uri="{FF2B5EF4-FFF2-40B4-BE49-F238E27FC236}">
                    <a16:creationId xmlns:a16="http://schemas.microsoft.com/office/drawing/2014/main" id="{C7C089F2-4084-4F0C-A6F2-3B79D95C70BF}"/>
                  </a:ext>
                </a:extLst>
              </p:cNvPr>
              <p:cNvSpPr txBox="1"/>
              <p:nvPr/>
            </p:nvSpPr>
            <p:spPr>
              <a:xfrm>
                <a:off x="6227991" y="1843778"/>
                <a:ext cx="1611336" cy="698715"/>
              </a:xfrm>
              <a:prstGeom prst="rect">
                <a:avLst/>
              </a:prstGeom>
              <a:noFill/>
            </p:spPr>
            <p:txBody>
              <a:bodyPr wrap="square" lIns="91440" tIns="45720" rIns="91440" bIns="45720" rtlCol="0" anchor="t" anchorCtr="0">
                <a:normAutofit/>
              </a:bodyPr>
              <a:lstStyle/>
              <a:p>
                <a:pPr algn="ctr">
                  <a:lnSpc>
                    <a:spcPct val="120000"/>
                  </a:lnSpc>
                </a:pPr>
                <a:r>
                  <a:rPr lang="en-US" altLang="zh-CN" sz="1100"/>
                  <a:t>Supporting text here. </a:t>
                </a:r>
              </a:p>
              <a:p>
                <a:pPr algn="ctr">
                  <a:lnSpc>
                    <a:spcPct val="120000"/>
                  </a:lnSpc>
                </a:pPr>
                <a:r>
                  <a:rPr lang="en-US" altLang="zh-CN" sz="1100"/>
                  <a:t>… …</a:t>
                </a:r>
                <a:endParaRPr lang="en-US" altLang="zh-CN" sz="1100" dirty="0"/>
              </a:p>
            </p:txBody>
          </p:sp>
        </p:grpSp>
        <p:grpSp>
          <p:nvGrpSpPr>
            <p:cNvPr id="17" name="ïśļiḑe">
              <a:extLst>
                <a:ext uri="{FF2B5EF4-FFF2-40B4-BE49-F238E27FC236}">
                  <a16:creationId xmlns:a16="http://schemas.microsoft.com/office/drawing/2014/main" id="{4675F7F7-0EE7-4AB6-BE84-0552F551C96E}"/>
                </a:ext>
              </a:extLst>
            </p:cNvPr>
            <p:cNvGrpSpPr/>
            <p:nvPr/>
          </p:nvGrpSpPr>
          <p:grpSpPr>
            <a:xfrm>
              <a:off x="4375932" y="4633762"/>
              <a:ext cx="3440136" cy="698715"/>
              <a:chOff x="4399191" y="1843778"/>
              <a:chExt cx="3440136" cy="698715"/>
            </a:xfrm>
          </p:grpSpPr>
          <p:sp>
            <p:nvSpPr>
              <p:cNvPr id="60" name="ïṧ1íḑè">
                <a:extLst>
                  <a:ext uri="{FF2B5EF4-FFF2-40B4-BE49-F238E27FC236}">
                    <a16:creationId xmlns:a16="http://schemas.microsoft.com/office/drawing/2014/main" id="{75290AFB-C170-4EA2-8E01-57F18B6D75A5}"/>
                  </a:ext>
                </a:extLst>
              </p:cNvPr>
              <p:cNvSpPr txBox="1"/>
              <p:nvPr/>
            </p:nvSpPr>
            <p:spPr>
              <a:xfrm>
                <a:off x="4399191" y="1843778"/>
                <a:ext cx="1611336" cy="698715"/>
              </a:xfrm>
              <a:prstGeom prst="rect">
                <a:avLst/>
              </a:prstGeom>
              <a:noFill/>
            </p:spPr>
            <p:txBody>
              <a:bodyPr wrap="square" lIns="91440" tIns="45720" rIns="91440" bIns="45720" rtlCol="0" anchor="t" anchorCtr="0">
                <a:normAutofit/>
              </a:bodyPr>
              <a:lstStyle/>
              <a:p>
                <a:pPr algn="ctr">
                  <a:lnSpc>
                    <a:spcPct val="120000"/>
                  </a:lnSpc>
                </a:pPr>
                <a:r>
                  <a:rPr lang="en-US" altLang="zh-CN" sz="1100"/>
                  <a:t>Supporting text here. </a:t>
                </a:r>
              </a:p>
              <a:p>
                <a:pPr algn="ctr">
                  <a:lnSpc>
                    <a:spcPct val="120000"/>
                  </a:lnSpc>
                </a:pPr>
                <a:r>
                  <a:rPr lang="en-US" altLang="zh-CN" sz="1100"/>
                  <a:t>… …</a:t>
                </a:r>
                <a:endParaRPr lang="en-US" altLang="zh-CN" sz="1100" dirty="0"/>
              </a:p>
            </p:txBody>
          </p:sp>
          <p:sp>
            <p:nvSpPr>
              <p:cNvPr id="61" name="iṩḻïḓè">
                <a:extLst>
                  <a:ext uri="{FF2B5EF4-FFF2-40B4-BE49-F238E27FC236}">
                    <a16:creationId xmlns:a16="http://schemas.microsoft.com/office/drawing/2014/main" id="{095D3E3D-8FC2-40CD-B324-64883BA6DFE1}"/>
                  </a:ext>
                </a:extLst>
              </p:cNvPr>
              <p:cNvSpPr txBox="1"/>
              <p:nvPr/>
            </p:nvSpPr>
            <p:spPr>
              <a:xfrm>
                <a:off x="6227991" y="1843778"/>
                <a:ext cx="1611336" cy="698715"/>
              </a:xfrm>
              <a:prstGeom prst="rect">
                <a:avLst/>
              </a:prstGeom>
              <a:noFill/>
            </p:spPr>
            <p:txBody>
              <a:bodyPr wrap="square" lIns="91440" tIns="45720" rIns="91440" bIns="45720" rtlCol="0" anchor="t" anchorCtr="0">
                <a:normAutofit/>
              </a:bodyPr>
              <a:lstStyle/>
              <a:p>
                <a:pPr algn="ctr">
                  <a:lnSpc>
                    <a:spcPct val="120000"/>
                  </a:lnSpc>
                </a:pPr>
                <a:r>
                  <a:rPr lang="en-US" altLang="zh-CN" sz="1100"/>
                  <a:t>Supporting text here. </a:t>
                </a:r>
              </a:p>
              <a:p>
                <a:pPr algn="ctr">
                  <a:lnSpc>
                    <a:spcPct val="120000"/>
                  </a:lnSpc>
                </a:pPr>
                <a:r>
                  <a:rPr lang="en-US" altLang="zh-CN" sz="1100"/>
                  <a:t>… …</a:t>
                </a:r>
                <a:endParaRPr lang="en-US" altLang="zh-CN" sz="1100" dirty="0"/>
              </a:p>
            </p:txBody>
          </p:sp>
        </p:grpSp>
        <p:grpSp>
          <p:nvGrpSpPr>
            <p:cNvPr id="18" name="ïsļíḋe">
              <a:extLst>
                <a:ext uri="{FF2B5EF4-FFF2-40B4-BE49-F238E27FC236}">
                  <a16:creationId xmlns:a16="http://schemas.microsoft.com/office/drawing/2014/main" id="{38C846FA-96A6-406F-9065-01473827760E}"/>
                </a:ext>
              </a:extLst>
            </p:cNvPr>
            <p:cNvGrpSpPr/>
            <p:nvPr/>
          </p:nvGrpSpPr>
          <p:grpSpPr>
            <a:xfrm>
              <a:off x="727148" y="1633983"/>
              <a:ext cx="2634877" cy="1225771"/>
              <a:chOff x="6537698" y="3101864"/>
              <a:chExt cx="2634877" cy="1225771"/>
            </a:xfrm>
          </p:grpSpPr>
          <p:grpSp>
            <p:nvGrpSpPr>
              <p:cNvPr id="54" name="îśliḑe">
                <a:extLst>
                  <a:ext uri="{FF2B5EF4-FFF2-40B4-BE49-F238E27FC236}">
                    <a16:creationId xmlns:a16="http://schemas.microsoft.com/office/drawing/2014/main" id="{C3C90101-659C-47F5-BFF7-59C6946E401F}"/>
                  </a:ext>
                </a:extLst>
              </p:cNvPr>
              <p:cNvGrpSpPr/>
              <p:nvPr/>
            </p:nvGrpSpPr>
            <p:grpSpPr>
              <a:xfrm>
                <a:off x="7125389" y="3101864"/>
                <a:ext cx="2047186" cy="1225771"/>
                <a:chOff x="7163671" y="3101864"/>
                <a:chExt cx="1459469" cy="1225771"/>
              </a:xfrm>
            </p:grpSpPr>
            <p:sp>
              <p:nvSpPr>
                <p:cNvPr id="58" name="îṣḻïde">
                  <a:extLst>
                    <a:ext uri="{FF2B5EF4-FFF2-40B4-BE49-F238E27FC236}">
                      <a16:creationId xmlns:a16="http://schemas.microsoft.com/office/drawing/2014/main" id="{928726B8-6854-42A0-84E3-0E859AD33F69}"/>
                    </a:ext>
                  </a:extLst>
                </p:cNvPr>
                <p:cNvSpPr txBox="1"/>
                <p:nvPr/>
              </p:nvSpPr>
              <p:spPr>
                <a:xfrm>
                  <a:off x="7163672" y="3101864"/>
                  <a:ext cx="1459468" cy="527057"/>
                </a:xfrm>
                <a:prstGeom prst="rect">
                  <a:avLst/>
                </a:prstGeom>
                <a:noFill/>
              </p:spPr>
              <p:txBody>
                <a:bodyPr wrap="square" lIns="91440" tIns="45720" rIns="91440" bIns="45720" rtlCol="0" anchor="b" anchorCtr="0">
                  <a:normAutofit/>
                </a:bodyPr>
                <a:lstStyle/>
                <a:p>
                  <a:pPr>
                    <a:lnSpc>
                      <a:spcPct val="150000"/>
                    </a:lnSpc>
                  </a:pPr>
                  <a:r>
                    <a:rPr lang="en-US" altLang="zh-CN" sz="1600" b="1" dirty="0"/>
                    <a:t>Text here</a:t>
                  </a:r>
                  <a:endParaRPr lang="vi-VN" sz="1600" b="1" dirty="0"/>
                </a:p>
              </p:txBody>
            </p:sp>
            <p:sp>
              <p:nvSpPr>
                <p:cNvPr id="59" name="ïṣľiḓé">
                  <a:extLst>
                    <a:ext uri="{FF2B5EF4-FFF2-40B4-BE49-F238E27FC236}">
                      <a16:creationId xmlns:a16="http://schemas.microsoft.com/office/drawing/2014/main" id="{E7585099-C605-4B9F-A320-69D7DAEEDD6E}"/>
                    </a:ext>
                  </a:extLst>
                </p:cNvPr>
                <p:cNvSpPr txBox="1"/>
                <p:nvPr/>
              </p:nvSpPr>
              <p:spPr>
                <a:xfrm>
                  <a:off x="7163671" y="3628920"/>
                  <a:ext cx="1459468" cy="698715"/>
                </a:xfrm>
                <a:prstGeom prst="rect">
                  <a:avLst/>
                </a:prstGeom>
                <a:noFill/>
              </p:spPr>
              <p:txBody>
                <a:bodyPr wrap="square" lIns="91440" tIns="45720" rIns="91440" bIns="45720" rtlCol="0" anchor="t" anchorCtr="0">
                  <a:normAutofit/>
                </a:bodyPr>
                <a:lstStyle/>
                <a:p>
                  <a:pPr>
                    <a:lnSpc>
                      <a:spcPct val="120000"/>
                    </a:lnSpc>
                  </a:pPr>
                  <a:r>
                    <a:rPr lang="en-US" altLang="zh-CN" sz="1100"/>
                    <a:t>Supporting text here. </a:t>
                  </a:r>
                </a:p>
                <a:p>
                  <a:pPr>
                    <a:lnSpc>
                      <a:spcPct val="120000"/>
                    </a:lnSpc>
                  </a:pPr>
                  <a:r>
                    <a:rPr lang="en-US" altLang="zh-CN" sz="1100"/>
                    <a:t>… …</a:t>
                  </a:r>
                  <a:endParaRPr lang="en-US" altLang="zh-CN" sz="1100" dirty="0"/>
                </a:p>
              </p:txBody>
            </p:sp>
          </p:grpSp>
          <p:grpSp>
            <p:nvGrpSpPr>
              <p:cNvPr id="55" name="iṡļídè">
                <a:extLst>
                  <a:ext uri="{FF2B5EF4-FFF2-40B4-BE49-F238E27FC236}">
                    <a16:creationId xmlns:a16="http://schemas.microsoft.com/office/drawing/2014/main" id="{866CFADF-6C48-4F22-854D-0CB111D76792}"/>
                  </a:ext>
                </a:extLst>
              </p:cNvPr>
              <p:cNvGrpSpPr/>
              <p:nvPr/>
            </p:nvGrpSpPr>
            <p:grpSpPr>
              <a:xfrm>
                <a:off x="6537698" y="3274941"/>
                <a:ext cx="558427" cy="558427"/>
                <a:chOff x="809883" y="1822439"/>
                <a:chExt cx="721040" cy="721040"/>
              </a:xfrm>
            </p:grpSpPr>
            <p:sp>
              <p:nvSpPr>
                <p:cNvPr id="56" name="îṩlïḑe">
                  <a:extLst>
                    <a:ext uri="{FF2B5EF4-FFF2-40B4-BE49-F238E27FC236}">
                      <a16:creationId xmlns:a16="http://schemas.microsoft.com/office/drawing/2014/main" id="{BCAD5690-A4A4-430D-9A23-4913D5D23AC0}"/>
                    </a:ext>
                  </a:extLst>
                </p:cNvPr>
                <p:cNvSpPr/>
                <p:nvPr/>
              </p:nvSpPr>
              <p:spPr>
                <a:xfrm>
                  <a:off x="809883" y="1822439"/>
                  <a:ext cx="721040" cy="721040"/>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85000" lnSpcReduction="20000"/>
                </a:bodyPr>
                <a:lstStyle/>
                <a:p>
                  <a:pPr algn="ctr"/>
                  <a:endParaRPr lang="en-US" sz="2800" b="1" dirty="0">
                    <a:solidFill>
                      <a:schemeClr val="bg1"/>
                    </a:solidFill>
                  </a:endParaRPr>
                </a:p>
              </p:txBody>
            </p:sp>
            <p:sp>
              <p:nvSpPr>
                <p:cNvPr id="57" name="íṡľiḓe">
                  <a:extLst>
                    <a:ext uri="{FF2B5EF4-FFF2-40B4-BE49-F238E27FC236}">
                      <a16:creationId xmlns:a16="http://schemas.microsoft.com/office/drawing/2014/main" id="{CA06C904-6D99-4800-9D22-ED34D4F33C40}"/>
                    </a:ext>
                  </a:extLst>
                </p:cNvPr>
                <p:cNvSpPr/>
                <p:nvPr/>
              </p:nvSpPr>
              <p:spPr bwMode="auto">
                <a:xfrm>
                  <a:off x="1001760" y="2010248"/>
                  <a:ext cx="337286" cy="345422"/>
                </a:xfrm>
                <a:custGeom>
                  <a:avLst/>
                  <a:gdLst>
                    <a:gd name="T0" fmla="*/ 1547 w 10400"/>
                    <a:gd name="T1" fmla="*/ 9330 h 10667"/>
                    <a:gd name="T2" fmla="*/ 3077 w 10400"/>
                    <a:gd name="T3" fmla="*/ 9013 h 10667"/>
                    <a:gd name="T4" fmla="*/ 6114 w 10400"/>
                    <a:gd name="T5" fmla="*/ 9700 h 10667"/>
                    <a:gd name="T6" fmla="*/ 6806 w 10400"/>
                    <a:gd name="T7" fmla="*/ 8539 h 10667"/>
                    <a:gd name="T8" fmla="*/ 4079 w 10400"/>
                    <a:gd name="T9" fmla="*/ 1127 h 10667"/>
                    <a:gd name="T10" fmla="*/ 5193 w 10400"/>
                    <a:gd name="T11" fmla="*/ 2254 h 10667"/>
                    <a:gd name="T12" fmla="*/ 6352 w 10400"/>
                    <a:gd name="T13" fmla="*/ 3340 h 10667"/>
                    <a:gd name="T14" fmla="*/ 6296 w 10400"/>
                    <a:gd name="T15" fmla="*/ 5841 h 10667"/>
                    <a:gd name="T16" fmla="*/ 5318 w 10400"/>
                    <a:gd name="T17" fmla="*/ 6578 h 10667"/>
                    <a:gd name="T18" fmla="*/ 4851 w 10400"/>
                    <a:gd name="T19" fmla="*/ 10126 h 10667"/>
                    <a:gd name="T20" fmla="*/ 4154 w 10400"/>
                    <a:gd name="T21" fmla="*/ 5500 h 10667"/>
                    <a:gd name="T22" fmla="*/ 993 w 10400"/>
                    <a:gd name="T23" fmla="*/ 1669 h 10667"/>
                    <a:gd name="T24" fmla="*/ 4493 w 10400"/>
                    <a:gd name="T25" fmla="*/ 2470 h 10667"/>
                    <a:gd name="T26" fmla="*/ 5203 w 10400"/>
                    <a:gd name="T27" fmla="*/ 5915 h 10667"/>
                    <a:gd name="T28" fmla="*/ 5890 w 10400"/>
                    <a:gd name="T29" fmla="*/ 2481 h 10667"/>
                    <a:gd name="T30" fmla="*/ 9353 w 10400"/>
                    <a:gd name="T31" fmla="*/ 1669 h 10667"/>
                    <a:gd name="T32" fmla="*/ 8900 w 10400"/>
                    <a:gd name="T33" fmla="*/ 5088 h 10667"/>
                    <a:gd name="T34" fmla="*/ 8763 w 10400"/>
                    <a:gd name="T35" fmla="*/ 4301 h 10667"/>
                    <a:gd name="T36" fmla="*/ 7729 w 10400"/>
                    <a:gd name="T37" fmla="*/ 3953 h 10667"/>
                    <a:gd name="T38" fmla="*/ 8505 w 10400"/>
                    <a:gd name="T39" fmla="*/ 5505 h 10667"/>
                    <a:gd name="T40" fmla="*/ 8530 w 10400"/>
                    <a:gd name="T41" fmla="*/ 6867 h 10667"/>
                    <a:gd name="T42" fmla="*/ 9012 w 10400"/>
                    <a:gd name="T43" fmla="*/ 6736 h 10667"/>
                    <a:gd name="T44" fmla="*/ 9315 w 10400"/>
                    <a:gd name="T45" fmla="*/ 6686 h 10667"/>
                    <a:gd name="T46" fmla="*/ 9046 w 10400"/>
                    <a:gd name="T47" fmla="*/ 4530 h 10667"/>
                    <a:gd name="T48" fmla="*/ 9997 w 10400"/>
                    <a:gd name="T49" fmla="*/ 3776 h 10667"/>
                    <a:gd name="T50" fmla="*/ 8844 w 10400"/>
                    <a:gd name="T51" fmla="*/ 4304 h 10667"/>
                    <a:gd name="T52" fmla="*/ 8790 w 10400"/>
                    <a:gd name="T53" fmla="*/ 3675 h 10667"/>
                    <a:gd name="T54" fmla="*/ 9514 w 10400"/>
                    <a:gd name="T55" fmla="*/ 6418 h 10667"/>
                    <a:gd name="T56" fmla="*/ 9245 w 10400"/>
                    <a:gd name="T57" fmla="*/ 6917 h 10667"/>
                    <a:gd name="T58" fmla="*/ 7957 w 10400"/>
                    <a:gd name="T59" fmla="*/ 6629 h 10667"/>
                    <a:gd name="T60" fmla="*/ 7308 w 10400"/>
                    <a:gd name="T61" fmla="*/ 6762 h 10667"/>
                    <a:gd name="T62" fmla="*/ 9494 w 10400"/>
                    <a:gd name="T63" fmla="*/ 6253 h 10667"/>
                    <a:gd name="T64" fmla="*/ 577 w 10400"/>
                    <a:gd name="T65" fmla="*/ 3770 h 10667"/>
                    <a:gd name="T66" fmla="*/ 1355 w 10400"/>
                    <a:gd name="T67" fmla="*/ 4518 h 10667"/>
                    <a:gd name="T68" fmla="*/ 1282 w 10400"/>
                    <a:gd name="T69" fmla="*/ 5462 h 10667"/>
                    <a:gd name="T70" fmla="*/ 1236 w 10400"/>
                    <a:gd name="T71" fmla="*/ 6867 h 10667"/>
                    <a:gd name="T72" fmla="*/ 1718 w 10400"/>
                    <a:gd name="T73" fmla="*/ 6728 h 10667"/>
                    <a:gd name="T74" fmla="*/ 2022 w 10400"/>
                    <a:gd name="T75" fmla="*/ 6694 h 10667"/>
                    <a:gd name="T76" fmla="*/ 1843 w 10400"/>
                    <a:gd name="T77" fmla="*/ 4519 h 10667"/>
                    <a:gd name="T78" fmla="*/ 2505 w 10400"/>
                    <a:gd name="T79" fmla="*/ 3770 h 10667"/>
                    <a:gd name="T80" fmla="*/ 1608 w 10400"/>
                    <a:gd name="T81" fmla="*/ 5217 h 10667"/>
                    <a:gd name="T82" fmla="*/ 1557 w 10400"/>
                    <a:gd name="T83" fmla="*/ 4304 h 10667"/>
                    <a:gd name="T84" fmla="*/ 1610 w 10400"/>
                    <a:gd name="T85" fmla="*/ 3675 h 10667"/>
                    <a:gd name="T86" fmla="*/ 1898 w 10400"/>
                    <a:gd name="T87" fmla="*/ 3969 h 10667"/>
                    <a:gd name="T88" fmla="*/ 1547 w 10400"/>
                    <a:gd name="T89" fmla="*/ 7324 h 10667"/>
                    <a:gd name="T90" fmla="*/ 2189 w 10400"/>
                    <a:gd name="T91" fmla="*/ 6405 h 10667"/>
                    <a:gd name="T92" fmla="*/ 1172 w 10400"/>
                    <a:gd name="T93" fmla="*/ 6918 h 10667"/>
                    <a:gd name="T94" fmla="*/ 669 w 10400"/>
                    <a:gd name="T95" fmla="*/ 6629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00" h="10667">
                      <a:moveTo>
                        <a:pt x="8838" y="9330"/>
                      </a:moveTo>
                      <a:cubicBezTo>
                        <a:pt x="8838" y="10067"/>
                        <a:pt x="7206" y="10667"/>
                        <a:pt x="5192" y="10667"/>
                      </a:cubicBezTo>
                      <a:cubicBezTo>
                        <a:pt x="3180" y="10667"/>
                        <a:pt x="1547" y="10067"/>
                        <a:pt x="1547" y="9330"/>
                      </a:cubicBezTo>
                      <a:cubicBezTo>
                        <a:pt x="1547" y="8797"/>
                        <a:pt x="2406" y="8341"/>
                        <a:pt x="3638" y="8128"/>
                      </a:cubicBezTo>
                      <a:lnTo>
                        <a:pt x="3638" y="8495"/>
                      </a:lnTo>
                      <a:cubicBezTo>
                        <a:pt x="3293" y="8632"/>
                        <a:pt x="3077" y="8813"/>
                        <a:pt x="3077" y="9013"/>
                      </a:cubicBezTo>
                      <a:cubicBezTo>
                        <a:pt x="3077" y="9437"/>
                        <a:pt x="4015" y="9781"/>
                        <a:pt x="5171" y="9781"/>
                      </a:cubicBezTo>
                      <a:cubicBezTo>
                        <a:pt x="5497" y="9781"/>
                        <a:pt x="5802" y="9751"/>
                        <a:pt x="6077" y="9703"/>
                      </a:cubicBezTo>
                      <a:cubicBezTo>
                        <a:pt x="6090" y="9702"/>
                        <a:pt x="6102" y="9702"/>
                        <a:pt x="6114" y="9700"/>
                      </a:cubicBezTo>
                      <a:cubicBezTo>
                        <a:pt x="6165" y="9694"/>
                        <a:pt x="6212" y="9682"/>
                        <a:pt x="6259" y="9666"/>
                      </a:cubicBezTo>
                      <a:cubicBezTo>
                        <a:pt x="6859" y="9531"/>
                        <a:pt x="7264" y="9290"/>
                        <a:pt x="7264" y="9013"/>
                      </a:cubicBezTo>
                      <a:cubicBezTo>
                        <a:pt x="7264" y="8834"/>
                        <a:pt x="7090" y="8669"/>
                        <a:pt x="6806" y="8539"/>
                      </a:cubicBezTo>
                      <a:lnTo>
                        <a:pt x="6806" y="8137"/>
                      </a:lnTo>
                      <a:cubicBezTo>
                        <a:pt x="8006" y="8356"/>
                        <a:pt x="8838" y="8805"/>
                        <a:pt x="8838" y="9330"/>
                      </a:cubicBezTo>
                      <a:close/>
                      <a:moveTo>
                        <a:pt x="4079" y="1127"/>
                      </a:moveTo>
                      <a:cubicBezTo>
                        <a:pt x="4079" y="504"/>
                        <a:pt x="4578" y="0"/>
                        <a:pt x="5193" y="0"/>
                      </a:cubicBezTo>
                      <a:cubicBezTo>
                        <a:pt x="5807" y="0"/>
                        <a:pt x="6305" y="504"/>
                        <a:pt x="6305" y="1127"/>
                      </a:cubicBezTo>
                      <a:cubicBezTo>
                        <a:pt x="6305" y="1750"/>
                        <a:pt x="5807" y="2254"/>
                        <a:pt x="5193" y="2254"/>
                      </a:cubicBezTo>
                      <a:cubicBezTo>
                        <a:pt x="4578" y="2254"/>
                        <a:pt x="4079" y="1750"/>
                        <a:pt x="4079" y="1127"/>
                      </a:cubicBezTo>
                      <a:close/>
                      <a:moveTo>
                        <a:pt x="9353" y="1669"/>
                      </a:moveTo>
                      <a:cubicBezTo>
                        <a:pt x="8800" y="2578"/>
                        <a:pt x="7557" y="3340"/>
                        <a:pt x="6352" y="3340"/>
                      </a:cubicBezTo>
                      <a:cubicBezTo>
                        <a:pt x="6274" y="3340"/>
                        <a:pt x="6196" y="3336"/>
                        <a:pt x="6118" y="3330"/>
                      </a:cubicBezTo>
                      <a:cubicBezTo>
                        <a:pt x="6142" y="3615"/>
                        <a:pt x="6252" y="4928"/>
                        <a:pt x="6282" y="5755"/>
                      </a:cubicBezTo>
                      <a:cubicBezTo>
                        <a:pt x="6288" y="5783"/>
                        <a:pt x="6294" y="5811"/>
                        <a:pt x="6296" y="5841"/>
                      </a:cubicBezTo>
                      <a:lnTo>
                        <a:pt x="6568" y="10087"/>
                      </a:lnTo>
                      <a:cubicBezTo>
                        <a:pt x="6586" y="10373"/>
                        <a:pt x="5564" y="10428"/>
                        <a:pt x="5546" y="10154"/>
                      </a:cubicBezTo>
                      <a:lnTo>
                        <a:pt x="5318" y="6578"/>
                      </a:lnTo>
                      <a:cubicBezTo>
                        <a:pt x="5280" y="6574"/>
                        <a:pt x="5244" y="6567"/>
                        <a:pt x="5206" y="6567"/>
                      </a:cubicBezTo>
                      <a:cubicBezTo>
                        <a:pt x="5174" y="6567"/>
                        <a:pt x="5136" y="6577"/>
                        <a:pt x="5099" y="6587"/>
                      </a:cubicBezTo>
                      <a:lnTo>
                        <a:pt x="4851" y="10126"/>
                      </a:lnTo>
                      <a:cubicBezTo>
                        <a:pt x="4832" y="10398"/>
                        <a:pt x="3810" y="10338"/>
                        <a:pt x="3830" y="10052"/>
                      </a:cubicBezTo>
                      <a:lnTo>
                        <a:pt x="4144" y="5559"/>
                      </a:lnTo>
                      <a:cubicBezTo>
                        <a:pt x="4146" y="5538"/>
                        <a:pt x="4150" y="5520"/>
                        <a:pt x="4154" y="5500"/>
                      </a:cubicBezTo>
                      <a:cubicBezTo>
                        <a:pt x="4199" y="4432"/>
                        <a:pt x="4252" y="3400"/>
                        <a:pt x="4257" y="3326"/>
                      </a:cubicBezTo>
                      <a:cubicBezTo>
                        <a:pt x="4169" y="3334"/>
                        <a:pt x="4081" y="3340"/>
                        <a:pt x="3994" y="3340"/>
                      </a:cubicBezTo>
                      <a:cubicBezTo>
                        <a:pt x="2788" y="3340"/>
                        <a:pt x="1546" y="2578"/>
                        <a:pt x="993" y="1669"/>
                      </a:cubicBezTo>
                      <a:cubicBezTo>
                        <a:pt x="879" y="1481"/>
                        <a:pt x="936" y="1235"/>
                        <a:pt x="1122" y="1120"/>
                      </a:cubicBezTo>
                      <a:cubicBezTo>
                        <a:pt x="1308" y="1003"/>
                        <a:pt x="1551" y="1062"/>
                        <a:pt x="1665" y="1250"/>
                      </a:cubicBezTo>
                      <a:cubicBezTo>
                        <a:pt x="2166" y="2073"/>
                        <a:pt x="3484" y="2756"/>
                        <a:pt x="4493" y="2470"/>
                      </a:cubicBezTo>
                      <a:cubicBezTo>
                        <a:pt x="4663" y="2411"/>
                        <a:pt x="4865" y="2374"/>
                        <a:pt x="5089" y="2365"/>
                      </a:cubicBezTo>
                      <a:lnTo>
                        <a:pt x="4729" y="5423"/>
                      </a:lnTo>
                      <a:lnTo>
                        <a:pt x="5203" y="5915"/>
                      </a:lnTo>
                      <a:lnTo>
                        <a:pt x="5617" y="5423"/>
                      </a:lnTo>
                      <a:lnTo>
                        <a:pt x="5330" y="2373"/>
                      </a:lnTo>
                      <a:cubicBezTo>
                        <a:pt x="5531" y="2387"/>
                        <a:pt x="5725" y="2423"/>
                        <a:pt x="5890" y="2481"/>
                      </a:cubicBezTo>
                      <a:cubicBezTo>
                        <a:pt x="6894" y="2741"/>
                        <a:pt x="8187" y="2063"/>
                        <a:pt x="8681" y="1250"/>
                      </a:cubicBezTo>
                      <a:cubicBezTo>
                        <a:pt x="8795" y="1062"/>
                        <a:pt x="9038" y="1003"/>
                        <a:pt x="9224" y="1119"/>
                      </a:cubicBezTo>
                      <a:cubicBezTo>
                        <a:pt x="9410" y="1235"/>
                        <a:pt x="9468" y="1481"/>
                        <a:pt x="9353" y="1669"/>
                      </a:cubicBezTo>
                      <a:close/>
                      <a:moveTo>
                        <a:pt x="8844" y="4304"/>
                      </a:moveTo>
                      <a:cubicBezTo>
                        <a:pt x="8839" y="4303"/>
                        <a:pt x="8833" y="4303"/>
                        <a:pt x="8827" y="4302"/>
                      </a:cubicBezTo>
                      <a:lnTo>
                        <a:pt x="8900" y="5088"/>
                      </a:lnTo>
                      <a:lnTo>
                        <a:pt x="8793" y="5217"/>
                      </a:lnTo>
                      <a:lnTo>
                        <a:pt x="8671" y="5088"/>
                      </a:lnTo>
                      <a:lnTo>
                        <a:pt x="8763" y="4301"/>
                      </a:lnTo>
                      <a:cubicBezTo>
                        <a:pt x="8543" y="4286"/>
                        <a:pt x="8343" y="4195"/>
                        <a:pt x="7895" y="3770"/>
                      </a:cubicBezTo>
                      <a:cubicBezTo>
                        <a:pt x="7846" y="3723"/>
                        <a:pt x="7769" y="3725"/>
                        <a:pt x="7722" y="3776"/>
                      </a:cubicBezTo>
                      <a:cubicBezTo>
                        <a:pt x="7676" y="3826"/>
                        <a:pt x="7679" y="3906"/>
                        <a:pt x="7729" y="3953"/>
                      </a:cubicBezTo>
                      <a:cubicBezTo>
                        <a:pt x="8086" y="4293"/>
                        <a:pt x="8319" y="4456"/>
                        <a:pt x="8558" y="4519"/>
                      </a:cubicBezTo>
                      <a:cubicBezTo>
                        <a:pt x="8558" y="4523"/>
                        <a:pt x="8556" y="4527"/>
                        <a:pt x="8556" y="4530"/>
                      </a:cubicBezTo>
                      <a:lnTo>
                        <a:pt x="8505" y="5505"/>
                      </a:lnTo>
                      <a:lnTo>
                        <a:pt x="8378" y="6694"/>
                      </a:lnTo>
                      <a:cubicBezTo>
                        <a:pt x="8369" y="6780"/>
                        <a:pt x="8430" y="6857"/>
                        <a:pt x="8514" y="6867"/>
                      </a:cubicBezTo>
                      <a:cubicBezTo>
                        <a:pt x="8520" y="6867"/>
                        <a:pt x="8525" y="6867"/>
                        <a:pt x="8530" y="6867"/>
                      </a:cubicBezTo>
                      <a:cubicBezTo>
                        <a:pt x="8608" y="6867"/>
                        <a:pt x="8674" y="6808"/>
                        <a:pt x="8683" y="6728"/>
                      </a:cubicBezTo>
                      <a:lnTo>
                        <a:pt x="8815" y="5498"/>
                      </a:lnTo>
                      <a:lnTo>
                        <a:pt x="9012" y="6736"/>
                      </a:lnTo>
                      <a:cubicBezTo>
                        <a:pt x="9025" y="6813"/>
                        <a:pt x="9090" y="6868"/>
                        <a:pt x="9164" y="6868"/>
                      </a:cubicBezTo>
                      <a:cubicBezTo>
                        <a:pt x="9172" y="6868"/>
                        <a:pt x="9180" y="6867"/>
                        <a:pt x="9188" y="6866"/>
                      </a:cubicBezTo>
                      <a:cubicBezTo>
                        <a:pt x="9272" y="6852"/>
                        <a:pt x="9328" y="6771"/>
                        <a:pt x="9315" y="6686"/>
                      </a:cubicBezTo>
                      <a:lnTo>
                        <a:pt x="9119" y="5462"/>
                      </a:lnTo>
                      <a:cubicBezTo>
                        <a:pt x="9119" y="5461"/>
                        <a:pt x="9120" y="5460"/>
                        <a:pt x="9120" y="5459"/>
                      </a:cubicBezTo>
                      <a:lnTo>
                        <a:pt x="9046" y="4530"/>
                      </a:lnTo>
                      <a:cubicBezTo>
                        <a:pt x="9046" y="4526"/>
                        <a:pt x="9046" y="4522"/>
                        <a:pt x="9045" y="4518"/>
                      </a:cubicBezTo>
                      <a:cubicBezTo>
                        <a:pt x="9279" y="4456"/>
                        <a:pt x="9631" y="4296"/>
                        <a:pt x="9990" y="3953"/>
                      </a:cubicBezTo>
                      <a:cubicBezTo>
                        <a:pt x="10040" y="3906"/>
                        <a:pt x="10043" y="3826"/>
                        <a:pt x="9997" y="3776"/>
                      </a:cubicBezTo>
                      <a:cubicBezTo>
                        <a:pt x="9950" y="3725"/>
                        <a:pt x="9873" y="3723"/>
                        <a:pt x="9823" y="3770"/>
                      </a:cubicBezTo>
                      <a:cubicBezTo>
                        <a:pt x="9407" y="4166"/>
                        <a:pt x="9010" y="4290"/>
                        <a:pt x="8857" y="4300"/>
                      </a:cubicBezTo>
                      <a:cubicBezTo>
                        <a:pt x="8852" y="4300"/>
                        <a:pt x="8849" y="4303"/>
                        <a:pt x="8844" y="4304"/>
                      </a:cubicBezTo>
                      <a:close/>
                      <a:moveTo>
                        <a:pt x="8790" y="4263"/>
                      </a:moveTo>
                      <a:cubicBezTo>
                        <a:pt x="8949" y="4263"/>
                        <a:pt x="9078" y="4131"/>
                        <a:pt x="9078" y="3969"/>
                      </a:cubicBezTo>
                      <a:cubicBezTo>
                        <a:pt x="9078" y="3807"/>
                        <a:pt x="8949" y="3675"/>
                        <a:pt x="8790" y="3675"/>
                      </a:cubicBezTo>
                      <a:cubicBezTo>
                        <a:pt x="8631" y="3675"/>
                        <a:pt x="8503" y="3807"/>
                        <a:pt x="8503" y="3969"/>
                      </a:cubicBezTo>
                      <a:cubicBezTo>
                        <a:pt x="8503" y="4131"/>
                        <a:pt x="8631" y="4263"/>
                        <a:pt x="8790" y="4263"/>
                      </a:cubicBezTo>
                      <a:close/>
                      <a:moveTo>
                        <a:pt x="9514" y="6418"/>
                      </a:moveTo>
                      <a:cubicBezTo>
                        <a:pt x="9649" y="6475"/>
                        <a:pt x="9732" y="6548"/>
                        <a:pt x="9732" y="6629"/>
                      </a:cubicBezTo>
                      <a:cubicBezTo>
                        <a:pt x="9732" y="6745"/>
                        <a:pt x="9561" y="6846"/>
                        <a:pt x="9306" y="6903"/>
                      </a:cubicBezTo>
                      <a:cubicBezTo>
                        <a:pt x="9287" y="6910"/>
                        <a:pt x="9267" y="6915"/>
                        <a:pt x="9245" y="6917"/>
                      </a:cubicBezTo>
                      <a:cubicBezTo>
                        <a:pt x="9240" y="6918"/>
                        <a:pt x="9235" y="6918"/>
                        <a:pt x="9229" y="6918"/>
                      </a:cubicBezTo>
                      <a:cubicBezTo>
                        <a:pt x="9112" y="6939"/>
                        <a:pt x="8983" y="6952"/>
                        <a:pt x="8845" y="6952"/>
                      </a:cubicBezTo>
                      <a:cubicBezTo>
                        <a:pt x="8355" y="6952"/>
                        <a:pt x="7957" y="6807"/>
                        <a:pt x="7957" y="6629"/>
                      </a:cubicBezTo>
                      <a:cubicBezTo>
                        <a:pt x="7957" y="6542"/>
                        <a:pt x="8055" y="6463"/>
                        <a:pt x="8211" y="6405"/>
                      </a:cubicBezTo>
                      <a:lnTo>
                        <a:pt x="8222" y="6252"/>
                      </a:lnTo>
                      <a:cubicBezTo>
                        <a:pt x="7685" y="6340"/>
                        <a:pt x="7308" y="6534"/>
                        <a:pt x="7308" y="6762"/>
                      </a:cubicBezTo>
                      <a:cubicBezTo>
                        <a:pt x="7308" y="7072"/>
                        <a:pt x="8000" y="7324"/>
                        <a:pt x="8854" y="7324"/>
                      </a:cubicBezTo>
                      <a:cubicBezTo>
                        <a:pt x="9708" y="7324"/>
                        <a:pt x="10400" y="7072"/>
                        <a:pt x="10400" y="6762"/>
                      </a:cubicBezTo>
                      <a:cubicBezTo>
                        <a:pt x="10400" y="6535"/>
                        <a:pt x="10027" y="6342"/>
                        <a:pt x="9494" y="6253"/>
                      </a:cubicBezTo>
                      <a:lnTo>
                        <a:pt x="9514" y="6418"/>
                      </a:lnTo>
                      <a:close/>
                      <a:moveTo>
                        <a:pt x="1543" y="4300"/>
                      </a:moveTo>
                      <a:cubicBezTo>
                        <a:pt x="1391" y="4290"/>
                        <a:pt x="994" y="4166"/>
                        <a:pt x="577" y="3770"/>
                      </a:cubicBezTo>
                      <a:cubicBezTo>
                        <a:pt x="528" y="3723"/>
                        <a:pt x="450" y="3725"/>
                        <a:pt x="404" y="3776"/>
                      </a:cubicBezTo>
                      <a:cubicBezTo>
                        <a:pt x="358" y="3826"/>
                        <a:pt x="361" y="3906"/>
                        <a:pt x="411" y="3953"/>
                      </a:cubicBezTo>
                      <a:cubicBezTo>
                        <a:pt x="770" y="4296"/>
                        <a:pt x="1122" y="4456"/>
                        <a:pt x="1355" y="4518"/>
                      </a:cubicBezTo>
                      <a:cubicBezTo>
                        <a:pt x="1355" y="4522"/>
                        <a:pt x="1355" y="4526"/>
                        <a:pt x="1355" y="4530"/>
                      </a:cubicBezTo>
                      <a:lnTo>
                        <a:pt x="1281" y="5459"/>
                      </a:lnTo>
                      <a:cubicBezTo>
                        <a:pt x="1281" y="5460"/>
                        <a:pt x="1282" y="5461"/>
                        <a:pt x="1282" y="5462"/>
                      </a:cubicBezTo>
                      <a:lnTo>
                        <a:pt x="1086" y="6686"/>
                      </a:lnTo>
                      <a:cubicBezTo>
                        <a:pt x="1072" y="6771"/>
                        <a:pt x="1129" y="6852"/>
                        <a:pt x="1212" y="6866"/>
                      </a:cubicBezTo>
                      <a:cubicBezTo>
                        <a:pt x="1221" y="6867"/>
                        <a:pt x="1229" y="6867"/>
                        <a:pt x="1236" y="6867"/>
                      </a:cubicBezTo>
                      <a:cubicBezTo>
                        <a:pt x="1311" y="6867"/>
                        <a:pt x="1376" y="6813"/>
                        <a:pt x="1388" y="6736"/>
                      </a:cubicBezTo>
                      <a:lnTo>
                        <a:pt x="1586" y="5498"/>
                      </a:lnTo>
                      <a:lnTo>
                        <a:pt x="1718" y="6728"/>
                      </a:lnTo>
                      <a:cubicBezTo>
                        <a:pt x="1726" y="6808"/>
                        <a:pt x="1792" y="6867"/>
                        <a:pt x="1870" y="6867"/>
                      </a:cubicBezTo>
                      <a:cubicBezTo>
                        <a:pt x="1875" y="6867"/>
                        <a:pt x="1881" y="6867"/>
                        <a:pt x="1887" y="6867"/>
                      </a:cubicBezTo>
                      <a:cubicBezTo>
                        <a:pt x="1971" y="6857"/>
                        <a:pt x="2032" y="6780"/>
                        <a:pt x="2022" y="6694"/>
                      </a:cubicBezTo>
                      <a:lnTo>
                        <a:pt x="1895" y="5505"/>
                      </a:lnTo>
                      <a:lnTo>
                        <a:pt x="1845" y="4530"/>
                      </a:lnTo>
                      <a:cubicBezTo>
                        <a:pt x="1845" y="4527"/>
                        <a:pt x="1843" y="4523"/>
                        <a:pt x="1843" y="4519"/>
                      </a:cubicBezTo>
                      <a:cubicBezTo>
                        <a:pt x="2082" y="4456"/>
                        <a:pt x="2314" y="4293"/>
                        <a:pt x="2672" y="3953"/>
                      </a:cubicBezTo>
                      <a:cubicBezTo>
                        <a:pt x="2722" y="3906"/>
                        <a:pt x="2725" y="3826"/>
                        <a:pt x="2678" y="3776"/>
                      </a:cubicBezTo>
                      <a:cubicBezTo>
                        <a:pt x="2632" y="3725"/>
                        <a:pt x="2555" y="3722"/>
                        <a:pt x="2505" y="3770"/>
                      </a:cubicBezTo>
                      <a:cubicBezTo>
                        <a:pt x="2058" y="4195"/>
                        <a:pt x="1857" y="4286"/>
                        <a:pt x="1637" y="4301"/>
                      </a:cubicBezTo>
                      <a:lnTo>
                        <a:pt x="1730" y="5088"/>
                      </a:lnTo>
                      <a:lnTo>
                        <a:pt x="1608" y="5217"/>
                      </a:lnTo>
                      <a:lnTo>
                        <a:pt x="1501" y="5088"/>
                      </a:lnTo>
                      <a:lnTo>
                        <a:pt x="1574" y="4302"/>
                      </a:lnTo>
                      <a:cubicBezTo>
                        <a:pt x="1568" y="4303"/>
                        <a:pt x="1562" y="4303"/>
                        <a:pt x="1557" y="4304"/>
                      </a:cubicBezTo>
                      <a:cubicBezTo>
                        <a:pt x="1552" y="4303"/>
                        <a:pt x="1548" y="4300"/>
                        <a:pt x="1543" y="4300"/>
                      </a:cubicBezTo>
                      <a:close/>
                      <a:moveTo>
                        <a:pt x="1898" y="3969"/>
                      </a:moveTo>
                      <a:cubicBezTo>
                        <a:pt x="1898" y="3807"/>
                        <a:pt x="1769" y="3675"/>
                        <a:pt x="1610" y="3675"/>
                      </a:cubicBezTo>
                      <a:cubicBezTo>
                        <a:pt x="1452" y="3675"/>
                        <a:pt x="1323" y="3807"/>
                        <a:pt x="1323" y="3969"/>
                      </a:cubicBezTo>
                      <a:cubicBezTo>
                        <a:pt x="1323" y="4131"/>
                        <a:pt x="1452" y="4263"/>
                        <a:pt x="1610" y="4263"/>
                      </a:cubicBezTo>
                      <a:cubicBezTo>
                        <a:pt x="1769" y="4263"/>
                        <a:pt x="1898" y="4131"/>
                        <a:pt x="1898" y="3969"/>
                      </a:cubicBezTo>
                      <a:close/>
                      <a:moveTo>
                        <a:pt x="906" y="6253"/>
                      </a:moveTo>
                      <a:cubicBezTo>
                        <a:pt x="373" y="6342"/>
                        <a:pt x="0" y="6535"/>
                        <a:pt x="0" y="6762"/>
                      </a:cubicBezTo>
                      <a:cubicBezTo>
                        <a:pt x="0" y="7072"/>
                        <a:pt x="693" y="7324"/>
                        <a:pt x="1547" y="7324"/>
                      </a:cubicBezTo>
                      <a:cubicBezTo>
                        <a:pt x="2401" y="7324"/>
                        <a:pt x="3093" y="7072"/>
                        <a:pt x="3093" y="6762"/>
                      </a:cubicBezTo>
                      <a:cubicBezTo>
                        <a:pt x="3093" y="6534"/>
                        <a:pt x="2716" y="6340"/>
                        <a:pt x="2178" y="6252"/>
                      </a:cubicBezTo>
                      <a:lnTo>
                        <a:pt x="2189" y="6405"/>
                      </a:lnTo>
                      <a:cubicBezTo>
                        <a:pt x="2346" y="6463"/>
                        <a:pt x="2444" y="6542"/>
                        <a:pt x="2444" y="6629"/>
                      </a:cubicBezTo>
                      <a:cubicBezTo>
                        <a:pt x="2444" y="6807"/>
                        <a:pt x="2046" y="6952"/>
                        <a:pt x="1556" y="6952"/>
                      </a:cubicBezTo>
                      <a:cubicBezTo>
                        <a:pt x="1418" y="6952"/>
                        <a:pt x="1289" y="6939"/>
                        <a:pt x="1172" y="6918"/>
                      </a:cubicBezTo>
                      <a:cubicBezTo>
                        <a:pt x="1166" y="6918"/>
                        <a:pt x="1161" y="6918"/>
                        <a:pt x="1155" y="6917"/>
                      </a:cubicBezTo>
                      <a:cubicBezTo>
                        <a:pt x="1134" y="6915"/>
                        <a:pt x="1114" y="6910"/>
                        <a:pt x="1095" y="6903"/>
                      </a:cubicBezTo>
                      <a:cubicBezTo>
                        <a:pt x="840" y="6846"/>
                        <a:pt x="669" y="6745"/>
                        <a:pt x="669" y="6629"/>
                      </a:cubicBezTo>
                      <a:cubicBezTo>
                        <a:pt x="669" y="6548"/>
                        <a:pt x="751" y="6475"/>
                        <a:pt x="887" y="6418"/>
                      </a:cubicBezTo>
                      <a:lnTo>
                        <a:pt x="906" y="6253"/>
                      </a:lnTo>
                      <a:close/>
                    </a:path>
                  </a:pathLst>
                </a:custGeom>
                <a:solidFill>
                  <a:schemeClr val="bg1"/>
                </a:solidFill>
                <a:ln>
                  <a:noFill/>
                </a:ln>
              </p:spPr>
              <p:txBody>
                <a:bodyPr/>
                <a:lstStyle/>
                <a:p>
                  <a:endParaRPr lang="zh-CN" altLang="en-US"/>
                </a:p>
              </p:txBody>
            </p:sp>
          </p:grpSp>
        </p:grpSp>
        <p:grpSp>
          <p:nvGrpSpPr>
            <p:cNvPr id="19" name="išľïḑé">
              <a:extLst>
                <a:ext uri="{FF2B5EF4-FFF2-40B4-BE49-F238E27FC236}">
                  <a16:creationId xmlns:a16="http://schemas.microsoft.com/office/drawing/2014/main" id="{DDAD0511-5B9E-4E4C-A5D1-8642CA45A6AF}"/>
                </a:ext>
              </a:extLst>
            </p:cNvPr>
            <p:cNvGrpSpPr/>
            <p:nvPr/>
          </p:nvGrpSpPr>
          <p:grpSpPr>
            <a:xfrm>
              <a:off x="727148" y="3106831"/>
              <a:ext cx="2634877" cy="1225771"/>
              <a:chOff x="6537698" y="3101864"/>
              <a:chExt cx="2634877" cy="1225771"/>
            </a:xfrm>
          </p:grpSpPr>
          <p:grpSp>
            <p:nvGrpSpPr>
              <p:cNvPr id="48" name="íśliďè">
                <a:extLst>
                  <a:ext uri="{FF2B5EF4-FFF2-40B4-BE49-F238E27FC236}">
                    <a16:creationId xmlns:a16="http://schemas.microsoft.com/office/drawing/2014/main" id="{AF667080-D68F-4C26-B745-41329DE7FF2F}"/>
                  </a:ext>
                </a:extLst>
              </p:cNvPr>
              <p:cNvGrpSpPr/>
              <p:nvPr/>
            </p:nvGrpSpPr>
            <p:grpSpPr>
              <a:xfrm>
                <a:off x="7125389" y="3101864"/>
                <a:ext cx="2047186" cy="1225771"/>
                <a:chOff x="7163671" y="3101864"/>
                <a:chExt cx="1459469" cy="1225771"/>
              </a:xfrm>
            </p:grpSpPr>
            <p:sp>
              <p:nvSpPr>
                <p:cNvPr id="52" name="iślíḓé">
                  <a:extLst>
                    <a:ext uri="{FF2B5EF4-FFF2-40B4-BE49-F238E27FC236}">
                      <a16:creationId xmlns:a16="http://schemas.microsoft.com/office/drawing/2014/main" id="{962AC995-1400-4FBF-B311-B1637E008455}"/>
                    </a:ext>
                  </a:extLst>
                </p:cNvPr>
                <p:cNvSpPr txBox="1"/>
                <p:nvPr/>
              </p:nvSpPr>
              <p:spPr>
                <a:xfrm>
                  <a:off x="7163672" y="3101864"/>
                  <a:ext cx="1459468" cy="527057"/>
                </a:xfrm>
                <a:prstGeom prst="rect">
                  <a:avLst/>
                </a:prstGeom>
                <a:noFill/>
              </p:spPr>
              <p:txBody>
                <a:bodyPr wrap="square" lIns="91440" tIns="45720" rIns="91440" bIns="45720" rtlCol="0" anchor="b" anchorCtr="0">
                  <a:normAutofit/>
                </a:bodyPr>
                <a:lstStyle/>
                <a:p>
                  <a:pPr>
                    <a:lnSpc>
                      <a:spcPct val="150000"/>
                    </a:lnSpc>
                  </a:pPr>
                  <a:r>
                    <a:rPr lang="en-US" altLang="zh-CN" sz="1600" b="1" dirty="0"/>
                    <a:t>Text here</a:t>
                  </a:r>
                  <a:endParaRPr lang="vi-VN" sz="1600" b="1" dirty="0"/>
                </a:p>
              </p:txBody>
            </p:sp>
            <p:sp>
              <p:nvSpPr>
                <p:cNvPr id="53" name="ïş1îḑè">
                  <a:extLst>
                    <a:ext uri="{FF2B5EF4-FFF2-40B4-BE49-F238E27FC236}">
                      <a16:creationId xmlns:a16="http://schemas.microsoft.com/office/drawing/2014/main" id="{30DE39B1-1C47-4EEC-90E3-A069F754A27F}"/>
                    </a:ext>
                  </a:extLst>
                </p:cNvPr>
                <p:cNvSpPr txBox="1"/>
                <p:nvPr/>
              </p:nvSpPr>
              <p:spPr>
                <a:xfrm>
                  <a:off x="7163671" y="3628920"/>
                  <a:ext cx="1459468" cy="698715"/>
                </a:xfrm>
                <a:prstGeom prst="rect">
                  <a:avLst/>
                </a:prstGeom>
                <a:noFill/>
              </p:spPr>
              <p:txBody>
                <a:bodyPr wrap="square" lIns="91440" tIns="45720" rIns="91440" bIns="45720" rtlCol="0" anchor="t" anchorCtr="0">
                  <a:normAutofit/>
                </a:bodyPr>
                <a:lstStyle/>
                <a:p>
                  <a:pPr>
                    <a:lnSpc>
                      <a:spcPct val="120000"/>
                    </a:lnSpc>
                  </a:pPr>
                  <a:r>
                    <a:rPr lang="en-US" altLang="zh-CN" sz="1100"/>
                    <a:t>Supporting text here. </a:t>
                  </a:r>
                </a:p>
                <a:p>
                  <a:pPr>
                    <a:lnSpc>
                      <a:spcPct val="120000"/>
                    </a:lnSpc>
                  </a:pPr>
                  <a:r>
                    <a:rPr lang="en-US" altLang="zh-CN" sz="1100"/>
                    <a:t>… …</a:t>
                  </a:r>
                  <a:endParaRPr lang="en-US" altLang="zh-CN" sz="1100" dirty="0"/>
                </a:p>
              </p:txBody>
            </p:sp>
          </p:grpSp>
          <p:grpSp>
            <p:nvGrpSpPr>
              <p:cNvPr id="49" name="îṧ1ïḓê">
                <a:extLst>
                  <a:ext uri="{FF2B5EF4-FFF2-40B4-BE49-F238E27FC236}">
                    <a16:creationId xmlns:a16="http://schemas.microsoft.com/office/drawing/2014/main" id="{C287DE3D-AB99-4329-A525-829C39A85BCF}"/>
                  </a:ext>
                </a:extLst>
              </p:cNvPr>
              <p:cNvGrpSpPr/>
              <p:nvPr/>
            </p:nvGrpSpPr>
            <p:grpSpPr>
              <a:xfrm>
                <a:off x="6537698" y="3274941"/>
                <a:ext cx="558427" cy="558427"/>
                <a:chOff x="809883" y="1822439"/>
                <a:chExt cx="721040" cy="721040"/>
              </a:xfrm>
            </p:grpSpPr>
            <p:sp>
              <p:nvSpPr>
                <p:cNvPr id="50" name="ïšľidè">
                  <a:extLst>
                    <a:ext uri="{FF2B5EF4-FFF2-40B4-BE49-F238E27FC236}">
                      <a16:creationId xmlns:a16="http://schemas.microsoft.com/office/drawing/2014/main" id="{F087BE86-E228-4D51-96D4-66779A00FAD6}"/>
                    </a:ext>
                  </a:extLst>
                </p:cNvPr>
                <p:cNvSpPr/>
                <p:nvPr/>
              </p:nvSpPr>
              <p:spPr>
                <a:xfrm>
                  <a:off x="809883" y="1822439"/>
                  <a:ext cx="721040" cy="721040"/>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85000" lnSpcReduction="20000"/>
                </a:bodyPr>
                <a:lstStyle/>
                <a:p>
                  <a:pPr algn="ctr"/>
                  <a:endParaRPr lang="en-US" sz="2800" b="1" dirty="0">
                    <a:solidFill>
                      <a:schemeClr val="bg1"/>
                    </a:solidFill>
                  </a:endParaRPr>
                </a:p>
              </p:txBody>
            </p:sp>
            <p:sp>
              <p:nvSpPr>
                <p:cNvPr id="51" name="îş1íḓe">
                  <a:extLst>
                    <a:ext uri="{FF2B5EF4-FFF2-40B4-BE49-F238E27FC236}">
                      <a16:creationId xmlns:a16="http://schemas.microsoft.com/office/drawing/2014/main" id="{65F5605F-0EA0-405B-A748-DC7CE73621F3}"/>
                    </a:ext>
                  </a:extLst>
                </p:cNvPr>
                <p:cNvSpPr/>
                <p:nvPr/>
              </p:nvSpPr>
              <p:spPr bwMode="auto">
                <a:xfrm>
                  <a:off x="1001760" y="2010248"/>
                  <a:ext cx="337286" cy="345422"/>
                </a:xfrm>
                <a:custGeom>
                  <a:avLst/>
                  <a:gdLst>
                    <a:gd name="T0" fmla="*/ 1547 w 10400"/>
                    <a:gd name="T1" fmla="*/ 9330 h 10667"/>
                    <a:gd name="T2" fmla="*/ 3077 w 10400"/>
                    <a:gd name="T3" fmla="*/ 9013 h 10667"/>
                    <a:gd name="T4" fmla="*/ 6114 w 10400"/>
                    <a:gd name="T5" fmla="*/ 9700 h 10667"/>
                    <a:gd name="T6" fmla="*/ 6806 w 10400"/>
                    <a:gd name="T7" fmla="*/ 8539 h 10667"/>
                    <a:gd name="T8" fmla="*/ 4079 w 10400"/>
                    <a:gd name="T9" fmla="*/ 1127 h 10667"/>
                    <a:gd name="T10" fmla="*/ 5193 w 10400"/>
                    <a:gd name="T11" fmla="*/ 2254 h 10667"/>
                    <a:gd name="T12" fmla="*/ 6352 w 10400"/>
                    <a:gd name="T13" fmla="*/ 3340 h 10667"/>
                    <a:gd name="T14" fmla="*/ 6296 w 10400"/>
                    <a:gd name="T15" fmla="*/ 5841 h 10667"/>
                    <a:gd name="T16" fmla="*/ 5318 w 10400"/>
                    <a:gd name="T17" fmla="*/ 6578 h 10667"/>
                    <a:gd name="T18" fmla="*/ 4851 w 10400"/>
                    <a:gd name="T19" fmla="*/ 10126 h 10667"/>
                    <a:gd name="T20" fmla="*/ 4154 w 10400"/>
                    <a:gd name="T21" fmla="*/ 5500 h 10667"/>
                    <a:gd name="T22" fmla="*/ 993 w 10400"/>
                    <a:gd name="T23" fmla="*/ 1669 h 10667"/>
                    <a:gd name="T24" fmla="*/ 4493 w 10400"/>
                    <a:gd name="T25" fmla="*/ 2470 h 10667"/>
                    <a:gd name="T26" fmla="*/ 5203 w 10400"/>
                    <a:gd name="T27" fmla="*/ 5915 h 10667"/>
                    <a:gd name="T28" fmla="*/ 5890 w 10400"/>
                    <a:gd name="T29" fmla="*/ 2481 h 10667"/>
                    <a:gd name="T30" fmla="*/ 9353 w 10400"/>
                    <a:gd name="T31" fmla="*/ 1669 h 10667"/>
                    <a:gd name="T32" fmla="*/ 8900 w 10400"/>
                    <a:gd name="T33" fmla="*/ 5088 h 10667"/>
                    <a:gd name="T34" fmla="*/ 8763 w 10400"/>
                    <a:gd name="T35" fmla="*/ 4301 h 10667"/>
                    <a:gd name="T36" fmla="*/ 7729 w 10400"/>
                    <a:gd name="T37" fmla="*/ 3953 h 10667"/>
                    <a:gd name="T38" fmla="*/ 8505 w 10400"/>
                    <a:gd name="T39" fmla="*/ 5505 h 10667"/>
                    <a:gd name="T40" fmla="*/ 8530 w 10400"/>
                    <a:gd name="T41" fmla="*/ 6867 h 10667"/>
                    <a:gd name="T42" fmla="*/ 9012 w 10400"/>
                    <a:gd name="T43" fmla="*/ 6736 h 10667"/>
                    <a:gd name="T44" fmla="*/ 9315 w 10400"/>
                    <a:gd name="T45" fmla="*/ 6686 h 10667"/>
                    <a:gd name="T46" fmla="*/ 9046 w 10400"/>
                    <a:gd name="T47" fmla="*/ 4530 h 10667"/>
                    <a:gd name="T48" fmla="*/ 9997 w 10400"/>
                    <a:gd name="T49" fmla="*/ 3776 h 10667"/>
                    <a:gd name="T50" fmla="*/ 8844 w 10400"/>
                    <a:gd name="T51" fmla="*/ 4304 h 10667"/>
                    <a:gd name="T52" fmla="*/ 8790 w 10400"/>
                    <a:gd name="T53" fmla="*/ 3675 h 10667"/>
                    <a:gd name="T54" fmla="*/ 9514 w 10400"/>
                    <a:gd name="T55" fmla="*/ 6418 h 10667"/>
                    <a:gd name="T56" fmla="*/ 9245 w 10400"/>
                    <a:gd name="T57" fmla="*/ 6917 h 10667"/>
                    <a:gd name="T58" fmla="*/ 7957 w 10400"/>
                    <a:gd name="T59" fmla="*/ 6629 h 10667"/>
                    <a:gd name="T60" fmla="*/ 7308 w 10400"/>
                    <a:gd name="T61" fmla="*/ 6762 h 10667"/>
                    <a:gd name="T62" fmla="*/ 9494 w 10400"/>
                    <a:gd name="T63" fmla="*/ 6253 h 10667"/>
                    <a:gd name="T64" fmla="*/ 577 w 10400"/>
                    <a:gd name="T65" fmla="*/ 3770 h 10667"/>
                    <a:gd name="T66" fmla="*/ 1355 w 10400"/>
                    <a:gd name="T67" fmla="*/ 4518 h 10667"/>
                    <a:gd name="T68" fmla="*/ 1282 w 10400"/>
                    <a:gd name="T69" fmla="*/ 5462 h 10667"/>
                    <a:gd name="T70" fmla="*/ 1236 w 10400"/>
                    <a:gd name="T71" fmla="*/ 6867 h 10667"/>
                    <a:gd name="T72" fmla="*/ 1718 w 10400"/>
                    <a:gd name="T73" fmla="*/ 6728 h 10667"/>
                    <a:gd name="T74" fmla="*/ 2022 w 10400"/>
                    <a:gd name="T75" fmla="*/ 6694 h 10667"/>
                    <a:gd name="T76" fmla="*/ 1843 w 10400"/>
                    <a:gd name="T77" fmla="*/ 4519 h 10667"/>
                    <a:gd name="T78" fmla="*/ 2505 w 10400"/>
                    <a:gd name="T79" fmla="*/ 3770 h 10667"/>
                    <a:gd name="T80" fmla="*/ 1608 w 10400"/>
                    <a:gd name="T81" fmla="*/ 5217 h 10667"/>
                    <a:gd name="T82" fmla="*/ 1557 w 10400"/>
                    <a:gd name="T83" fmla="*/ 4304 h 10667"/>
                    <a:gd name="T84" fmla="*/ 1610 w 10400"/>
                    <a:gd name="T85" fmla="*/ 3675 h 10667"/>
                    <a:gd name="T86" fmla="*/ 1898 w 10400"/>
                    <a:gd name="T87" fmla="*/ 3969 h 10667"/>
                    <a:gd name="T88" fmla="*/ 1547 w 10400"/>
                    <a:gd name="T89" fmla="*/ 7324 h 10667"/>
                    <a:gd name="T90" fmla="*/ 2189 w 10400"/>
                    <a:gd name="T91" fmla="*/ 6405 h 10667"/>
                    <a:gd name="T92" fmla="*/ 1172 w 10400"/>
                    <a:gd name="T93" fmla="*/ 6918 h 10667"/>
                    <a:gd name="T94" fmla="*/ 669 w 10400"/>
                    <a:gd name="T95" fmla="*/ 6629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00" h="10667">
                      <a:moveTo>
                        <a:pt x="8838" y="9330"/>
                      </a:moveTo>
                      <a:cubicBezTo>
                        <a:pt x="8838" y="10067"/>
                        <a:pt x="7206" y="10667"/>
                        <a:pt x="5192" y="10667"/>
                      </a:cubicBezTo>
                      <a:cubicBezTo>
                        <a:pt x="3180" y="10667"/>
                        <a:pt x="1547" y="10067"/>
                        <a:pt x="1547" y="9330"/>
                      </a:cubicBezTo>
                      <a:cubicBezTo>
                        <a:pt x="1547" y="8797"/>
                        <a:pt x="2406" y="8341"/>
                        <a:pt x="3638" y="8128"/>
                      </a:cubicBezTo>
                      <a:lnTo>
                        <a:pt x="3638" y="8495"/>
                      </a:lnTo>
                      <a:cubicBezTo>
                        <a:pt x="3293" y="8632"/>
                        <a:pt x="3077" y="8813"/>
                        <a:pt x="3077" y="9013"/>
                      </a:cubicBezTo>
                      <a:cubicBezTo>
                        <a:pt x="3077" y="9437"/>
                        <a:pt x="4015" y="9781"/>
                        <a:pt x="5171" y="9781"/>
                      </a:cubicBezTo>
                      <a:cubicBezTo>
                        <a:pt x="5497" y="9781"/>
                        <a:pt x="5802" y="9751"/>
                        <a:pt x="6077" y="9703"/>
                      </a:cubicBezTo>
                      <a:cubicBezTo>
                        <a:pt x="6090" y="9702"/>
                        <a:pt x="6102" y="9702"/>
                        <a:pt x="6114" y="9700"/>
                      </a:cubicBezTo>
                      <a:cubicBezTo>
                        <a:pt x="6165" y="9694"/>
                        <a:pt x="6212" y="9682"/>
                        <a:pt x="6259" y="9666"/>
                      </a:cubicBezTo>
                      <a:cubicBezTo>
                        <a:pt x="6859" y="9531"/>
                        <a:pt x="7264" y="9290"/>
                        <a:pt x="7264" y="9013"/>
                      </a:cubicBezTo>
                      <a:cubicBezTo>
                        <a:pt x="7264" y="8834"/>
                        <a:pt x="7090" y="8669"/>
                        <a:pt x="6806" y="8539"/>
                      </a:cubicBezTo>
                      <a:lnTo>
                        <a:pt x="6806" y="8137"/>
                      </a:lnTo>
                      <a:cubicBezTo>
                        <a:pt x="8006" y="8356"/>
                        <a:pt x="8838" y="8805"/>
                        <a:pt x="8838" y="9330"/>
                      </a:cubicBezTo>
                      <a:close/>
                      <a:moveTo>
                        <a:pt x="4079" y="1127"/>
                      </a:moveTo>
                      <a:cubicBezTo>
                        <a:pt x="4079" y="504"/>
                        <a:pt x="4578" y="0"/>
                        <a:pt x="5193" y="0"/>
                      </a:cubicBezTo>
                      <a:cubicBezTo>
                        <a:pt x="5807" y="0"/>
                        <a:pt x="6305" y="504"/>
                        <a:pt x="6305" y="1127"/>
                      </a:cubicBezTo>
                      <a:cubicBezTo>
                        <a:pt x="6305" y="1750"/>
                        <a:pt x="5807" y="2254"/>
                        <a:pt x="5193" y="2254"/>
                      </a:cubicBezTo>
                      <a:cubicBezTo>
                        <a:pt x="4578" y="2254"/>
                        <a:pt x="4079" y="1750"/>
                        <a:pt x="4079" y="1127"/>
                      </a:cubicBezTo>
                      <a:close/>
                      <a:moveTo>
                        <a:pt x="9353" y="1669"/>
                      </a:moveTo>
                      <a:cubicBezTo>
                        <a:pt x="8800" y="2578"/>
                        <a:pt x="7557" y="3340"/>
                        <a:pt x="6352" y="3340"/>
                      </a:cubicBezTo>
                      <a:cubicBezTo>
                        <a:pt x="6274" y="3340"/>
                        <a:pt x="6196" y="3336"/>
                        <a:pt x="6118" y="3330"/>
                      </a:cubicBezTo>
                      <a:cubicBezTo>
                        <a:pt x="6142" y="3615"/>
                        <a:pt x="6252" y="4928"/>
                        <a:pt x="6282" y="5755"/>
                      </a:cubicBezTo>
                      <a:cubicBezTo>
                        <a:pt x="6288" y="5783"/>
                        <a:pt x="6294" y="5811"/>
                        <a:pt x="6296" y="5841"/>
                      </a:cubicBezTo>
                      <a:lnTo>
                        <a:pt x="6568" y="10087"/>
                      </a:lnTo>
                      <a:cubicBezTo>
                        <a:pt x="6586" y="10373"/>
                        <a:pt x="5564" y="10428"/>
                        <a:pt x="5546" y="10154"/>
                      </a:cubicBezTo>
                      <a:lnTo>
                        <a:pt x="5318" y="6578"/>
                      </a:lnTo>
                      <a:cubicBezTo>
                        <a:pt x="5280" y="6574"/>
                        <a:pt x="5244" y="6567"/>
                        <a:pt x="5206" y="6567"/>
                      </a:cubicBezTo>
                      <a:cubicBezTo>
                        <a:pt x="5174" y="6567"/>
                        <a:pt x="5136" y="6577"/>
                        <a:pt x="5099" y="6587"/>
                      </a:cubicBezTo>
                      <a:lnTo>
                        <a:pt x="4851" y="10126"/>
                      </a:lnTo>
                      <a:cubicBezTo>
                        <a:pt x="4832" y="10398"/>
                        <a:pt x="3810" y="10338"/>
                        <a:pt x="3830" y="10052"/>
                      </a:cubicBezTo>
                      <a:lnTo>
                        <a:pt x="4144" y="5559"/>
                      </a:lnTo>
                      <a:cubicBezTo>
                        <a:pt x="4146" y="5538"/>
                        <a:pt x="4150" y="5520"/>
                        <a:pt x="4154" y="5500"/>
                      </a:cubicBezTo>
                      <a:cubicBezTo>
                        <a:pt x="4199" y="4432"/>
                        <a:pt x="4252" y="3400"/>
                        <a:pt x="4257" y="3326"/>
                      </a:cubicBezTo>
                      <a:cubicBezTo>
                        <a:pt x="4169" y="3334"/>
                        <a:pt x="4081" y="3340"/>
                        <a:pt x="3994" y="3340"/>
                      </a:cubicBezTo>
                      <a:cubicBezTo>
                        <a:pt x="2788" y="3340"/>
                        <a:pt x="1546" y="2578"/>
                        <a:pt x="993" y="1669"/>
                      </a:cubicBezTo>
                      <a:cubicBezTo>
                        <a:pt x="879" y="1481"/>
                        <a:pt x="936" y="1235"/>
                        <a:pt x="1122" y="1120"/>
                      </a:cubicBezTo>
                      <a:cubicBezTo>
                        <a:pt x="1308" y="1003"/>
                        <a:pt x="1551" y="1062"/>
                        <a:pt x="1665" y="1250"/>
                      </a:cubicBezTo>
                      <a:cubicBezTo>
                        <a:pt x="2166" y="2073"/>
                        <a:pt x="3484" y="2756"/>
                        <a:pt x="4493" y="2470"/>
                      </a:cubicBezTo>
                      <a:cubicBezTo>
                        <a:pt x="4663" y="2411"/>
                        <a:pt x="4865" y="2374"/>
                        <a:pt x="5089" y="2365"/>
                      </a:cubicBezTo>
                      <a:lnTo>
                        <a:pt x="4729" y="5423"/>
                      </a:lnTo>
                      <a:lnTo>
                        <a:pt x="5203" y="5915"/>
                      </a:lnTo>
                      <a:lnTo>
                        <a:pt x="5617" y="5423"/>
                      </a:lnTo>
                      <a:lnTo>
                        <a:pt x="5330" y="2373"/>
                      </a:lnTo>
                      <a:cubicBezTo>
                        <a:pt x="5531" y="2387"/>
                        <a:pt x="5725" y="2423"/>
                        <a:pt x="5890" y="2481"/>
                      </a:cubicBezTo>
                      <a:cubicBezTo>
                        <a:pt x="6894" y="2741"/>
                        <a:pt x="8187" y="2063"/>
                        <a:pt x="8681" y="1250"/>
                      </a:cubicBezTo>
                      <a:cubicBezTo>
                        <a:pt x="8795" y="1062"/>
                        <a:pt x="9038" y="1003"/>
                        <a:pt x="9224" y="1119"/>
                      </a:cubicBezTo>
                      <a:cubicBezTo>
                        <a:pt x="9410" y="1235"/>
                        <a:pt x="9468" y="1481"/>
                        <a:pt x="9353" y="1669"/>
                      </a:cubicBezTo>
                      <a:close/>
                      <a:moveTo>
                        <a:pt x="8844" y="4304"/>
                      </a:moveTo>
                      <a:cubicBezTo>
                        <a:pt x="8839" y="4303"/>
                        <a:pt x="8833" y="4303"/>
                        <a:pt x="8827" y="4302"/>
                      </a:cubicBezTo>
                      <a:lnTo>
                        <a:pt x="8900" y="5088"/>
                      </a:lnTo>
                      <a:lnTo>
                        <a:pt x="8793" y="5217"/>
                      </a:lnTo>
                      <a:lnTo>
                        <a:pt x="8671" y="5088"/>
                      </a:lnTo>
                      <a:lnTo>
                        <a:pt x="8763" y="4301"/>
                      </a:lnTo>
                      <a:cubicBezTo>
                        <a:pt x="8543" y="4286"/>
                        <a:pt x="8343" y="4195"/>
                        <a:pt x="7895" y="3770"/>
                      </a:cubicBezTo>
                      <a:cubicBezTo>
                        <a:pt x="7846" y="3723"/>
                        <a:pt x="7769" y="3725"/>
                        <a:pt x="7722" y="3776"/>
                      </a:cubicBezTo>
                      <a:cubicBezTo>
                        <a:pt x="7676" y="3826"/>
                        <a:pt x="7679" y="3906"/>
                        <a:pt x="7729" y="3953"/>
                      </a:cubicBezTo>
                      <a:cubicBezTo>
                        <a:pt x="8086" y="4293"/>
                        <a:pt x="8319" y="4456"/>
                        <a:pt x="8558" y="4519"/>
                      </a:cubicBezTo>
                      <a:cubicBezTo>
                        <a:pt x="8558" y="4523"/>
                        <a:pt x="8556" y="4527"/>
                        <a:pt x="8556" y="4530"/>
                      </a:cubicBezTo>
                      <a:lnTo>
                        <a:pt x="8505" y="5505"/>
                      </a:lnTo>
                      <a:lnTo>
                        <a:pt x="8378" y="6694"/>
                      </a:lnTo>
                      <a:cubicBezTo>
                        <a:pt x="8369" y="6780"/>
                        <a:pt x="8430" y="6857"/>
                        <a:pt x="8514" y="6867"/>
                      </a:cubicBezTo>
                      <a:cubicBezTo>
                        <a:pt x="8520" y="6867"/>
                        <a:pt x="8525" y="6867"/>
                        <a:pt x="8530" y="6867"/>
                      </a:cubicBezTo>
                      <a:cubicBezTo>
                        <a:pt x="8608" y="6867"/>
                        <a:pt x="8674" y="6808"/>
                        <a:pt x="8683" y="6728"/>
                      </a:cubicBezTo>
                      <a:lnTo>
                        <a:pt x="8815" y="5498"/>
                      </a:lnTo>
                      <a:lnTo>
                        <a:pt x="9012" y="6736"/>
                      </a:lnTo>
                      <a:cubicBezTo>
                        <a:pt x="9025" y="6813"/>
                        <a:pt x="9090" y="6868"/>
                        <a:pt x="9164" y="6868"/>
                      </a:cubicBezTo>
                      <a:cubicBezTo>
                        <a:pt x="9172" y="6868"/>
                        <a:pt x="9180" y="6867"/>
                        <a:pt x="9188" y="6866"/>
                      </a:cubicBezTo>
                      <a:cubicBezTo>
                        <a:pt x="9272" y="6852"/>
                        <a:pt x="9328" y="6771"/>
                        <a:pt x="9315" y="6686"/>
                      </a:cubicBezTo>
                      <a:lnTo>
                        <a:pt x="9119" y="5462"/>
                      </a:lnTo>
                      <a:cubicBezTo>
                        <a:pt x="9119" y="5461"/>
                        <a:pt x="9120" y="5460"/>
                        <a:pt x="9120" y="5459"/>
                      </a:cubicBezTo>
                      <a:lnTo>
                        <a:pt x="9046" y="4530"/>
                      </a:lnTo>
                      <a:cubicBezTo>
                        <a:pt x="9046" y="4526"/>
                        <a:pt x="9046" y="4522"/>
                        <a:pt x="9045" y="4518"/>
                      </a:cubicBezTo>
                      <a:cubicBezTo>
                        <a:pt x="9279" y="4456"/>
                        <a:pt x="9631" y="4296"/>
                        <a:pt x="9990" y="3953"/>
                      </a:cubicBezTo>
                      <a:cubicBezTo>
                        <a:pt x="10040" y="3906"/>
                        <a:pt x="10043" y="3826"/>
                        <a:pt x="9997" y="3776"/>
                      </a:cubicBezTo>
                      <a:cubicBezTo>
                        <a:pt x="9950" y="3725"/>
                        <a:pt x="9873" y="3723"/>
                        <a:pt x="9823" y="3770"/>
                      </a:cubicBezTo>
                      <a:cubicBezTo>
                        <a:pt x="9407" y="4166"/>
                        <a:pt x="9010" y="4290"/>
                        <a:pt x="8857" y="4300"/>
                      </a:cubicBezTo>
                      <a:cubicBezTo>
                        <a:pt x="8852" y="4300"/>
                        <a:pt x="8849" y="4303"/>
                        <a:pt x="8844" y="4304"/>
                      </a:cubicBezTo>
                      <a:close/>
                      <a:moveTo>
                        <a:pt x="8790" y="4263"/>
                      </a:moveTo>
                      <a:cubicBezTo>
                        <a:pt x="8949" y="4263"/>
                        <a:pt x="9078" y="4131"/>
                        <a:pt x="9078" y="3969"/>
                      </a:cubicBezTo>
                      <a:cubicBezTo>
                        <a:pt x="9078" y="3807"/>
                        <a:pt x="8949" y="3675"/>
                        <a:pt x="8790" y="3675"/>
                      </a:cubicBezTo>
                      <a:cubicBezTo>
                        <a:pt x="8631" y="3675"/>
                        <a:pt x="8503" y="3807"/>
                        <a:pt x="8503" y="3969"/>
                      </a:cubicBezTo>
                      <a:cubicBezTo>
                        <a:pt x="8503" y="4131"/>
                        <a:pt x="8631" y="4263"/>
                        <a:pt x="8790" y="4263"/>
                      </a:cubicBezTo>
                      <a:close/>
                      <a:moveTo>
                        <a:pt x="9514" y="6418"/>
                      </a:moveTo>
                      <a:cubicBezTo>
                        <a:pt x="9649" y="6475"/>
                        <a:pt x="9732" y="6548"/>
                        <a:pt x="9732" y="6629"/>
                      </a:cubicBezTo>
                      <a:cubicBezTo>
                        <a:pt x="9732" y="6745"/>
                        <a:pt x="9561" y="6846"/>
                        <a:pt x="9306" y="6903"/>
                      </a:cubicBezTo>
                      <a:cubicBezTo>
                        <a:pt x="9287" y="6910"/>
                        <a:pt x="9267" y="6915"/>
                        <a:pt x="9245" y="6917"/>
                      </a:cubicBezTo>
                      <a:cubicBezTo>
                        <a:pt x="9240" y="6918"/>
                        <a:pt x="9235" y="6918"/>
                        <a:pt x="9229" y="6918"/>
                      </a:cubicBezTo>
                      <a:cubicBezTo>
                        <a:pt x="9112" y="6939"/>
                        <a:pt x="8983" y="6952"/>
                        <a:pt x="8845" y="6952"/>
                      </a:cubicBezTo>
                      <a:cubicBezTo>
                        <a:pt x="8355" y="6952"/>
                        <a:pt x="7957" y="6807"/>
                        <a:pt x="7957" y="6629"/>
                      </a:cubicBezTo>
                      <a:cubicBezTo>
                        <a:pt x="7957" y="6542"/>
                        <a:pt x="8055" y="6463"/>
                        <a:pt x="8211" y="6405"/>
                      </a:cubicBezTo>
                      <a:lnTo>
                        <a:pt x="8222" y="6252"/>
                      </a:lnTo>
                      <a:cubicBezTo>
                        <a:pt x="7685" y="6340"/>
                        <a:pt x="7308" y="6534"/>
                        <a:pt x="7308" y="6762"/>
                      </a:cubicBezTo>
                      <a:cubicBezTo>
                        <a:pt x="7308" y="7072"/>
                        <a:pt x="8000" y="7324"/>
                        <a:pt x="8854" y="7324"/>
                      </a:cubicBezTo>
                      <a:cubicBezTo>
                        <a:pt x="9708" y="7324"/>
                        <a:pt x="10400" y="7072"/>
                        <a:pt x="10400" y="6762"/>
                      </a:cubicBezTo>
                      <a:cubicBezTo>
                        <a:pt x="10400" y="6535"/>
                        <a:pt x="10027" y="6342"/>
                        <a:pt x="9494" y="6253"/>
                      </a:cubicBezTo>
                      <a:lnTo>
                        <a:pt x="9514" y="6418"/>
                      </a:lnTo>
                      <a:close/>
                      <a:moveTo>
                        <a:pt x="1543" y="4300"/>
                      </a:moveTo>
                      <a:cubicBezTo>
                        <a:pt x="1391" y="4290"/>
                        <a:pt x="994" y="4166"/>
                        <a:pt x="577" y="3770"/>
                      </a:cubicBezTo>
                      <a:cubicBezTo>
                        <a:pt x="528" y="3723"/>
                        <a:pt x="450" y="3725"/>
                        <a:pt x="404" y="3776"/>
                      </a:cubicBezTo>
                      <a:cubicBezTo>
                        <a:pt x="358" y="3826"/>
                        <a:pt x="361" y="3906"/>
                        <a:pt x="411" y="3953"/>
                      </a:cubicBezTo>
                      <a:cubicBezTo>
                        <a:pt x="770" y="4296"/>
                        <a:pt x="1122" y="4456"/>
                        <a:pt x="1355" y="4518"/>
                      </a:cubicBezTo>
                      <a:cubicBezTo>
                        <a:pt x="1355" y="4522"/>
                        <a:pt x="1355" y="4526"/>
                        <a:pt x="1355" y="4530"/>
                      </a:cubicBezTo>
                      <a:lnTo>
                        <a:pt x="1281" y="5459"/>
                      </a:lnTo>
                      <a:cubicBezTo>
                        <a:pt x="1281" y="5460"/>
                        <a:pt x="1282" y="5461"/>
                        <a:pt x="1282" y="5462"/>
                      </a:cubicBezTo>
                      <a:lnTo>
                        <a:pt x="1086" y="6686"/>
                      </a:lnTo>
                      <a:cubicBezTo>
                        <a:pt x="1072" y="6771"/>
                        <a:pt x="1129" y="6852"/>
                        <a:pt x="1212" y="6866"/>
                      </a:cubicBezTo>
                      <a:cubicBezTo>
                        <a:pt x="1221" y="6867"/>
                        <a:pt x="1229" y="6867"/>
                        <a:pt x="1236" y="6867"/>
                      </a:cubicBezTo>
                      <a:cubicBezTo>
                        <a:pt x="1311" y="6867"/>
                        <a:pt x="1376" y="6813"/>
                        <a:pt x="1388" y="6736"/>
                      </a:cubicBezTo>
                      <a:lnTo>
                        <a:pt x="1586" y="5498"/>
                      </a:lnTo>
                      <a:lnTo>
                        <a:pt x="1718" y="6728"/>
                      </a:lnTo>
                      <a:cubicBezTo>
                        <a:pt x="1726" y="6808"/>
                        <a:pt x="1792" y="6867"/>
                        <a:pt x="1870" y="6867"/>
                      </a:cubicBezTo>
                      <a:cubicBezTo>
                        <a:pt x="1875" y="6867"/>
                        <a:pt x="1881" y="6867"/>
                        <a:pt x="1887" y="6867"/>
                      </a:cubicBezTo>
                      <a:cubicBezTo>
                        <a:pt x="1971" y="6857"/>
                        <a:pt x="2032" y="6780"/>
                        <a:pt x="2022" y="6694"/>
                      </a:cubicBezTo>
                      <a:lnTo>
                        <a:pt x="1895" y="5505"/>
                      </a:lnTo>
                      <a:lnTo>
                        <a:pt x="1845" y="4530"/>
                      </a:lnTo>
                      <a:cubicBezTo>
                        <a:pt x="1845" y="4527"/>
                        <a:pt x="1843" y="4523"/>
                        <a:pt x="1843" y="4519"/>
                      </a:cubicBezTo>
                      <a:cubicBezTo>
                        <a:pt x="2082" y="4456"/>
                        <a:pt x="2314" y="4293"/>
                        <a:pt x="2672" y="3953"/>
                      </a:cubicBezTo>
                      <a:cubicBezTo>
                        <a:pt x="2722" y="3906"/>
                        <a:pt x="2725" y="3826"/>
                        <a:pt x="2678" y="3776"/>
                      </a:cubicBezTo>
                      <a:cubicBezTo>
                        <a:pt x="2632" y="3725"/>
                        <a:pt x="2555" y="3722"/>
                        <a:pt x="2505" y="3770"/>
                      </a:cubicBezTo>
                      <a:cubicBezTo>
                        <a:pt x="2058" y="4195"/>
                        <a:pt x="1857" y="4286"/>
                        <a:pt x="1637" y="4301"/>
                      </a:cubicBezTo>
                      <a:lnTo>
                        <a:pt x="1730" y="5088"/>
                      </a:lnTo>
                      <a:lnTo>
                        <a:pt x="1608" y="5217"/>
                      </a:lnTo>
                      <a:lnTo>
                        <a:pt x="1501" y="5088"/>
                      </a:lnTo>
                      <a:lnTo>
                        <a:pt x="1574" y="4302"/>
                      </a:lnTo>
                      <a:cubicBezTo>
                        <a:pt x="1568" y="4303"/>
                        <a:pt x="1562" y="4303"/>
                        <a:pt x="1557" y="4304"/>
                      </a:cubicBezTo>
                      <a:cubicBezTo>
                        <a:pt x="1552" y="4303"/>
                        <a:pt x="1548" y="4300"/>
                        <a:pt x="1543" y="4300"/>
                      </a:cubicBezTo>
                      <a:close/>
                      <a:moveTo>
                        <a:pt x="1898" y="3969"/>
                      </a:moveTo>
                      <a:cubicBezTo>
                        <a:pt x="1898" y="3807"/>
                        <a:pt x="1769" y="3675"/>
                        <a:pt x="1610" y="3675"/>
                      </a:cubicBezTo>
                      <a:cubicBezTo>
                        <a:pt x="1452" y="3675"/>
                        <a:pt x="1323" y="3807"/>
                        <a:pt x="1323" y="3969"/>
                      </a:cubicBezTo>
                      <a:cubicBezTo>
                        <a:pt x="1323" y="4131"/>
                        <a:pt x="1452" y="4263"/>
                        <a:pt x="1610" y="4263"/>
                      </a:cubicBezTo>
                      <a:cubicBezTo>
                        <a:pt x="1769" y="4263"/>
                        <a:pt x="1898" y="4131"/>
                        <a:pt x="1898" y="3969"/>
                      </a:cubicBezTo>
                      <a:close/>
                      <a:moveTo>
                        <a:pt x="906" y="6253"/>
                      </a:moveTo>
                      <a:cubicBezTo>
                        <a:pt x="373" y="6342"/>
                        <a:pt x="0" y="6535"/>
                        <a:pt x="0" y="6762"/>
                      </a:cubicBezTo>
                      <a:cubicBezTo>
                        <a:pt x="0" y="7072"/>
                        <a:pt x="693" y="7324"/>
                        <a:pt x="1547" y="7324"/>
                      </a:cubicBezTo>
                      <a:cubicBezTo>
                        <a:pt x="2401" y="7324"/>
                        <a:pt x="3093" y="7072"/>
                        <a:pt x="3093" y="6762"/>
                      </a:cubicBezTo>
                      <a:cubicBezTo>
                        <a:pt x="3093" y="6534"/>
                        <a:pt x="2716" y="6340"/>
                        <a:pt x="2178" y="6252"/>
                      </a:cubicBezTo>
                      <a:lnTo>
                        <a:pt x="2189" y="6405"/>
                      </a:lnTo>
                      <a:cubicBezTo>
                        <a:pt x="2346" y="6463"/>
                        <a:pt x="2444" y="6542"/>
                        <a:pt x="2444" y="6629"/>
                      </a:cubicBezTo>
                      <a:cubicBezTo>
                        <a:pt x="2444" y="6807"/>
                        <a:pt x="2046" y="6952"/>
                        <a:pt x="1556" y="6952"/>
                      </a:cubicBezTo>
                      <a:cubicBezTo>
                        <a:pt x="1418" y="6952"/>
                        <a:pt x="1289" y="6939"/>
                        <a:pt x="1172" y="6918"/>
                      </a:cubicBezTo>
                      <a:cubicBezTo>
                        <a:pt x="1166" y="6918"/>
                        <a:pt x="1161" y="6918"/>
                        <a:pt x="1155" y="6917"/>
                      </a:cubicBezTo>
                      <a:cubicBezTo>
                        <a:pt x="1134" y="6915"/>
                        <a:pt x="1114" y="6910"/>
                        <a:pt x="1095" y="6903"/>
                      </a:cubicBezTo>
                      <a:cubicBezTo>
                        <a:pt x="840" y="6846"/>
                        <a:pt x="669" y="6745"/>
                        <a:pt x="669" y="6629"/>
                      </a:cubicBezTo>
                      <a:cubicBezTo>
                        <a:pt x="669" y="6548"/>
                        <a:pt x="751" y="6475"/>
                        <a:pt x="887" y="6418"/>
                      </a:cubicBezTo>
                      <a:lnTo>
                        <a:pt x="906" y="6253"/>
                      </a:lnTo>
                      <a:close/>
                    </a:path>
                  </a:pathLst>
                </a:custGeom>
                <a:solidFill>
                  <a:schemeClr val="bg1"/>
                </a:solidFill>
                <a:ln>
                  <a:noFill/>
                </a:ln>
              </p:spPr>
              <p:txBody>
                <a:bodyPr/>
                <a:lstStyle/>
                <a:p>
                  <a:endParaRPr lang="zh-CN" altLang="en-US"/>
                </a:p>
              </p:txBody>
            </p:sp>
          </p:grpSp>
        </p:grpSp>
        <p:grpSp>
          <p:nvGrpSpPr>
            <p:cNvPr id="20" name="îṩ1ïde">
              <a:extLst>
                <a:ext uri="{FF2B5EF4-FFF2-40B4-BE49-F238E27FC236}">
                  <a16:creationId xmlns:a16="http://schemas.microsoft.com/office/drawing/2014/main" id="{C3DBD5E5-37D1-4233-965E-1790C92EAF7F}"/>
                </a:ext>
              </a:extLst>
            </p:cNvPr>
            <p:cNvGrpSpPr/>
            <p:nvPr/>
          </p:nvGrpSpPr>
          <p:grpSpPr>
            <a:xfrm>
              <a:off x="727148" y="4579679"/>
              <a:ext cx="2634877" cy="1225771"/>
              <a:chOff x="6537698" y="3101864"/>
              <a:chExt cx="2634877" cy="1225771"/>
            </a:xfrm>
          </p:grpSpPr>
          <p:grpSp>
            <p:nvGrpSpPr>
              <p:cNvPr id="42" name="iSľïḍê">
                <a:extLst>
                  <a:ext uri="{FF2B5EF4-FFF2-40B4-BE49-F238E27FC236}">
                    <a16:creationId xmlns:a16="http://schemas.microsoft.com/office/drawing/2014/main" id="{A93D78B0-CF3D-4BED-9973-133B2084858F}"/>
                  </a:ext>
                </a:extLst>
              </p:cNvPr>
              <p:cNvGrpSpPr/>
              <p:nvPr/>
            </p:nvGrpSpPr>
            <p:grpSpPr>
              <a:xfrm>
                <a:off x="7125389" y="3101864"/>
                <a:ext cx="2047186" cy="1225771"/>
                <a:chOff x="7163671" y="3101864"/>
                <a:chExt cx="1459469" cy="1225771"/>
              </a:xfrm>
            </p:grpSpPr>
            <p:sp>
              <p:nvSpPr>
                <p:cNvPr id="46" name="iṡḻïḋè">
                  <a:extLst>
                    <a:ext uri="{FF2B5EF4-FFF2-40B4-BE49-F238E27FC236}">
                      <a16:creationId xmlns:a16="http://schemas.microsoft.com/office/drawing/2014/main" id="{4529C452-0FB2-4CAA-8E90-E90956A6842D}"/>
                    </a:ext>
                  </a:extLst>
                </p:cNvPr>
                <p:cNvSpPr txBox="1"/>
                <p:nvPr/>
              </p:nvSpPr>
              <p:spPr>
                <a:xfrm>
                  <a:off x="7163672" y="3101864"/>
                  <a:ext cx="1459468" cy="527057"/>
                </a:xfrm>
                <a:prstGeom prst="rect">
                  <a:avLst/>
                </a:prstGeom>
                <a:noFill/>
              </p:spPr>
              <p:txBody>
                <a:bodyPr wrap="square" lIns="91440" tIns="45720" rIns="91440" bIns="45720" rtlCol="0" anchor="b" anchorCtr="0">
                  <a:normAutofit/>
                </a:bodyPr>
                <a:lstStyle/>
                <a:p>
                  <a:pPr>
                    <a:lnSpc>
                      <a:spcPct val="150000"/>
                    </a:lnSpc>
                  </a:pPr>
                  <a:r>
                    <a:rPr lang="en-US" altLang="zh-CN" sz="1600" b="1" dirty="0"/>
                    <a:t>Text here</a:t>
                  </a:r>
                  <a:endParaRPr lang="vi-VN" sz="1600" b="1" dirty="0"/>
                </a:p>
              </p:txBody>
            </p:sp>
            <p:sp>
              <p:nvSpPr>
                <p:cNvPr id="47" name="iṥḻïḓê">
                  <a:extLst>
                    <a:ext uri="{FF2B5EF4-FFF2-40B4-BE49-F238E27FC236}">
                      <a16:creationId xmlns:a16="http://schemas.microsoft.com/office/drawing/2014/main" id="{006ADE7A-AFA4-498C-A890-6D17CF63BB7C}"/>
                    </a:ext>
                  </a:extLst>
                </p:cNvPr>
                <p:cNvSpPr txBox="1"/>
                <p:nvPr/>
              </p:nvSpPr>
              <p:spPr>
                <a:xfrm>
                  <a:off x="7163671" y="3628920"/>
                  <a:ext cx="1459468" cy="698715"/>
                </a:xfrm>
                <a:prstGeom prst="rect">
                  <a:avLst/>
                </a:prstGeom>
                <a:noFill/>
              </p:spPr>
              <p:txBody>
                <a:bodyPr wrap="square" lIns="91440" tIns="45720" rIns="91440" bIns="45720" rtlCol="0" anchor="t" anchorCtr="0">
                  <a:normAutofit/>
                </a:bodyPr>
                <a:lstStyle/>
                <a:p>
                  <a:pPr>
                    <a:lnSpc>
                      <a:spcPct val="120000"/>
                    </a:lnSpc>
                  </a:pPr>
                  <a:r>
                    <a:rPr lang="en-US" altLang="zh-CN" sz="1100"/>
                    <a:t>Supporting text here. </a:t>
                  </a:r>
                </a:p>
                <a:p>
                  <a:pPr>
                    <a:lnSpc>
                      <a:spcPct val="120000"/>
                    </a:lnSpc>
                  </a:pPr>
                  <a:r>
                    <a:rPr lang="en-US" altLang="zh-CN" sz="1100"/>
                    <a:t>… …</a:t>
                  </a:r>
                  <a:endParaRPr lang="en-US" altLang="zh-CN" sz="1100" dirty="0"/>
                </a:p>
              </p:txBody>
            </p:sp>
          </p:grpSp>
          <p:grpSp>
            <p:nvGrpSpPr>
              <p:cNvPr id="43" name="ïṣ1ídé">
                <a:extLst>
                  <a:ext uri="{FF2B5EF4-FFF2-40B4-BE49-F238E27FC236}">
                    <a16:creationId xmlns:a16="http://schemas.microsoft.com/office/drawing/2014/main" id="{4E37BBD8-063E-4A0C-A9EE-E1AB9A64DD00}"/>
                  </a:ext>
                </a:extLst>
              </p:cNvPr>
              <p:cNvGrpSpPr/>
              <p:nvPr/>
            </p:nvGrpSpPr>
            <p:grpSpPr>
              <a:xfrm>
                <a:off x="6537698" y="3274941"/>
                <a:ext cx="558427" cy="558427"/>
                <a:chOff x="809883" y="1822439"/>
                <a:chExt cx="721040" cy="721040"/>
              </a:xfrm>
            </p:grpSpPr>
            <p:sp>
              <p:nvSpPr>
                <p:cNvPr id="44" name="ïṥḻîḋé">
                  <a:extLst>
                    <a:ext uri="{FF2B5EF4-FFF2-40B4-BE49-F238E27FC236}">
                      <a16:creationId xmlns:a16="http://schemas.microsoft.com/office/drawing/2014/main" id="{B681B1E0-6270-4BC1-B329-3E2CAF343EB6}"/>
                    </a:ext>
                  </a:extLst>
                </p:cNvPr>
                <p:cNvSpPr/>
                <p:nvPr/>
              </p:nvSpPr>
              <p:spPr>
                <a:xfrm>
                  <a:off x="809883" y="1822439"/>
                  <a:ext cx="721040" cy="721040"/>
                </a:xfrm>
                <a:prstGeom prst="ellipse">
                  <a:avLst/>
                </a:prstGeom>
                <a:solidFill>
                  <a:schemeClr val="accent1"/>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85000" lnSpcReduction="20000"/>
                </a:bodyPr>
                <a:lstStyle/>
                <a:p>
                  <a:pPr algn="ctr"/>
                  <a:endParaRPr lang="en-US" sz="2800" b="1" dirty="0">
                    <a:solidFill>
                      <a:schemeClr val="bg1"/>
                    </a:solidFill>
                  </a:endParaRPr>
                </a:p>
              </p:txBody>
            </p:sp>
            <p:sp>
              <p:nvSpPr>
                <p:cNvPr id="45" name="ísḻïdé">
                  <a:extLst>
                    <a:ext uri="{FF2B5EF4-FFF2-40B4-BE49-F238E27FC236}">
                      <a16:creationId xmlns:a16="http://schemas.microsoft.com/office/drawing/2014/main" id="{6194D52E-6485-4C32-A349-F530D3A22452}"/>
                    </a:ext>
                  </a:extLst>
                </p:cNvPr>
                <p:cNvSpPr/>
                <p:nvPr/>
              </p:nvSpPr>
              <p:spPr bwMode="auto">
                <a:xfrm>
                  <a:off x="1001760" y="2010248"/>
                  <a:ext cx="337286" cy="345422"/>
                </a:xfrm>
                <a:custGeom>
                  <a:avLst/>
                  <a:gdLst>
                    <a:gd name="T0" fmla="*/ 1547 w 10400"/>
                    <a:gd name="T1" fmla="*/ 9330 h 10667"/>
                    <a:gd name="T2" fmla="*/ 3077 w 10400"/>
                    <a:gd name="T3" fmla="*/ 9013 h 10667"/>
                    <a:gd name="T4" fmla="*/ 6114 w 10400"/>
                    <a:gd name="T5" fmla="*/ 9700 h 10667"/>
                    <a:gd name="T6" fmla="*/ 6806 w 10400"/>
                    <a:gd name="T7" fmla="*/ 8539 h 10667"/>
                    <a:gd name="T8" fmla="*/ 4079 w 10400"/>
                    <a:gd name="T9" fmla="*/ 1127 h 10667"/>
                    <a:gd name="T10" fmla="*/ 5193 w 10400"/>
                    <a:gd name="T11" fmla="*/ 2254 h 10667"/>
                    <a:gd name="T12" fmla="*/ 6352 w 10400"/>
                    <a:gd name="T13" fmla="*/ 3340 h 10667"/>
                    <a:gd name="T14" fmla="*/ 6296 w 10400"/>
                    <a:gd name="T15" fmla="*/ 5841 h 10667"/>
                    <a:gd name="T16" fmla="*/ 5318 w 10400"/>
                    <a:gd name="T17" fmla="*/ 6578 h 10667"/>
                    <a:gd name="T18" fmla="*/ 4851 w 10400"/>
                    <a:gd name="T19" fmla="*/ 10126 h 10667"/>
                    <a:gd name="T20" fmla="*/ 4154 w 10400"/>
                    <a:gd name="T21" fmla="*/ 5500 h 10667"/>
                    <a:gd name="T22" fmla="*/ 993 w 10400"/>
                    <a:gd name="T23" fmla="*/ 1669 h 10667"/>
                    <a:gd name="T24" fmla="*/ 4493 w 10400"/>
                    <a:gd name="T25" fmla="*/ 2470 h 10667"/>
                    <a:gd name="T26" fmla="*/ 5203 w 10400"/>
                    <a:gd name="T27" fmla="*/ 5915 h 10667"/>
                    <a:gd name="T28" fmla="*/ 5890 w 10400"/>
                    <a:gd name="T29" fmla="*/ 2481 h 10667"/>
                    <a:gd name="T30" fmla="*/ 9353 w 10400"/>
                    <a:gd name="T31" fmla="*/ 1669 h 10667"/>
                    <a:gd name="T32" fmla="*/ 8900 w 10400"/>
                    <a:gd name="T33" fmla="*/ 5088 h 10667"/>
                    <a:gd name="T34" fmla="*/ 8763 w 10400"/>
                    <a:gd name="T35" fmla="*/ 4301 h 10667"/>
                    <a:gd name="T36" fmla="*/ 7729 w 10400"/>
                    <a:gd name="T37" fmla="*/ 3953 h 10667"/>
                    <a:gd name="T38" fmla="*/ 8505 w 10400"/>
                    <a:gd name="T39" fmla="*/ 5505 h 10667"/>
                    <a:gd name="T40" fmla="*/ 8530 w 10400"/>
                    <a:gd name="T41" fmla="*/ 6867 h 10667"/>
                    <a:gd name="T42" fmla="*/ 9012 w 10400"/>
                    <a:gd name="T43" fmla="*/ 6736 h 10667"/>
                    <a:gd name="T44" fmla="*/ 9315 w 10400"/>
                    <a:gd name="T45" fmla="*/ 6686 h 10667"/>
                    <a:gd name="T46" fmla="*/ 9046 w 10400"/>
                    <a:gd name="T47" fmla="*/ 4530 h 10667"/>
                    <a:gd name="T48" fmla="*/ 9997 w 10400"/>
                    <a:gd name="T49" fmla="*/ 3776 h 10667"/>
                    <a:gd name="T50" fmla="*/ 8844 w 10400"/>
                    <a:gd name="T51" fmla="*/ 4304 h 10667"/>
                    <a:gd name="T52" fmla="*/ 8790 w 10400"/>
                    <a:gd name="T53" fmla="*/ 3675 h 10667"/>
                    <a:gd name="T54" fmla="*/ 9514 w 10400"/>
                    <a:gd name="T55" fmla="*/ 6418 h 10667"/>
                    <a:gd name="T56" fmla="*/ 9245 w 10400"/>
                    <a:gd name="T57" fmla="*/ 6917 h 10667"/>
                    <a:gd name="T58" fmla="*/ 7957 w 10400"/>
                    <a:gd name="T59" fmla="*/ 6629 h 10667"/>
                    <a:gd name="T60" fmla="*/ 7308 w 10400"/>
                    <a:gd name="T61" fmla="*/ 6762 h 10667"/>
                    <a:gd name="T62" fmla="*/ 9494 w 10400"/>
                    <a:gd name="T63" fmla="*/ 6253 h 10667"/>
                    <a:gd name="T64" fmla="*/ 577 w 10400"/>
                    <a:gd name="T65" fmla="*/ 3770 h 10667"/>
                    <a:gd name="T66" fmla="*/ 1355 w 10400"/>
                    <a:gd name="T67" fmla="*/ 4518 h 10667"/>
                    <a:gd name="T68" fmla="*/ 1282 w 10400"/>
                    <a:gd name="T69" fmla="*/ 5462 h 10667"/>
                    <a:gd name="T70" fmla="*/ 1236 w 10400"/>
                    <a:gd name="T71" fmla="*/ 6867 h 10667"/>
                    <a:gd name="T72" fmla="*/ 1718 w 10400"/>
                    <a:gd name="T73" fmla="*/ 6728 h 10667"/>
                    <a:gd name="T74" fmla="*/ 2022 w 10400"/>
                    <a:gd name="T75" fmla="*/ 6694 h 10667"/>
                    <a:gd name="T76" fmla="*/ 1843 w 10400"/>
                    <a:gd name="T77" fmla="*/ 4519 h 10667"/>
                    <a:gd name="T78" fmla="*/ 2505 w 10400"/>
                    <a:gd name="T79" fmla="*/ 3770 h 10667"/>
                    <a:gd name="T80" fmla="*/ 1608 w 10400"/>
                    <a:gd name="T81" fmla="*/ 5217 h 10667"/>
                    <a:gd name="T82" fmla="*/ 1557 w 10400"/>
                    <a:gd name="T83" fmla="*/ 4304 h 10667"/>
                    <a:gd name="T84" fmla="*/ 1610 w 10400"/>
                    <a:gd name="T85" fmla="*/ 3675 h 10667"/>
                    <a:gd name="T86" fmla="*/ 1898 w 10400"/>
                    <a:gd name="T87" fmla="*/ 3969 h 10667"/>
                    <a:gd name="T88" fmla="*/ 1547 w 10400"/>
                    <a:gd name="T89" fmla="*/ 7324 h 10667"/>
                    <a:gd name="T90" fmla="*/ 2189 w 10400"/>
                    <a:gd name="T91" fmla="*/ 6405 h 10667"/>
                    <a:gd name="T92" fmla="*/ 1172 w 10400"/>
                    <a:gd name="T93" fmla="*/ 6918 h 10667"/>
                    <a:gd name="T94" fmla="*/ 669 w 10400"/>
                    <a:gd name="T95" fmla="*/ 6629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00" h="10667">
                      <a:moveTo>
                        <a:pt x="8838" y="9330"/>
                      </a:moveTo>
                      <a:cubicBezTo>
                        <a:pt x="8838" y="10067"/>
                        <a:pt x="7206" y="10667"/>
                        <a:pt x="5192" y="10667"/>
                      </a:cubicBezTo>
                      <a:cubicBezTo>
                        <a:pt x="3180" y="10667"/>
                        <a:pt x="1547" y="10067"/>
                        <a:pt x="1547" y="9330"/>
                      </a:cubicBezTo>
                      <a:cubicBezTo>
                        <a:pt x="1547" y="8797"/>
                        <a:pt x="2406" y="8341"/>
                        <a:pt x="3638" y="8128"/>
                      </a:cubicBezTo>
                      <a:lnTo>
                        <a:pt x="3638" y="8495"/>
                      </a:lnTo>
                      <a:cubicBezTo>
                        <a:pt x="3293" y="8632"/>
                        <a:pt x="3077" y="8813"/>
                        <a:pt x="3077" y="9013"/>
                      </a:cubicBezTo>
                      <a:cubicBezTo>
                        <a:pt x="3077" y="9437"/>
                        <a:pt x="4015" y="9781"/>
                        <a:pt x="5171" y="9781"/>
                      </a:cubicBezTo>
                      <a:cubicBezTo>
                        <a:pt x="5497" y="9781"/>
                        <a:pt x="5802" y="9751"/>
                        <a:pt x="6077" y="9703"/>
                      </a:cubicBezTo>
                      <a:cubicBezTo>
                        <a:pt x="6090" y="9702"/>
                        <a:pt x="6102" y="9702"/>
                        <a:pt x="6114" y="9700"/>
                      </a:cubicBezTo>
                      <a:cubicBezTo>
                        <a:pt x="6165" y="9694"/>
                        <a:pt x="6212" y="9682"/>
                        <a:pt x="6259" y="9666"/>
                      </a:cubicBezTo>
                      <a:cubicBezTo>
                        <a:pt x="6859" y="9531"/>
                        <a:pt x="7264" y="9290"/>
                        <a:pt x="7264" y="9013"/>
                      </a:cubicBezTo>
                      <a:cubicBezTo>
                        <a:pt x="7264" y="8834"/>
                        <a:pt x="7090" y="8669"/>
                        <a:pt x="6806" y="8539"/>
                      </a:cubicBezTo>
                      <a:lnTo>
                        <a:pt x="6806" y="8137"/>
                      </a:lnTo>
                      <a:cubicBezTo>
                        <a:pt x="8006" y="8356"/>
                        <a:pt x="8838" y="8805"/>
                        <a:pt x="8838" y="9330"/>
                      </a:cubicBezTo>
                      <a:close/>
                      <a:moveTo>
                        <a:pt x="4079" y="1127"/>
                      </a:moveTo>
                      <a:cubicBezTo>
                        <a:pt x="4079" y="504"/>
                        <a:pt x="4578" y="0"/>
                        <a:pt x="5193" y="0"/>
                      </a:cubicBezTo>
                      <a:cubicBezTo>
                        <a:pt x="5807" y="0"/>
                        <a:pt x="6305" y="504"/>
                        <a:pt x="6305" y="1127"/>
                      </a:cubicBezTo>
                      <a:cubicBezTo>
                        <a:pt x="6305" y="1750"/>
                        <a:pt x="5807" y="2254"/>
                        <a:pt x="5193" y="2254"/>
                      </a:cubicBezTo>
                      <a:cubicBezTo>
                        <a:pt x="4578" y="2254"/>
                        <a:pt x="4079" y="1750"/>
                        <a:pt x="4079" y="1127"/>
                      </a:cubicBezTo>
                      <a:close/>
                      <a:moveTo>
                        <a:pt x="9353" y="1669"/>
                      </a:moveTo>
                      <a:cubicBezTo>
                        <a:pt x="8800" y="2578"/>
                        <a:pt x="7557" y="3340"/>
                        <a:pt x="6352" y="3340"/>
                      </a:cubicBezTo>
                      <a:cubicBezTo>
                        <a:pt x="6274" y="3340"/>
                        <a:pt x="6196" y="3336"/>
                        <a:pt x="6118" y="3330"/>
                      </a:cubicBezTo>
                      <a:cubicBezTo>
                        <a:pt x="6142" y="3615"/>
                        <a:pt x="6252" y="4928"/>
                        <a:pt x="6282" y="5755"/>
                      </a:cubicBezTo>
                      <a:cubicBezTo>
                        <a:pt x="6288" y="5783"/>
                        <a:pt x="6294" y="5811"/>
                        <a:pt x="6296" y="5841"/>
                      </a:cubicBezTo>
                      <a:lnTo>
                        <a:pt x="6568" y="10087"/>
                      </a:lnTo>
                      <a:cubicBezTo>
                        <a:pt x="6586" y="10373"/>
                        <a:pt x="5564" y="10428"/>
                        <a:pt x="5546" y="10154"/>
                      </a:cubicBezTo>
                      <a:lnTo>
                        <a:pt x="5318" y="6578"/>
                      </a:lnTo>
                      <a:cubicBezTo>
                        <a:pt x="5280" y="6574"/>
                        <a:pt x="5244" y="6567"/>
                        <a:pt x="5206" y="6567"/>
                      </a:cubicBezTo>
                      <a:cubicBezTo>
                        <a:pt x="5174" y="6567"/>
                        <a:pt x="5136" y="6577"/>
                        <a:pt x="5099" y="6587"/>
                      </a:cubicBezTo>
                      <a:lnTo>
                        <a:pt x="4851" y="10126"/>
                      </a:lnTo>
                      <a:cubicBezTo>
                        <a:pt x="4832" y="10398"/>
                        <a:pt x="3810" y="10338"/>
                        <a:pt x="3830" y="10052"/>
                      </a:cubicBezTo>
                      <a:lnTo>
                        <a:pt x="4144" y="5559"/>
                      </a:lnTo>
                      <a:cubicBezTo>
                        <a:pt x="4146" y="5538"/>
                        <a:pt x="4150" y="5520"/>
                        <a:pt x="4154" y="5500"/>
                      </a:cubicBezTo>
                      <a:cubicBezTo>
                        <a:pt x="4199" y="4432"/>
                        <a:pt x="4252" y="3400"/>
                        <a:pt x="4257" y="3326"/>
                      </a:cubicBezTo>
                      <a:cubicBezTo>
                        <a:pt x="4169" y="3334"/>
                        <a:pt x="4081" y="3340"/>
                        <a:pt x="3994" y="3340"/>
                      </a:cubicBezTo>
                      <a:cubicBezTo>
                        <a:pt x="2788" y="3340"/>
                        <a:pt x="1546" y="2578"/>
                        <a:pt x="993" y="1669"/>
                      </a:cubicBezTo>
                      <a:cubicBezTo>
                        <a:pt x="879" y="1481"/>
                        <a:pt x="936" y="1235"/>
                        <a:pt x="1122" y="1120"/>
                      </a:cubicBezTo>
                      <a:cubicBezTo>
                        <a:pt x="1308" y="1003"/>
                        <a:pt x="1551" y="1062"/>
                        <a:pt x="1665" y="1250"/>
                      </a:cubicBezTo>
                      <a:cubicBezTo>
                        <a:pt x="2166" y="2073"/>
                        <a:pt x="3484" y="2756"/>
                        <a:pt x="4493" y="2470"/>
                      </a:cubicBezTo>
                      <a:cubicBezTo>
                        <a:pt x="4663" y="2411"/>
                        <a:pt x="4865" y="2374"/>
                        <a:pt x="5089" y="2365"/>
                      </a:cubicBezTo>
                      <a:lnTo>
                        <a:pt x="4729" y="5423"/>
                      </a:lnTo>
                      <a:lnTo>
                        <a:pt x="5203" y="5915"/>
                      </a:lnTo>
                      <a:lnTo>
                        <a:pt x="5617" y="5423"/>
                      </a:lnTo>
                      <a:lnTo>
                        <a:pt x="5330" y="2373"/>
                      </a:lnTo>
                      <a:cubicBezTo>
                        <a:pt x="5531" y="2387"/>
                        <a:pt x="5725" y="2423"/>
                        <a:pt x="5890" y="2481"/>
                      </a:cubicBezTo>
                      <a:cubicBezTo>
                        <a:pt x="6894" y="2741"/>
                        <a:pt x="8187" y="2063"/>
                        <a:pt x="8681" y="1250"/>
                      </a:cubicBezTo>
                      <a:cubicBezTo>
                        <a:pt x="8795" y="1062"/>
                        <a:pt x="9038" y="1003"/>
                        <a:pt x="9224" y="1119"/>
                      </a:cubicBezTo>
                      <a:cubicBezTo>
                        <a:pt x="9410" y="1235"/>
                        <a:pt x="9468" y="1481"/>
                        <a:pt x="9353" y="1669"/>
                      </a:cubicBezTo>
                      <a:close/>
                      <a:moveTo>
                        <a:pt x="8844" y="4304"/>
                      </a:moveTo>
                      <a:cubicBezTo>
                        <a:pt x="8839" y="4303"/>
                        <a:pt x="8833" y="4303"/>
                        <a:pt x="8827" y="4302"/>
                      </a:cubicBezTo>
                      <a:lnTo>
                        <a:pt x="8900" y="5088"/>
                      </a:lnTo>
                      <a:lnTo>
                        <a:pt x="8793" y="5217"/>
                      </a:lnTo>
                      <a:lnTo>
                        <a:pt x="8671" y="5088"/>
                      </a:lnTo>
                      <a:lnTo>
                        <a:pt x="8763" y="4301"/>
                      </a:lnTo>
                      <a:cubicBezTo>
                        <a:pt x="8543" y="4286"/>
                        <a:pt x="8343" y="4195"/>
                        <a:pt x="7895" y="3770"/>
                      </a:cubicBezTo>
                      <a:cubicBezTo>
                        <a:pt x="7846" y="3723"/>
                        <a:pt x="7769" y="3725"/>
                        <a:pt x="7722" y="3776"/>
                      </a:cubicBezTo>
                      <a:cubicBezTo>
                        <a:pt x="7676" y="3826"/>
                        <a:pt x="7679" y="3906"/>
                        <a:pt x="7729" y="3953"/>
                      </a:cubicBezTo>
                      <a:cubicBezTo>
                        <a:pt x="8086" y="4293"/>
                        <a:pt x="8319" y="4456"/>
                        <a:pt x="8558" y="4519"/>
                      </a:cubicBezTo>
                      <a:cubicBezTo>
                        <a:pt x="8558" y="4523"/>
                        <a:pt x="8556" y="4527"/>
                        <a:pt x="8556" y="4530"/>
                      </a:cubicBezTo>
                      <a:lnTo>
                        <a:pt x="8505" y="5505"/>
                      </a:lnTo>
                      <a:lnTo>
                        <a:pt x="8378" y="6694"/>
                      </a:lnTo>
                      <a:cubicBezTo>
                        <a:pt x="8369" y="6780"/>
                        <a:pt x="8430" y="6857"/>
                        <a:pt x="8514" y="6867"/>
                      </a:cubicBezTo>
                      <a:cubicBezTo>
                        <a:pt x="8520" y="6867"/>
                        <a:pt x="8525" y="6867"/>
                        <a:pt x="8530" y="6867"/>
                      </a:cubicBezTo>
                      <a:cubicBezTo>
                        <a:pt x="8608" y="6867"/>
                        <a:pt x="8674" y="6808"/>
                        <a:pt x="8683" y="6728"/>
                      </a:cubicBezTo>
                      <a:lnTo>
                        <a:pt x="8815" y="5498"/>
                      </a:lnTo>
                      <a:lnTo>
                        <a:pt x="9012" y="6736"/>
                      </a:lnTo>
                      <a:cubicBezTo>
                        <a:pt x="9025" y="6813"/>
                        <a:pt x="9090" y="6868"/>
                        <a:pt x="9164" y="6868"/>
                      </a:cubicBezTo>
                      <a:cubicBezTo>
                        <a:pt x="9172" y="6868"/>
                        <a:pt x="9180" y="6867"/>
                        <a:pt x="9188" y="6866"/>
                      </a:cubicBezTo>
                      <a:cubicBezTo>
                        <a:pt x="9272" y="6852"/>
                        <a:pt x="9328" y="6771"/>
                        <a:pt x="9315" y="6686"/>
                      </a:cubicBezTo>
                      <a:lnTo>
                        <a:pt x="9119" y="5462"/>
                      </a:lnTo>
                      <a:cubicBezTo>
                        <a:pt x="9119" y="5461"/>
                        <a:pt x="9120" y="5460"/>
                        <a:pt x="9120" y="5459"/>
                      </a:cubicBezTo>
                      <a:lnTo>
                        <a:pt x="9046" y="4530"/>
                      </a:lnTo>
                      <a:cubicBezTo>
                        <a:pt x="9046" y="4526"/>
                        <a:pt x="9046" y="4522"/>
                        <a:pt x="9045" y="4518"/>
                      </a:cubicBezTo>
                      <a:cubicBezTo>
                        <a:pt x="9279" y="4456"/>
                        <a:pt x="9631" y="4296"/>
                        <a:pt x="9990" y="3953"/>
                      </a:cubicBezTo>
                      <a:cubicBezTo>
                        <a:pt x="10040" y="3906"/>
                        <a:pt x="10043" y="3826"/>
                        <a:pt x="9997" y="3776"/>
                      </a:cubicBezTo>
                      <a:cubicBezTo>
                        <a:pt x="9950" y="3725"/>
                        <a:pt x="9873" y="3723"/>
                        <a:pt x="9823" y="3770"/>
                      </a:cubicBezTo>
                      <a:cubicBezTo>
                        <a:pt x="9407" y="4166"/>
                        <a:pt x="9010" y="4290"/>
                        <a:pt x="8857" y="4300"/>
                      </a:cubicBezTo>
                      <a:cubicBezTo>
                        <a:pt x="8852" y="4300"/>
                        <a:pt x="8849" y="4303"/>
                        <a:pt x="8844" y="4304"/>
                      </a:cubicBezTo>
                      <a:close/>
                      <a:moveTo>
                        <a:pt x="8790" y="4263"/>
                      </a:moveTo>
                      <a:cubicBezTo>
                        <a:pt x="8949" y="4263"/>
                        <a:pt x="9078" y="4131"/>
                        <a:pt x="9078" y="3969"/>
                      </a:cubicBezTo>
                      <a:cubicBezTo>
                        <a:pt x="9078" y="3807"/>
                        <a:pt x="8949" y="3675"/>
                        <a:pt x="8790" y="3675"/>
                      </a:cubicBezTo>
                      <a:cubicBezTo>
                        <a:pt x="8631" y="3675"/>
                        <a:pt x="8503" y="3807"/>
                        <a:pt x="8503" y="3969"/>
                      </a:cubicBezTo>
                      <a:cubicBezTo>
                        <a:pt x="8503" y="4131"/>
                        <a:pt x="8631" y="4263"/>
                        <a:pt x="8790" y="4263"/>
                      </a:cubicBezTo>
                      <a:close/>
                      <a:moveTo>
                        <a:pt x="9514" y="6418"/>
                      </a:moveTo>
                      <a:cubicBezTo>
                        <a:pt x="9649" y="6475"/>
                        <a:pt x="9732" y="6548"/>
                        <a:pt x="9732" y="6629"/>
                      </a:cubicBezTo>
                      <a:cubicBezTo>
                        <a:pt x="9732" y="6745"/>
                        <a:pt x="9561" y="6846"/>
                        <a:pt x="9306" y="6903"/>
                      </a:cubicBezTo>
                      <a:cubicBezTo>
                        <a:pt x="9287" y="6910"/>
                        <a:pt x="9267" y="6915"/>
                        <a:pt x="9245" y="6917"/>
                      </a:cubicBezTo>
                      <a:cubicBezTo>
                        <a:pt x="9240" y="6918"/>
                        <a:pt x="9235" y="6918"/>
                        <a:pt x="9229" y="6918"/>
                      </a:cubicBezTo>
                      <a:cubicBezTo>
                        <a:pt x="9112" y="6939"/>
                        <a:pt x="8983" y="6952"/>
                        <a:pt x="8845" y="6952"/>
                      </a:cubicBezTo>
                      <a:cubicBezTo>
                        <a:pt x="8355" y="6952"/>
                        <a:pt x="7957" y="6807"/>
                        <a:pt x="7957" y="6629"/>
                      </a:cubicBezTo>
                      <a:cubicBezTo>
                        <a:pt x="7957" y="6542"/>
                        <a:pt x="8055" y="6463"/>
                        <a:pt x="8211" y="6405"/>
                      </a:cubicBezTo>
                      <a:lnTo>
                        <a:pt x="8222" y="6252"/>
                      </a:lnTo>
                      <a:cubicBezTo>
                        <a:pt x="7685" y="6340"/>
                        <a:pt x="7308" y="6534"/>
                        <a:pt x="7308" y="6762"/>
                      </a:cubicBezTo>
                      <a:cubicBezTo>
                        <a:pt x="7308" y="7072"/>
                        <a:pt x="8000" y="7324"/>
                        <a:pt x="8854" y="7324"/>
                      </a:cubicBezTo>
                      <a:cubicBezTo>
                        <a:pt x="9708" y="7324"/>
                        <a:pt x="10400" y="7072"/>
                        <a:pt x="10400" y="6762"/>
                      </a:cubicBezTo>
                      <a:cubicBezTo>
                        <a:pt x="10400" y="6535"/>
                        <a:pt x="10027" y="6342"/>
                        <a:pt x="9494" y="6253"/>
                      </a:cubicBezTo>
                      <a:lnTo>
                        <a:pt x="9514" y="6418"/>
                      </a:lnTo>
                      <a:close/>
                      <a:moveTo>
                        <a:pt x="1543" y="4300"/>
                      </a:moveTo>
                      <a:cubicBezTo>
                        <a:pt x="1391" y="4290"/>
                        <a:pt x="994" y="4166"/>
                        <a:pt x="577" y="3770"/>
                      </a:cubicBezTo>
                      <a:cubicBezTo>
                        <a:pt x="528" y="3723"/>
                        <a:pt x="450" y="3725"/>
                        <a:pt x="404" y="3776"/>
                      </a:cubicBezTo>
                      <a:cubicBezTo>
                        <a:pt x="358" y="3826"/>
                        <a:pt x="361" y="3906"/>
                        <a:pt x="411" y="3953"/>
                      </a:cubicBezTo>
                      <a:cubicBezTo>
                        <a:pt x="770" y="4296"/>
                        <a:pt x="1122" y="4456"/>
                        <a:pt x="1355" y="4518"/>
                      </a:cubicBezTo>
                      <a:cubicBezTo>
                        <a:pt x="1355" y="4522"/>
                        <a:pt x="1355" y="4526"/>
                        <a:pt x="1355" y="4530"/>
                      </a:cubicBezTo>
                      <a:lnTo>
                        <a:pt x="1281" y="5459"/>
                      </a:lnTo>
                      <a:cubicBezTo>
                        <a:pt x="1281" y="5460"/>
                        <a:pt x="1282" y="5461"/>
                        <a:pt x="1282" y="5462"/>
                      </a:cubicBezTo>
                      <a:lnTo>
                        <a:pt x="1086" y="6686"/>
                      </a:lnTo>
                      <a:cubicBezTo>
                        <a:pt x="1072" y="6771"/>
                        <a:pt x="1129" y="6852"/>
                        <a:pt x="1212" y="6866"/>
                      </a:cubicBezTo>
                      <a:cubicBezTo>
                        <a:pt x="1221" y="6867"/>
                        <a:pt x="1229" y="6867"/>
                        <a:pt x="1236" y="6867"/>
                      </a:cubicBezTo>
                      <a:cubicBezTo>
                        <a:pt x="1311" y="6867"/>
                        <a:pt x="1376" y="6813"/>
                        <a:pt x="1388" y="6736"/>
                      </a:cubicBezTo>
                      <a:lnTo>
                        <a:pt x="1586" y="5498"/>
                      </a:lnTo>
                      <a:lnTo>
                        <a:pt x="1718" y="6728"/>
                      </a:lnTo>
                      <a:cubicBezTo>
                        <a:pt x="1726" y="6808"/>
                        <a:pt x="1792" y="6867"/>
                        <a:pt x="1870" y="6867"/>
                      </a:cubicBezTo>
                      <a:cubicBezTo>
                        <a:pt x="1875" y="6867"/>
                        <a:pt x="1881" y="6867"/>
                        <a:pt x="1887" y="6867"/>
                      </a:cubicBezTo>
                      <a:cubicBezTo>
                        <a:pt x="1971" y="6857"/>
                        <a:pt x="2032" y="6780"/>
                        <a:pt x="2022" y="6694"/>
                      </a:cubicBezTo>
                      <a:lnTo>
                        <a:pt x="1895" y="5505"/>
                      </a:lnTo>
                      <a:lnTo>
                        <a:pt x="1845" y="4530"/>
                      </a:lnTo>
                      <a:cubicBezTo>
                        <a:pt x="1845" y="4527"/>
                        <a:pt x="1843" y="4523"/>
                        <a:pt x="1843" y="4519"/>
                      </a:cubicBezTo>
                      <a:cubicBezTo>
                        <a:pt x="2082" y="4456"/>
                        <a:pt x="2314" y="4293"/>
                        <a:pt x="2672" y="3953"/>
                      </a:cubicBezTo>
                      <a:cubicBezTo>
                        <a:pt x="2722" y="3906"/>
                        <a:pt x="2725" y="3826"/>
                        <a:pt x="2678" y="3776"/>
                      </a:cubicBezTo>
                      <a:cubicBezTo>
                        <a:pt x="2632" y="3725"/>
                        <a:pt x="2555" y="3722"/>
                        <a:pt x="2505" y="3770"/>
                      </a:cubicBezTo>
                      <a:cubicBezTo>
                        <a:pt x="2058" y="4195"/>
                        <a:pt x="1857" y="4286"/>
                        <a:pt x="1637" y="4301"/>
                      </a:cubicBezTo>
                      <a:lnTo>
                        <a:pt x="1730" y="5088"/>
                      </a:lnTo>
                      <a:lnTo>
                        <a:pt x="1608" y="5217"/>
                      </a:lnTo>
                      <a:lnTo>
                        <a:pt x="1501" y="5088"/>
                      </a:lnTo>
                      <a:lnTo>
                        <a:pt x="1574" y="4302"/>
                      </a:lnTo>
                      <a:cubicBezTo>
                        <a:pt x="1568" y="4303"/>
                        <a:pt x="1562" y="4303"/>
                        <a:pt x="1557" y="4304"/>
                      </a:cubicBezTo>
                      <a:cubicBezTo>
                        <a:pt x="1552" y="4303"/>
                        <a:pt x="1548" y="4300"/>
                        <a:pt x="1543" y="4300"/>
                      </a:cubicBezTo>
                      <a:close/>
                      <a:moveTo>
                        <a:pt x="1898" y="3969"/>
                      </a:moveTo>
                      <a:cubicBezTo>
                        <a:pt x="1898" y="3807"/>
                        <a:pt x="1769" y="3675"/>
                        <a:pt x="1610" y="3675"/>
                      </a:cubicBezTo>
                      <a:cubicBezTo>
                        <a:pt x="1452" y="3675"/>
                        <a:pt x="1323" y="3807"/>
                        <a:pt x="1323" y="3969"/>
                      </a:cubicBezTo>
                      <a:cubicBezTo>
                        <a:pt x="1323" y="4131"/>
                        <a:pt x="1452" y="4263"/>
                        <a:pt x="1610" y="4263"/>
                      </a:cubicBezTo>
                      <a:cubicBezTo>
                        <a:pt x="1769" y="4263"/>
                        <a:pt x="1898" y="4131"/>
                        <a:pt x="1898" y="3969"/>
                      </a:cubicBezTo>
                      <a:close/>
                      <a:moveTo>
                        <a:pt x="906" y="6253"/>
                      </a:moveTo>
                      <a:cubicBezTo>
                        <a:pt x="373" y="6342"/>
                        <a:pt x="0" y="6535"/>
                        <a:pt x="0" y="6762"/>
                      </a:cubicBezTo>
                      <a:cubicBezTo>
                        <a:pt x="0" y="7072"/>
                        <a:pt x="693" y="7324"/>
                        <a:pt x="1547" y="7324"/>
                      </a:cubicBezTo>
                      <a:cubicBezTo>
                        <a:pt x="2401" y="7324"/>
                        <a:pt x="3093" y="7072"/>
                        <a:pt x="3093" y="6762"/>
                      </a:cubicBezTo>
                      <a:cubicBezTo>
                        <a:pt x="3093" y="6534"/>
                        <a:pt x="2716" y="6340"/>
                        <a:pt x="2178" y="6252"/>
                      </a:cubicBezTo>
                      <a:lnTo>
                        <a:pt x="2189" y="6405"/>
                      </a:lnTo>
                      <a:cubicBezTo>
                        <a:pt x="2346" y="6463"/>
                        <a:pt x="2444" y="6542"/>
                        <a:pt x="2444" y="6629"/>
                      </a:cubicBezTo>
                      <a:cubicBezTo>
                        <a:pt x="2444" y="6807"/>
                        <a:pt x="2046" y="6952"/>
                        <a:pt x="1556" y="6952"/>
                      </a:cubicBezTo>
                      <a:cubicBezTo>
                        <a:pt x="1418" y="6952"/>
                        <a:pt x="1289" y="6939"/>
                        <a:pt x="1172" y="6918"/>
                      </a:cubicBezTo>
                      <a:cubicBezTo>
                        <a:pt x="1166" y="6918"/>
                        <a:pt x="1161" y="6918"/>
                        <a:pt x="1155" y="6917"/>
                      </a:cubicBezTo>
                      <a:cubicBezTo>
                        <a:pt x="1134" y="6915"/>
                        <a:pt x="1114" y="6910"/>
                        <a:pt x="1095" y="6903"/>
                      </a:cubicBezTo>
                      <a:cubicBezTo>
                        <a:pt x="840" y="6846"/>
                        <a:pt x="669" y="6745"/>
                        <a:pt x="669" y="6629"/>
                      </a:cubicBezTo>
                      <a:cubicBezTo>
                        <a:pt x="669" y="6548"/>
                        <a:pt x="751" y="6475"/>
                        <a:pt x="887" y="6418"/>
                      </a:cubicBezTo>
                      <a:lnTo>
                        <a:pt x="906" y="6253"/>
                      </a:lnTo>
                      <a:close/>
                    </a:path>
                  </a:pathLst>
                </a:custGeom>
                <a:solidFill>
                  <a:schemeClr val="bg1"/>
                </a:solidFill>
                <a:ln>
                  <a:noFill/>
                </a:ln>
              </p:spPr>
              <p:txBody>
                <a:bodyPr/>
                <a:lstStyle/>
                <a:p>
                  <a:endParaRPr lang="zh-CN" altLang="en-US"/>
                </a:p>
              </p:txBody>
            </p:sp>
          </p:grpSp>
        </p:grpSp>
        <p:grpSp>
          <p:nvGrpSpPr>
            <p:cNvPr id="21" name="îSľiďê">
              <a:extLst>
                <a:ext uri="{FF2B5EF4-FFF2-40B4-BE49-F238E27FC236}">
                  <a16:creationId xmlns:a16="http://schemas.microsoft.com/office/drawing/2014/main" id="{6054C814-7285-4D71-991B-89CEBB36E1E9}"/>
                </a:ext>
              </a:extLst>
            </p:cNvPr>
            <p:cNvGrpSpPr/>
            <p:nvPr/>
          </p:nvGrpSpPr>
          <p:grpSpPr>
            <a:xfrm>
              <a:off x="8885611" y="1633983"/>
              <a:ext cx="2634877" cy="1225771"/>
              <a:chOff x="6537698" y="3101864"/>
              <a:chExt cx="2634877" cy="1225771"/>
            </a:xfrm>
          </p:grpSpPr>
          <p:grpSp>
            <p:nvGrpSpPr>
              <p:cNvPr id="36" name="ïṥlïḑé">
                <a:extLst>
                  <a:ext uri="{FF2B5EF4-FFF2-40B4-BE49-F238E27FC236}">
                    <a16:creationId xmlns:a16="http://schemas.microsoft.com/office/drawing/2014/main" id="{F9B9AB44-AB77-4661-9794-C57A137B249E}"/>
                  </a:ext>
                </a:extLst>
              </p:cNvPr>
              <p:cNvGrpSpPr/>
              <p:nvPr/>
            </p:nvGrpSpPr>
            <p:grpSpPr>
              <a:xfrm>
                <a:off x="7125389" y="3101864"/>
                <a:ext cx="2047186" cy="1225771"/>
                <a:chOff x="7163671" y="3101864"/>
                <a:chExt cx="1459469" cy="1225771"/>
              </a:xfrm>
            </p:grpSpPr>
            <p:sp>
              <p:nvSpPr>
                <p:cNvPr id="40" name="îśľïḑê">
                  <a:extLst>
                    <a:ext uri="{FF2B5EF4-FFF2-40B4-BE49-F238E27FC236}">
                      <a16:creationId xmlns:a16="http://schemas.microsoft.com/office/drawing/2014/main" id="{1DA8B9EE-EED4-4740-A4E3-4BC320C6F684}"/>
                    </a:ext>
                  </a:extLst>
                </p:cNvPr>
                <p:cNvSpPr txBox="1"/>
                <p:nvPr/>
              </p:nvSpPr>
              <p:spPr>
                <a:xfrm>
                  <a:off x="7163672" y="3101864"/>
                  <a:ext cx="1459468" cy="527057"/>
                </a:xfrm>
                <a:prstGeom prst="rect">
                  <a:avLst/>
                </a:prstGeom>
                <a:noFill/>
              </p:spPr>
              <p:txBody>
                <a:bodyPr wrap="square" lIns="91440" tIns="45720" rIns="91440" bIns="45720" rtlCol="0" anchor="b" anchorCtr="0">
                  <a:normAutofit/>
                </a:bodyPr>
                <a:lstStyle/>
                <a:p>
                  <a:pPr>
                    <a:lnSpc>
                      <a:spcPct val="150000"/>
                    </a:lnSpc>
                  </a:pPr>
                  <a:r>
                    <a:rPr lang="en-US" altLang="zh-CN" sz="1600" b="1" dirty="0"/>
                    <a:t>Text here</a:t>
                  </a:r>
                  <a:endParaRPr lang="vi-VN" sz="1600" b="1" dirty="0"/>
                </a:p>
              </p:txBody>
            </p:sp>
            <p:sp>
              <p:nvSpPr>
                <p:cNvPr id="41" name="iṥļiḋè">
                  <a:extLst>
                    <a:ext uri="{FF2B5EF4-FFF2-40B4-BE49-F238E27FC236}">
                      <a16:creationId xmlns:a16="http://schemas.microsoft.com/office/drawing/2014/main" id="{338A0C31-6FDC-4D2C-98E3-B5988229840E}"/>
                    </a:ext>
                  </a:extLst>
                </p:cNvPr>
                <p:cNvSpPr txBox="1"/>
                <p:nvPr/>
              </p:nvSpPr>
              <p:spPr>
                <a:xfrm>
                  <a:off x="7163671" y="3628920"/>
                  <a:ext cx="1459468" cy="698715"/>
                </a:xfrm>
                <a:prstGeom prst="rect">
                  <a:avLst/>
                </a:prstGeom>
                <a:noFill/>
              </p:spPr>
              <p:txBody>
                <a:bodyPr wrap="square" lIns="91440" tIns="45720" rIns="91440" bIns="45720" rtlCol="0" anchor="t" anchorCtr="0">
                  <a:normAutofit/>
                </a:bodyPr>
                <a:lstStyle/>
                <a:p>
                  <a:pPr>
                    <a:lnSpc>
                      <a:spcPct val="120000"/>
                    </a:lnSpc>
                  </a:pPr>
                  <a:r>
                    <a:rPr lang="en-US" altLang="zh-CN" sz="1100"/>
                    <a:t>Supporting text here. </a:t>
                  </a:r>
                </a:p>
                <a:p>
                  <a:pPr>
                    <a:lnSpc>
                      <a:spcPct val="120000"/>
                    </a:lnSpc>
                  </a:pPr>
                  <a:r>
                    <a:rPr lang="en-US" altLang="zh-CN" sz="1100"/>
                    <a:t>… …</a:t>
                  </a:r>
                  <a:endParaRPr lang="en-US" altLang="zh-CN" sz="1100" dirty="0"/>
                </a:p>
              </p:txBody>
            </p:sp>
          </p:grpSp>
          <p:grpSp>
            <p:nvGrpSpPr>
              <p:cNvPr id="37" name="iṡļïḑé">
                <a:extLst>
                  <a:ext uri="{FF2B5EF4-FFF2-40B4-BE49-F238E27FC236}">
                    <a16:creationId xmlns:a16="http://schemas.microsoft.com/office/drawing/2014/main" id="{66813BA2-DC93-4EB9-A435-6308E81CA6B8}"/>
                  </a:ext>
                </a:extLst>
              </p:cNvPr>
              <p:cNvGrpSpPr/>
              <p:nvPr/>
            </p:nvGrpSpPr>
            <p:grpSpPr>
              <a:xfrm>
                <a:off x="6537698" y="3274941"/>
                <a:ext cx="558427" cy="558427"/>
                <a:chOff x="809883" y="1822439"/>
                <a:chExt cx="721040" cy="721040"/>
              </a:xfrm>
            </p:grpSpPr>
            <p:sp>
              <p:nvSpPr>
                <p:cNvPr id="38" name="ïSļïḍê">
                  <a:extLst>
                    <a:ext uri="{FF2B5EF4-FFF2-40B4-BE49-F238E27FC236}">
                      <a16:creationId xmlns:a16="http://schemas.microsoft.com/office/drawing/2014/main" id="{3ACF55D5-80EE-4074-9190-C7D118F5E818}"/>
                    </a:ext>
                  </a:extLst>
                </p:cNvPr>
                <p:cNvSpPr/>
                <p:nvPr/>
              </p:nvSpPr>
              <p:spPr>
                <a:xfrm>
                  <a:off x="809883" y="1822439"/>
                  <a:ext cx="721040" cy="721040"/>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85000" lnSpcReduction="20000"/>
                </a:bodyPr>
                <a:lstStyle/>
                <a:p>
                  <a:pPr algn="ctr"/>
                  <a:endParaRPr lang="en-US" sz="2800" b="1" dirty="0">
                    <a:solidFill>
                      <a:schemeClr val="bg1"/>
                    </a:solidFill>
                  </a:endParaRPr>
                </a:p>
              </p:txBody>
            </p:sp>
            <p:sp>
              <p:nvSpPr>
                <p:cNvPr id="39" name="íš1îḋé">
                  <a:extLst>
                    <a:ext uri="{FF2B5EF4-FFF2-40B4-BE49-F238E27FC236}">
                      <a16:creationId xmlns:a16="http://schemas.microsoft.com/office/drawing/2014/main" id="{AF4E4712-7DFB-4091-A52A-1A31F41260BA}"/>
                    </a:ext>
                  </a:extLst>
                </p:cNvPr>
                <p:cNvSpPr/>
                <p:nvPr/>
              </p:nvSpPr>
              <p:spPr bwMode="auto">
                <a:xfrm>
                  <a:off x="1001760" y="2010248"/>
                  <a:ext cx="337286" cy="345422"/>
                </a:xfrm>
                <a:custGeom>
                  <a:avLst/>
                  <a:gdLst>
                    <a:gd name="T0" fmla="*/ 1547 w 10400"/>
                    <a:gd name="T1" fmla="*/ 9330 h 10667"/>
                    <a:gd name="T2" fmla="*/ 3077 w 10400"/>
                    <a:gd name="T3" fmla="*/ 9013 h 10667"/>
                    <a:gd name="T4" fmla="*/ 6114 w 10400"/>
                    <a:gd name="T5" fmla="*/ 9700 h 10667"/>
                    <a:gd name="T6" fmla="*/ 6806 w 10400"/>
                    <a:gd name="T7" fmla="*/ 8539 h 10667"/>
                    <a:gd name="T8" fmla="*/ 4079 w 10400"/>
                    <a:gd name="T9" fmla="*/ 1127 h 10667"/>
                    <a:gd name="T10" fmla="*/ 5193 w 10400"/>
                    <a:gd name="T11" fmla="*/ 2254 h 10667"/>
                    <a:gd name="T12" fmla="*/ 6352 w 10400"/>
                    <a:gd name="T13" fmla="*/ 3340 h 10667"/>
                    <a:gd name="T14" fmla="*/ 6296 w 10400"/>
                    <a:gd name="T15" fmla="*/ 5841 h 10667"/>
                    <a:gd name="T16" fmla="*/ 5318 w 10400"/>
                    <a:gd name="T17" fmla="*/ 6578 h 10667"/>
                    <a:gd name="T18" fmla="*/ 4851 w 10400"/>
                    <a:gd name="T19" fmla="*/ 10126 h 10667"/>
                    <a:gd name="T20" fmla="*/ 4154 w 10400"/>
                    <a:gd name="T21" fmla="*/ 5500 h 10667"/>
                    <a:gd name="T22" fmla="*/ 993 w 10400"/>
                    <a:gd name="T23" fmla="*/ 1669 h 10667"/>
                    <a:gd name="T24" fmla="*/ 4493 w 10400"/>
                    <a:gd name="T25" fmla="*/ 2470 h 10667"/>
                    <a:gd name="T26" fmla="*/ 5203 w 10400"/>
                    <a:gd name="T27" fmla="*/ 5915 h 10667"/>
                    <a:gd name="T28" fmla="*/ 5890 w 10400"/>
                    <a:gd name="T29" fmla="*/ 2481 h 10667"/>
                    <a:gd name="T30" fmla="*/ 9353 w 10400"/>
                    <a:gd name="T31" fmla="*/ 1669 h 10667"/>
                    <a:gd name="T32" fmla="*/ 8900 w 10400"/>
                    <a:gd name="T33" fmla="*/ 5088 h 10667"/>
                    <a:gd name="T34" fmla="*/ 8763 w 10400"/>
                    <a:gd name="T35" fmla="*/ 4301 h 10667"/>
                    <a:gd name="T36" fmla="*/ 7729 w 10400"/>
                    <a:gd name="T37" fmla="*/ 3953 h 10667"/>
                    <a:gd name="T38" fmla="*/ 8505 w 10400"/>
                    <a:gd name="T39" fmla="*/ 5505 h 10667"/>
                    <a:gd name="T40" fmla="*/ 8530 w 10400"/>
                    <a:gd name="T41" fmla="*/ 6867 h 10667"/>
                    <a:gd name="T42" fmla="*/ 9012 w 10400"/>
                    <a:gd name="T43" fmla="*/ 6736 h 10667"/>
                    <a:gd name="T44" fmla="*/ 9315 w 10400"/>
                    <a:gd name="T45" fmla="*/ 6686 h 10667"/>
                    <a:gd name="T46" fmla="*/ 9046 w 10400"/>
                    <a:gd name="T47" fmla="*/ 4530 h 10667"/>
                    <a:gd name="T48" fmla="*/ 9997 w 10400"/>
                    <a:gd name="T49" fmla="*/ 3776 h 10667"/>
                    <a:gd name="T50" fmla="*/ 8844 w 10400"/>
                    <a:gd name="T51" fmla="*/ 4304 h 10667"/>
                    <a:gd name="T52" fmla="*/ 8790 w 10400"/>
                    <a:gd name="T53" fmla="*/ 3675 h 10667"/>
                    <a:gd name="T54" fmla="*/ 9514 w 10400"/>
                    <a:gd name="T55" fmla="*/ 6418 h 10667"/>
                    <a:gd name="T56" fmla="*/ 9245 w 10400"/>
                    <a:gd name="T57" fmla="*/ 6917 h 10667"/>
                    <a:gd name="T58" fmla="*/ 7957 w 10400"/>
                    <a:gd name="T59" fmla="*/ 6629 h 10667"/>
                    <a:gd name="T60" fmla="*/ 7308 w 10400"/>
                    <a:gd name="T61" fmla="*/ 6762 h 10667"/>
                    <a:gd name="T62" fmla="*/ 9494 w 10400"/>
                    <a:gd name="T63" fmla="*/ 6253 h 10667"/>
                    <a:gd name="T64" fmla="*/ 577 w 10400"/>
                    <a:gd name="T65" fmla="*/ 3770 h 10667"/>
                    <a:gd name="T66" fmla="*/ 1355 w 10400"/>
                    <a:gd name="T67" fmla="*/ 4518 h 10667"/>
                    <a:gd name="T68" fmla="*/ 1282 w 10400"/>
                    <a:gd name="T69" fmla="*/ 5462 h 10667"/>
                    <a:gd name="T70" fmla="*/ 1236 w 10400"/>
                    <a:gd name="T71" fmla="*/ 6867 h 10667"/>
                    <a:gd name="T72" fmla="*/ 1718 w 10400"/>
                    <a:gd name="T73" fmla="*/ 6728 h 10667"/>
                    <a:gd name="T74" fmla="*/ 2022 w 10400"/>
                    <a:gd name="T75" fmla="*/ 6694 h 10667"/>
                    <a:gd name="T76" fmla="*/ 1843 w 10400"/>
                    <a:gd name="T77" fmla="*/ 4519 h 10667"/>
                    <a:gd name="T78" fmla="*/ 2505 w 10400"/>
                    <a:gd name="T79" fmla="*/ 3770 h 10667"/>
                    <a:gd name="T80" fmla="*/ 1608 w 10400"/>
                    <a:gd name="T81" fmla="*/ 5217 h 10667"/>
                    <a:gd name="T82" fmla="*/ 1557 w 10400"/>
                    <a:gd name="T83" fmla="*/ 4304 h 10667"/>
                    <a:gd name="T84" fmla="*/ 1610 w 10400"/>
                    <a:gd name="T85" fmla="*/ 3675 h 10667"/>
                    <a:gd name="T86" fmla="*/ 1898 w 10400"/>
                    <a:gd name="T87" fmla="*/ 3969 h 10667"/>
                    <a:gd name="T88" fmla="*/ 1547 w 10400"/>
                    <a:gd name="T89" fmla="*/ 7324 h 10667"/>
                    <a:gd name="T90" fmla="*/ 2189 w 10400"/>
                    <a:gd name="T91" fmla="*/ 6405 h 10667"/>
                    <a:gd name="T92" fmla="*/ 1172 w 10400"/>
                    <a:gd name="T93" fmla="*/ 6918 h 10667"/>
                    <a:gd name="T94" fmla="*/ 669 w 10400"/>
                    <a:gd name="T95" fmla="*/ 6629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00" h="10667">
                      <a:moveTo>
                        <a:pt x="8838" y="9330"/>
                      </a:moveTo>
                      <a:cubicBezTo>
                        <a:pt x="8838" y="10067"/>
                        <a:pt x="7206" y="10667"/>
                        <a:pt x="5192" y="10667"/>
                      </a:cubicBezTo>
                      <a:cubicBezTo>
                        <a:pt x="3180" y="10667"/>
                        <a:pt x="1547" y="10067"/>
                        <a:pt x="1547" y="9330"/>
                      </a:cubicBezTo>
                      <a:cubicBezTo>
                        <a:pt x="1547" y="8797"/>
                        <a:pt x="2406" y="8341"/>
                        <a:pt x="3638" y="8128"/>
                      </a:cubicBezTo>
                      <a:lnTo>
                        <a:pt x="3638" y="8495"/>
                      </a:lnTo>
                      <a:cubicBezTo>
                        <a:pt x="3293" y="8632"/>
                        <a:pt x="3077" y="8813"/>
                        <a:pt x="3077" y="9013"/>
                      </a:cubicBezTo>
                      <a:cubicBezTo>
                        <a:pt x="3077" y="9437"/>
                        <a:pt x="4015" y="9781"/>
                        <a:pt x="5171" y="9781"/>
                      </a:cubicBezTo>
                      <a:cubicBezTo>
                        <a:pt x="5497" y="9781"/>
                        <a:pt x="5802" y="9751"/>
                        <a:pt x="6077" y="9703"/>
                      </a:cubicBezTo>
                      <a:cubicBezTo>
                        <a:pt x="6090" y="9702"/>
                        <a:pt x="6102" y="9702"/>
                        <a:pt x="6114" y="9700"/>
                      </a:cubicBezTo>
                      <a:cubicBezTo>
                        <a:pt x="6165" y="9694"/>
                        <a:pt x="6212" y="9682"/>
                        <a:pt x="6259" y="9666"/>
                      </a:cubicBezTo>
                      <a:cubicBezTo>
                        <a:pt x="6859" y="9531"/>
                        <a:pt x="7264" y="9290"/>
                        <a:pt x="7264" y="9013"/>
                      </a:cubicBezTo>
                      <a:cubicBezTo>
                        <a:pt x="7264" y="8834"/>
                        <a:pt x="7090" y="8669"/>
                        <a:pt x="6806" y="8539"/>
                      </a:cubicBezTo>
                      <a:lnTo>
                        <a:pt x="6806" y="8137"/>
                      </a:lnTo>
                      <a:cubicBezTo>
                        <a:pt x="8006" y="8356"/>
                        <a:pt x="8838" y="8805"/>
                        <a:pt x="8838" y="9330"/>
                      </a:cubicBezTo>
                      <a:close/>
                      <a:moveTo>
                        <a:pt x="4079" y="1127"/>
                      </a:moveTo>
                      <a:cubicBezTo>
                        <a:pt x="4079" y="504"/>
                        <a:pt x="4578" y="0"/>
                        <a:pt x="5193" y="0"/>
                      </a:cubicBezTo>
                      <a:cubicBezTo>
                        <a:pt x="5807" y="0"/>
                        <a:pt x="6305" y="504"/>
                        <a:pt x="6305" y="1127"/>
                      </a:cubicBezTo>
                      <a:cubicBezTo>
                        <a:pt x="6305" y="1750"/>
                        <a:pt x="5807" y="2254"/>
                        <a:pt x="5193" y="2254"/>
                      </a:cubicBezTo>
                      <a:cubicBezTo>
                        <a:pt x="4578" y="2254"/>
                        <a:pt x="4079" y="1750"/>
                        <a:pt x="4079" y="1127"/>
                      </a:cubicBezTo>
                      <a:close/>
                      <a:moveTo>
                        <a:pt x="9353" y="1669"/>
                      </a:moveTo>
                      <a:cubicBezTo>
                        <a:pt x="8800" y="2578"/>
                        <a:pt x="7557" y="3340"/>
                        <a:pt x="6352" y="3340"/>
                      </a:cubicBezTo>
                      <a:cubicBezTo>
                        <a:pt x="6274" y="3340"/>
                        <a:pt x="6196" y="3336"/>
                        <a:pt x="6118" y="3330"/>
                      </a:cubicBezTo>
                      <a:cubicBezTo>
                        <a:pt x="6142" y="3615"/>
                        <a:pt x="6252" y="4928"/>
                        <a:pt x="6282" y="5755"/>
                      </a:cubicBezTo>
                      <a:cubicBezTo>
                        <a:pt x="6288" y="5783"/>
                        <a:pt x="6294" y="5811"/>
                        <a:pt x="6296" y="5841"/>
                      </a:cubicBezTo>
                      <a:lnTo>
                        <a:pt x="6568" y="10087"/>
                      </a:lnTo>
                      <a:cubicBezTo>
                        <a:pt x="6586" y="10373"/>
                        <a:pt x="5564" y="10428"/>
                        <a:pt x="5546" y="10154"/>
                      </a:cubicBezTo>
                      <a:lnTo>
                        <a:pt x="5318" y="6578"/>
                      </a:lnTo>
                      <a:cubicBezTo>
                        <a:pt x="5280" y="6574"/>
                        <a:pt x="5244" y="6567"/>
                        <a:pt x="5206" y="6567"/>
                      </a:cubicBezTo>
                      <a:cubicBezTo>
                        <a:pt x="5174" y="6567"/>
                        <a:pt x="5136" y="6577"/>
                        <a:pt x="5099" y="6587"/>
                      </a:cubicBezTo>
                      <a:lnTo>
                        <a:pt x="4851" y="10126"/>
                      </a:lnTo>
                      <a:cubicBezTo>
                        <a:pt x="4832" y="10398"/>
                        <a:pt x="3810" y="10338"/>
                        <a:pt x="3830" y="10052"/>
                      </a:cubicBezTo>
                      <a:lnTo>
                        <a:pt x="4144" y="5559"/>
                      </a:lnTo>
                      <a:cubicBezTo>
                        <a:pt x="4146" y="5538"/>
                        <a:pt x="4150" y="5520"/>
                        <a:pt x="4154" y="5500"/>
                      </a:cubicBezTo>
                      <a:cubicBezTo>
                        <a:pt x="4199" y="4432"/>
                        <a:pt x="4252" y="3400"/>
                        <a:pt x="4257" y="3326"/>
                      </a:cubicBezTo>
                      <a:cubicBezTo>
                        <a:pt x="4169" y="3334"/>
                        <a:pt x="4081" y="3340"/>
                        <a:pt x="3994" y="3340"/>
                      </a:cubicBezTo>
                      <a:cubicBezTo>
                        <a:pt x="2788" y="3340"/>
                        <a:pt x="1546" y="2578"/>
                        <a:pt x="993" y="1669"/>
                      </a:cubicBezTo>
                      <a:cubicBezTo>
                        <a:pt x="879" y="1481"/>
                        <a:pt x="936" y="1235"/>
                        <a:pt x="1122" y="1120"/>
                      </a:cubicBezTo>
                      <a:cubicBezTo>
                        <a:pt x="1308" y="1003"/>
                        <a:pt x="1551" y="1062"/>
                        <a:pt x="1665" y="1250"/>
                      </a:cubicBezTo>
                      <a:cubicBezTo>
                        <a:pt x="2166" y="2073"/>
                        <a:pt x="3484" y="2756"/>
                        <a:pt x="4493" y="2470"/>
                      </a:cubicBezTo>
                      <a:cubicBezTo>
                        <a:pt x="4663" y="2411"/>
                        <a:pt x="4865" y="2374"/>
                        <a:pt x="5089" y="2365"/>
                      </a:cubicBezTo>
                      <a:lnTo>
                        <a:pt x="4729" y="5423"/>
                      </a:lnTo>
                      <a:lnTo>
                        <a:pt x="5203" y="5915"/>
                      </a:lnTo>
                      <a:lnTo>
                        <a:pt x="5617" y="5423"/>
                      </a:lnTo>
                      <a:lnTo>
                        <a:pt x="5330" y="2373"/>
                      </a:lnTo>
                      <a:cubicBezTo>
                        <a:pt x="5531" y="2387"/>
                        <a:pt x="5725" y="2423"/>
                        <a:pt x="5890" y="2481"/>
                      </a:cubicBezTo>
                      <a:cubicBezTo>
                        <a:pt x="6894" y="2741"/>
                        <a:pt x="8187" y="2063"/>
                        <a:pt x="8681" y="1250"/>
                      </a:cubicBezTo>
                      <a:cubicBezTo>
                        <a:pt x="8795" y="1062"/>
                        <a:pt x="9038" y="1003"/>
                        <a:pt x="9224" y="1119"/>
                      </a:cubicBezTo>
                      <a:cubicBezTo>
                        <a:pt x="9410" y="1235"/>
                        <a:pt x="9468" y="1481"/>
                        <a:pt x="9353" y="1669"/>
                      </a:cubicBezTo>
                      <a:close/>
                      <a:moveTo>
                        <a:pt x="8844" y="4304"/>
                      </a:moveTo>
                      <a:cubicBezTo>
                        <a:pt x="8839" y="4303"/>
                        <a:pt x="8833" y="4303"/>
                        <a:pt x="8827" y="4302"/>
                      </a:cubicBezTo>
                      <a:lnTo>
                        <a:pt x="8900" y="5088"/>
                      </a:lnTo>
                      <a:lnTo>
                        <a:pt x="8793" y="5217"/>
                      </a:lnTo>
                      <a:lnTo>
                        <a:pt x="8671" y="5088"/>
                      </a:lnTo>
                      <a:lnTo>
                        <a:pt x="8763" y="4301"/>
                      </a:lnTo>
                      <a:cubicBezTo>
                        <a:pt x="8543" y="4286"/>
                        <a:pt x="8343" y="4195"/>
                        <a:pt x="7895" y="3770"/>
                      </a:cubicBezTo>
                      <a:cubicBezTo>
                        <a:pt x="7846" y="3723"/>
                        <a:pt x="7769" y="3725"/>
                        <a:pt x="7722" y="3776"/>
                      </a:cubicBezTo>
                      <a:cubicBezTo>
                        <a:pt x="7676" y="3826"/>
                        <a:pt x="7679" y="3906"/>
                        <a:pt x="7729" y="3953"/>
                      </a:cubicBezTo>
                      <a:cubicBezTo>
                        <a:pt x="8086" y="4293"/>
                        <a:pt x="8319" y="4456"/>
                        <a:pt x="8558" y="4519"/>
                      </a:cubicBezTo>
                      <a:cubicBezTo>
                        <a:pt x="8558" y="4523"/>
                        <a:pt x="8556" y="4527"/>
                        <a:pt x="8556" y="4530"/>
                      </a:cubicBezTo>
                      <a:lnTo>
                        <a:pt x="8505" y="5505"/>
                      </a:lnTo>
                      <a:lnTo>
                        <a:pt x="8378" y="6694"/>
                      </a:lnTo>
                      <a:cubicBezTo>
                        <a:pt x="8369" y="6780"/>
                        <a:pt x="8430" y="6857"/>
                        <a:pt x="8514" y="6867"/>
                      </a:cubicBezTo>
                      <a:cubicBezTo>
                        <a:pt x="8520" y="6867"/>
                        <a:pt x="8525" y="6867"/>
                        <a:pt x="8530" y="6867"/>
                      </a:cubicBezTo>
                      <a:cubicBezTo>
                        <a:pt x="8608" y="6867"/>
                        <a:pt x="8674" y="6808"/>
                        <a:pt x="8683" y="6728"/>
                      </a:cubicBezTo>
                      <a:lnTo>
                        <a:pt x="8815" y="5498"/>
                      </a:lnTo>
                      <a:lnTo>
                        <a:pt x="9012" y="6736"/>
                      </a:lnTo>
                      <a:cubicBezTo>
                        <a:pt x="9025" y="6813"/>
                        <a:pt x="9090" y="6868"/>
                        <a:pt x="9164" y="6868"/>
                      </a:cubicBezTo>
                      <a:cubicBezTo>
                        <a:pt x="9172" y="6868"/>
                        <a:pt x="9180" y="6867"/>
                        <a:pt x="9188" y="6866"/>
                      </a:cubicBezTo>
                      <a:cubicBezTo>
                        <a:pt x="9272" y="6852"/>
                        <a:pt x="9328" y="6771"/>
                        <a:pt x="9315" y="6686"/>
                      </a:cubicBezTo>
                      <a:lnTo>
                        <a:pt x="9119" y="5462"/>
                      </a:lnTo>
                      <a:cubicBezTo>
                        <a:pt x="9119" y="5461"/>
                        <a:pt x="9120" y="5460"/>
                        <a:pt x="9120" y="5459"/>
                      </a:cubicBezTo>
                      <a:lnTo>
                        <a:pt x="9046" y="4530"/>
                      </a:lnTo>
                      <a:cubicBezTo>
                        <a:pt x="9046" y="4526"/>
                        <a:pt x="9046" y="4522"/>
                        <a:pt x="9045" y="4518"/>
                      </a:cubicBezTo>
                      <a:cubicBezTo>
                        <a:pt x="9279" y="4456"/>
                        <a:pt x="9631" y="4296"/>
                        <a:pt x="9990" y="3953"/>
                      </a:cubicBezTo>
                      <a:cubicBezTo>
                        <a:pt x="10040" y="3906"/>
                        <a:pt x="10043" y="3826"/>
                        <a:pt x="9997" y="3776"/>
                      </a:cubicBezTo>
                      <a:cubicBezTo>
                        <a:pt x="9950" y="3725"/>
                        <a:pt x="9873" y="3723"/>
                        <a:pt x="9823" y="3770"/>
                      </a:cubicBezTo>
                      <a:cubicBezTo>
                        <a:pt x="9407" y="4166"/>
                        <a:pt x="9010" y="4290"/>
                        <a:pt x="8857" y="4300"/>
                      </a:cubicBezTo>
                      <a:cubicBezTo>
                        <a:pt x="8852" y="4300"/>
                        <a:pt x="8849" y="4303"/>
                        <a:pt x="8844" y="4304"/>
                      </a:cubicBezTo>
                      <a:close/>
                      <a:moveTo>
                        <a:pt x="8790" y="4263"/>
                      </a:moveTo>
                      <a:cubicBezTo>
                        <a:pt x="8949" y="4263"/>
                        <a:pt x="9078" y="4131"/>
                        <a:pt x="9078" y="3969"/>
                      </a:cubicBezTo>
                      <a:cubicBezTo>
                        <a:pt x="9078" y="3807"/>
                        <a:pt x="8949" y="3675"/>
                        <a:pt x="8790" y="3675"/>
                      </a:cubicBezTo>
                      <a:cubicBezTo>
                        <a:pt x="8631" y="3675"/>
                        <a:pt x="8503" y="3807"/>
                        <a:pt x="8503" y="3969"/>
                      </a:cubicBezTo>
                      <a:cubicBezTo>
                        <a:pt x="8503" y="4131"/>
                        <a:pt x="8631" y="4263"/>
                        <a:pt x="8790" y="4263"/>
                      </a:cubicBezTo>
                      <a:close/>
                      <a:moveTo>
                        <a:pt x="9514" y="6418"/>
                      </a:moveTo>
                      <a:cubicBezTo>
                        <a:pt x="9649" y="6475"/>
                        <a:pt x="9732" y="6548"/>
                        <a:pt x="9732" y="6629"/>
                      </a:cubicBezTo>
                      <a:cubicBezTo>
                        <a:pt x="9732" y="6745"/>
                        <a:pt x="9561" y="6846"/>
                        <a:pt x="9306" y="6903"/>
                      </a:cubicBezTo>
                      <a:cubicBezTo>
                        <a:pt x="9287" y="6910"/>
                        <a:pt x="9267" y="6915"/>
                        <a:pt x="9245" y="6917"/>
                      </a:cubicBezTo>
                      <a:cubicBezTo>
                        <a:pt x="9240" y="6918"/>
                        <a:pt x="9235" y="6918"/>
                        <a:pt x="9229" y="6918"/>
                      </a:cubicBezTo>
                      <a:cubicBezTo>
                        <a:pt x="9112" y="6939"/>
                        <a:pt x="8983" y="6952"/>
                        <a:pt x="8845" y="6952"/>
                      </a:cubicBezTo>
                      <a:cubicBezTo>
                        <a:pt x="8355" y="6952"/>
                        <a:pt x="7957" y="6807"/>
                        <a:pt x="7957" y="6629"/>
                      </a:cubicBezTo>
                      <a:cubicBezTo>
                        <a:pt x="7957" y="6542"/>
                        <a:pt x="8055" y="6463"/>
                        <a:pt x="8211" y="6405"/>
                      </a:cubicBezTo>
                      <a:lnTo>
                        <a:pt x="8222" y="6252"/>
                      </a:lnTo>
                      <a:cubicBezTo>
                        <a:pt x="7685" y="6340"/>
                        <a:pt x="7308" y="6534"/>
                        <a:pt x="7308" y="6762"/>
                      </a:cubicBezTo>
                      <a:cubicBezTo>
                        <a:pt x="7308" y="7072"/>
                        <a:pt x="8000" y="7324"/>
                        <a:pt x="8854" y="7324"/>
                      </a:cubicBezTo>
                      <a:cubicBezTo>
                        <a:pt x="9708" y="7324"/>
                        <a:pt x="10400" y="7072"/>
                        <a:pt x="10400" y="6762"/>
                      </a:cubicBezTo>
                      <a:cubicBezTo>
                        <a:pt x="10400" y="6535"/>
                        <a:pt x="10027" y="6342"/>
                        <a:pt x="9494" y="6253"/>
                      </a:cubicBezTo>
                      <a:lnTo>
                        <a:pt x="9514" y="6418"/>
                      </a:lnTo>
                      <a:close/>
                      <a:moveTo>
                        <a:pt x="1543" y="4300"/>
                      </a:moveTo>
                      <a:cubicBezTo>
                        <a:pt x="1391" y="4290"/>
                        <a:pt x="994" y="4166"/>
                        <a:pt x="577" y="3770"/>
                      </a:cubicBezTo>
                      <a:cubicBezTo>
                        <a:pt x="528" y="3723"/>
                        <a:pt x="450" y="3725"/>
                        <a:pt x="404" y="3776"/>
                      </a:cubicBezTo>
                      <a:cubicBezTo>
                        <a:pt x="358" y="3826"/>
                        <a:pt x="361" y="3906"/>
                        <a:pt x="411" y="3953"/>
                      </a:cubicBezTo>
                      <a:cubicBezTo>
                        <a:pt x="770" y="4296"/>
                        <a:pt x="1122" y="4456"/>
                        <a:pt x="1355" y="4518"/>
                      </a:cubicBezTo>
                      <a:cubicBezTo>
                        <a:pt x="1355" y="4522"/>
                        <a:pt x="1355" y="4526"/>
                        <a:pt x="1355" y="4530"/>
                      </a:cubicBezTo>
                      <a:lnTo>
                        <a:pt x="1281" y="5459"/>
                      </a:lnTo>
                      <a:cubicBezTo>
                        <a:pt x="1281" y="5460"/>
                        <a:pt x="1282" y="5461"/>
                        <a:pt x="1282" y="5462"/>
                      </a:cubicBezTo>
                      <a:lnTo>
                        <a:pt x="1086" y="6686"/>
                      </a:lnTo>
                      <a:cubicBezTo>
                        <a:pt x="1072" y="6771"/>
                        <a:pt x="1129" y="6852"/>
                        <a:pt x="1212" y="6866"/>
                      </a:cubicBezTo>
                      <a:cubicBezTo>
                        <a:pt x="1221" y="6867"/>
                        <a:pt x="1229" y="6867"/>
                        <a:pt x="1236" y="6867"/>
                      </a:cubicBezTo>
                      <a:cubicBezTo>
                        <a:pt x="1311" y="6867"/>
                        <a:pt x="1376" y="6813"/>
                        <a:pt x="1388" y="6736"/>
                      </a:cubicBezTo>
                      <a:lnTo>
                        <a:pt x="1586" y="5498"/>
                      </a:lnTo>
                      <a:lnTo>
                        <a:pt x="1718" y="6728"/>
                      </a:lnTo>
                      <a:cubicBezTo>
                        <a:pt x="1726" y="6808"/>
                        <a:pt x="1792" y="6867"/>
                        <a:pt x="1870" y="6867"/>
                      </a:cubicBezTo>
                      <a:cubicBezTo>
                        <a:pt x="1875" y="6867"/>
                        <a:pt x="1881" y="6867"/>
                        <a:pt x="1887" y="6867"/>
                      </a:cubicBezTo>
                      <a:cubicBezTo>
                        <a:pt x="1971" y="6857"/>
                        <a:pt x="2032" y="6780"/>
                        <a:pt x="2022" y="6694"/>
                      </a:cubicBezTo>
                      <a:lnTo>
                        <a:pt x="1895" y="5505"/>
                      </a:lnTo>
                      <a:lnTo>
                        <a:pt x="1845" y="4530"/>
                      </a:lnTo>
                      <a:cubicBezTo>
                        <a:pt x="1845" y="4527"/>
                        <a:pt x="1843" y="4523"/>
                        <a:pt x="1843" y="4519"/>
                      </a:cubicBezTo>
                      <a:cubicBezTo>
                        <a:pt x="2082" y="4456"/>
                        <a:pt x="2314" y="4293"/>
                        <a:pt x="2672" y="3953"/>
                      </a:cubicBezTo>
                      <a:cubicBezTo>
                        <a:pt x="2722" y="3906"/>
                        <a:pt x="2725" y="3826"/>
                        <a:pt x="2678" y="3776"/>
                      </a:cubicBezTo>
                      <a:cubicBezTo>
                        <a:pt x="2632" y="3725"/>
                        <a:pt x="2555" y="3722"/>
                        <a:pt x="2505" y="3770"/>
                      </a:cubicBezTo>
                      <a:cubicBezTo>
                        <a:pt x="2058" y="4195"/>
                        <a:pt x="1857" y="4286"/>
                        <a:pt x="1637" y="4301"/>
                      </a:cubicBezTo>
                      <a:lnTo>
                        <a:pt x="1730" y="5088"/>
                      </a:lnTo>
                      <a:lnTo>
                        <a:pt x="1608" y="5217"/>
                      </a:lnTo>
                      <a:lnTo>
                        <a:pt x="1501" y="5088"/>
                      </a:lnTo>
                      <a:lnTo>
                        <a:pt x="1574" y="4302"/>
                      </a:lnTo>
                      <a:cubicBezTo>
                        <a:pt x="1568" y="4303"/>
                        <a:pt x="1562" y="4303"/>
                        <a:pt x="1557" y="4304"/>
                      </a:cubicBezTo>
                      <a:cubicBezTo>
                        <a:pt x="1552" y="4303"/>
                        <a:pt x="1548" y="4300"/>
                        <a:pt x="1543" y="4300"/>
                      </a:cubicBezTo>
                      <a:close/>
                      <a:moveTo>
                        <a:pt x="1898" y="3969"/>
                      </a:moveTo>
                      <a:cubicBezTo>
                        <a:pt x="1898" y="3807"/>
                        <a:pt x="1769" y="3675"/>
                        <a:pt x="1610" y="3675"/>
                      </a:cubicBezTo>
                      <a:cubicBezTo>
                        <a:pt x="1452" y="3675"/>
                        <a:pt x="1323" y="3807"/>
                        <a:pt x="1323" y="3969"/>
                      </a:cubicBezTo>
                      <a:cubicBezTo>
                        <a:pt x="1323" y="4131"/>
                        <a:pt x="1452" y="4263"/>
                        <a:pt x="1610" y="4263"/>
                      </a:cubicBezTo>
                      <a:cubicBezTo>
                        <a:pt x="1769" y="4263"/>
                        <a:pt x="1898" y="4131"/>
                        <a:pt x="1898" y="3969"/>
                      </a:cubicBezTo>
                      <a:close/>
                      <a:moveTo>
                        <a:pt x="906" y="6253"/>
                      </a:moveTo>
                      <a:cubicBezTo>
                        <a:pt x="373" y="6342"/>
                        <a:pt x="0" y="6535"/>
                        <a:pt x="0" y="6762"/>
                      </a:cubicBezTo>
                      <a:cubicBezTo>
                        <a:pt x="0" y="7072"/>
                        <a:pt x="693" y="7324"/>
                        <a:pt x="1547" y="7324"/>
                      </a:cubicBezTo>
                      <a:cubicBezTo>
                        <a:pt x="2401" y="7324"/>
                        <a:pt x="3093" y="7072"/>
                        <a:pt x="3093" y="6762"/>
                      </a:cubicBezTo>
                      <a:cubicBezTo>
                        <a:pt x="3093" y="6534"/>
                        <a:pt x="2716" y="6340"/>
                        <a:pt x="2178" y="6252"/>
                      </a:cubicBezTo>
                      <a:lnTo>
                        <a:pt x="2189" y="6405"/>
                      </a:lnTo>
                      <a:cubicBezTo>
                        <a:pt x="2346" y="6463"/>
                        <a:pt x="2444" y="6542"/>
                        <a:pt x="2444" y="6629"/>
                      </a:cubicBezTo>
                      <a:cubicBezTo>
                        <a:pt x="2444" y="6807"/>
                        <a:pt x="2046" y="6952"/>
                        <a:pt x="1556" y="6952"/>
                      </a:cubicBezTo>
                      <a:cubicBezTo>
                        <a:pt x="1418" y="6952"/>
                        <a:pt x="1289" y="6939"/>
                        <a:pt x="1172" y="6918"/>
                      </a:cubicBezTo>
                      <a:cubicBezTo>
                        <a:pt x="1166" y="6918"/>
                        <a:pt x="1161" y="6918"/>
                        <a:pt x="1155" y="6917"/>
                      </a:cubicBezTo>
                      <a:cubicBezTo>
                        <a:pt x="1134" y="6915"/>
                        <a:pt x="1114" y="6910"/>
                        <a:pt x="1095" y="6903"/>
                      </a:cubicBezTo>
                      <a:cubicBezTo>
                        <a:pt x="840" y="6846"/>
                        <a:pt x="669" y="6745"/>
                        <a:pt x="669" y="6629"/>
                      </a:cubicBezTo>
                      <a:cubicBezTo>
                        <a:pt x="669" y="6548"/>
                        <a:pt x="751" y="6475"/>
                        <a:pt x="887" y="6418"/>
                      </a:cubicBezTo>
                      <a:lnTo>
                        <a:pt x="906" y="6253"/>
                      </a:lnTo>
                      <a:close/>
                    </a:path>
                  </a:pathLst>
                </a:custGeom>
                <a:solidFill>
                  <a:schemeClr val="bg1"/>
                </a:solidFill>
                <a:ln>
                  <a:noFill/>
                </a:ln>
              </p:spPr>
              <p:txBody>
                <a:bodyPr/>
                <a:lstStyle/>
                <a:p>
                  <a:endParaRPr lang="zh-CN" altLang="en-US"/>
                </a:p>
              </p:txBody>
            </p:sp>
          </p:grpSp>
        </p:grpSp>
        <p:grpSp>
          <p:nvGrpSpPr>
            <p:cNvPr id="22" name="isḷíḓé">
              <a:extLst>
                <a:ext uri="{FF2B5EF4-FFF2-40B4-BE49-F238E27FC236}">
                  <a16:creationId xmlns:a16="http://schemas.microsoft.com/office/drawing/2014/main" id="{93086074-C722-423C-A4DE-16D157808F9C}"/>
                </a:ext>
              </a:extLst>
            </p:cNvPr>
            <p:cNvGrpSpPr/>
            <p:nvPr/>
          </p:nvGrpSpPr>
          <p:grpSpPr>
            <a:xfrm>
              <a:off x="8885611" y="3106831"/>
              <a:ext cx="2634877" cy="1225771"/>
              <a:chOff x="6537698" y="3101864"/>
              <a:chExt cx="2634877" cy="1225771"/>
            </a:xfrm>
          </p:grpSpPr>
          <p:grpSp>
            <p:nvGrpSpPr>
              <p:cNvPr id="30" name="iṥḻíḍè">
                <a:extLst>
                  <a:ext uri="{FF2B5EF4-FFF2-40B4-BE49-F238E27FC236}">
                    <a16:creationId xmlns:a16="http://schemas.microsoft.com/office/drawing/2014/main" id="{A9333D06-7EFF-471C-A949-66532A196C8D}"/>
                  </a:ext>
                </a:extLst>
              </p:cNvPr>
              <p:cNvGrpSpPr/>
              <p:nvPr/>
            </p:nvGrpSpPr>
            <p:grpSpPr>
              <a:xfrm>
                <a:off x="7125389" y="3101864"/>
                <a:ext cx="2047186" cy="1225771"/>
                <a:chOff x="7163671" y="3101864"/>
                <a:chExt cx="1459469" cy="1225771"/>
              </a:xfrm>
            </p:grpSpPr>
            <p:sp>
              <p:nvSpPr>
                <p:cNvPr id="34" name="íşḷídé">
                  <a:extLst>
                    <a:ext uri="{FF2B5EF4-FFF2-40B4-BE49-F238E27FC236}">
                      <a16:creationId xmlns:a16="http://schemas.microsoft.com/office/drawing/2014/main" id="{78B1F3B5-49F5-4C97-8FD8-A8CE3A954B51}"/>
                    </a:ext>
                  </a:extLst>
                </p:cNvPr>
                <p:cNvSpPr txBox="1"/>
                <p:nvPr/>
              </p:nvSpPr>
              <p:spPr>
                <a:xfrm>
                  <a:off x="7163672" y="3101864"/>
                  <a:ext cx="1459468" cy="527057"/>
                </a:xfrm>
                <a:prstGeom prst="rect">
                  <a:avLst/>
                </a:prstGeom>
                <a:noFill/>
              </p:spPr>
              <p:txBody>
                <a:bodyPr wrap="square" lIns="91440" tIns="45720" rIns="91440" bIns="45720" rtlCol="0" anchor="b" anchorCtr="0">
                  <a:normAutofit/>
                </a:bodyPr>
                <a:lstStyle/>
                <a:p>
                  <a:pPr>
                    <a:lnSpc>
                      <a:spcPct val="150000"/>
                    </a:lnSpc>
                  </a:pPr>
                  <a:r>
                    <a:rPr lang="en-US" altLang="zh-CN" sz="1600" b="1" dirty="0"/>
                    <a:t>Text here</a:t>
                  </a:r>
                  <a:endParaRPr lang="vi-VN" sz="1600" b="1" dirty="0"/>
                </a:p>
              </p:txBody>
            </p:sp>
            <p:sp>
              <p:nvSpPr>
                <p:cNvPr id="35" name="íslidê">
                  <a:extLst>
                    <a:ext uri="{FF2B5EF4-FFF2-40B4-BE49-F238E27FC236}">
                      <a16:creationId xmlns:a16="http://schemas.microsoft.com/office/drawing/2014/main" id="{41B2C1C9-F7CC-4F6F-A02B-3BF91EBEC8F9}"/>
                    </a:ext>
                  </a:extLst>
                </p:cNvPr>
                <p:cNvSpPr txBox="1"/>
                <p:nvPr/>
              </p:nvSpPr>
              <p:spPr>
                <a:xfrm>
                  <a:off x="7163671" y="3628920"/>
                  <a:ext cx="1459468" cy="698715"/>
                </a:xfrm>
                <a:prstGeom prst="rect">
                  <a:avLst/>
                </a:prstGeom>
                <a:noFill/>
              </p:spPr>
              <p:txBody>
                <a:bodyPr wrap="square" lIns="91440" tIns="45720" rIns="91440" bIns="45720" rtlCol="0" anchor="t" anchorCtr="0">
                  <a:normAutofit/>
                </a:bodyPr>
                <a:lstStyle/>
                <a:p>
                  <a:pPr>
                    <a:lnSpc>
                      <a:spcPct val="120000"/>
                    </a:lnSpc>
                  </a:pPr>
                  <a:r>
                    <a:rPr lang="en-US" altLang="zh-CN" sz="1100"/>
                    <a:t>Supporting text here. </a:t>
                  </a:r>
                </a:p>
                <a:p>
                  <a:pPr>
                    <a:lnSpc>
                      <a:spcPct val="120000"/>
                    </a:lnSpc>
                  </a:pPr>
                  <a:r>
                    <a:rPr lang="en-US" altLang="zh-CN" sz="1100"/>
                    <a:t>… …</a:t>
                  </a:r>
                  <a:endParaRPr lang="en-US" altLang="zh-CN" sz="1100" dirty="0"/>
                </a:p>
              </p:txBody>
            </p:sp>
          </p:grpSp>
          <p:grpSp>
            <p:nvGrpSpPr>
              <p:cNvPr id="31" name="íśḷídé">
                <a:extLst>
                  <a:ext uri="{FF2B5EF4-FFF2-40B4-BE49-F238E27FC236}">
                    <a16:creationId xmlns:a16="http://schemas.microsoft.com/office/drawing/2014/main" id="{72EBBA4D-28BA-420F-AA74-FFEC4CFF79FD}"/>
                  </a:ext>
                </a:extLst>
              </p:cNvPr>
              <p:cNvGrpSpPr/>
              <p:nvPr/>
            </p:nvGrpSpPr>
            <p:grpSpPr>
              <a:xfrm>
                <a:off x="6537698" y="3274941"/>
                <a:ext cx="558427" cy="558427"/>
                <a:chOff x="809883" y="1822439"/>
                <a:chExt cx="721040" cy="721040"/>
              </a:xfrm>
            </p:grpSpPr>
            <p:sp>
              <p:nvSpPr>
                <p:cNvPr id="32" name="ïs1iḓe">
                  <a:extLst>
                    <a:ext uri="{FF2B5EF4-FFF2-40B4-BE49-F238E27FC236}">
                      <a16:creationId xmlns:a16="http://schemas.microsoft.com/office/drawing/2014/main" id="{21ECDD45-7D36-4910-B59E-F936C84D347D}"/>
                    </a:ext>
                  </a:extLst>
                </p:cNvPr>
                <p:cNvSpPr/>
                <p:nvPr/>
              </p:nvSpPr>
              <p:spPr>
                <a:xfrm>
                  <a:off x="809883" y="1822439"/>
                  <a:ext cx="721040" cy="721040"/>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85000" lnSpcReduction="20000"/>
                </a:bodyPr>
                <a:lstStyle/>
                <a:p>
                  <a:pPr algn="ctr"/>
                  <a:endParaRPr lang="en-US" sz="2800" b="1" dirty="0">
                    <a:solidFill>
                      <a:schemeClr val="bg1"/>
                    </a:solidFill>
                  </a:endParaRPr>
                </a:p>
              </p:txBody>
            </p:sp>
            <p:sp>
              <p:nvSpPr>
                <p:cNvPr id="33" name="işlîḓe">
                  <a:extLst>
                    <a:ext uri="{FF2B5EF4-FFF2-40B4-BE49-F238E27FC236}">
                      <a16:creationId xmlns:a16="http://schemas.microsoft.com/office/drawing/2014/main" id="{0F690087-0B65-44C3-BB49-AF0CD2C72C6B}"/>
                    </a:ext>
                  </a:extLst>
                </p:cNvPr>
                <p:cNvSpPr/>
                <p:nvPr/>
              </p:nvSpPr>
              <p:spPr bwMode="auto">
                <a:xfrm>
                  <a:off x="1001760" y="2010248"/>
                  <a:ext cx="337286" cy="345422"/>
                </a:xfrm>
                <a:custGeom>
                  <a:avLst/>
                  <a:gdLst>
                    <a:gd name="T0" fmla="*/ 1547 w 10400"/>
                    <a:gd name="T1" fmla="*/ 9330 h 10667"/>
                    <a:gd name="T2" fmla="*/ 3077 w 10400"/>
                    <a:gd name="T3" fmla="*/ 9013 h 10667"/>
                    <a:gd name="T4" fmla="*/ 6114 w 10400"/>
                    <a:gd name="T5" fmla="*/ 9700 h 10667"/>
                    <a:gd name="T6" fmla="*/ 6806 w 10400"/>
                    <a:gd name="T7" fmla="*/ 8539 h 10667"/>
                    <a:gd name="T8" fmla="*/ 4079 w 10400"/>
                    <a:gd name="T9" fmla="*/ 1127 h 10667"/>
                    <a:gd name="T10" fmla="*/ 5193 w 10400"/>
                    <a:gd name="T11" fmla="*/ 2254 h 10667"/>
                    <a:gd name="T12" fmla="*/ 6352 w 10400"/>
                    <a:gd name="T13" fmla="*/ 3340 h 10667"/>
                    <a:gd name="T14" fmla="*/ 6296 w 10400"/>
                    <a:gd name="T15" fmla="*/ 5841 h 10667"/>
                    <a:gd name="T16" fmla="*/ 5318 w 10400"/>
                    <a:gd name="T17" fmla="*/ 6578 h 10667"/>
                    <a:gd name="T18" fmla="*/ 4851 w 10400"/>
                    <a:gd name="T19" fmla="*/ 10126 h 10667"/>
                    <a:gd name="T20" fmla="*/ 4154 w 10400"/>
                    <a:gd name="T21" fmla="*/ 5500 h 10667"/>
                    <a:gd name="T22" fmla="*/ 993 w 10400"/>
                    <a:gd name="T23" fmla="*/ 1669 h 10667"/>
                    <a:gd name="T24" fmla="*/ 4493 w 10400"/>
                    <a:gd name="T25" fmla="*/ 2470 h 10667"/>
                    <a:gd name="T26" fmla="*/ 5203 w 10400"/>
                    <a:gd name="T27" fmla="*/ 5915 h 10667"/>
                    <a:gd name="T28" fmla="*/ 5890 w 10400"/>
                    <a:gd name="T29" fmla="*/ 2481 h 10667"/>
                    <a:gd name="T30" fmla="*/ 9353 w 10400"/>
                    <a:gd name="T31" fmla="*/ 1669 h 10667"/>
                    <a:gd name="T32" fmla="*/ 8900 w 10400"/>
                    <a:gd name="T33" fmla="*/ 5088 h 10667"/>
                    <a:gd name="T34" fmla="*/ 8763 w 10400"/>
                    <a:gd name="T35" fmla="*/ 4301 h 10667"/>
                    <a:gd name="T36" fmla="*/ 7729 w 10400"/>
                    <a:gd name="T37" fmla="*/ 3953 h 10667"/>
                    <a:gd name="T38" fmla="*/ 8505 w 10400"/>
                    <a:gd name="T39" fmla="*/ 5505 h 10667"/>
                    <a:gd name="T40" fmla="*/ 8530 w 10400"/>
                    <a:gd name="T41" fmla="*/ 6867 h 10667"/>
                    <a:gd name="T42" fmla="*/ 9012 w 10400"/>
                    <a:gd name="T43" fmla="*/ 6736 h 10667"/>
                    <a:gd name="T44" fmla="*/ 9315 w 10400"/>
                    <a:gd name="T45" fmla="*/ 6686 h 10667"/>
                    <a:gd name="T46" fmla="*/ 9046 w 10400"/>
                    <a:gd name="T47" fmla="*/ 4530 h 10667"/>
                    <a:gd name="T48" fmla="*/ 9997 w 10400"/>
                    <a:gd name="T49" fmla="*/ 3776 h 10667"/>
                    <a:gd name="T50" fmla="*/ 8844 w 10400"/>
                    <a:gd name="T51" fmla="*/ 4304 h 10667"/>
                    <a:gd name="T52" fmla="*/ 8790 w 10400"/>
                    <a:gd name="T53" fmla="*/ 3675 h 10667"/>
                    <a:gd name="T54" fmla="*/ 9514 w 10400"/>
                    <a:gd name="T55" fmla="*/ 6418 h 10667"/>
                    <a:gd name="T56" fmla="*/ 9245 w 10400"/>
                    <a:gd name="T57" fmla="*/ 6917 h 10667"/>
                    <a:gd name="T58" fmla="*/ 7957 w 10400"/>
                    <a:gd name="T59" fmla="*/ 6629 h 10667"/>
                    <a:gd name="T60" fmla="*/ 7308 w 10400"/>
                    <a:gd name="T61" fmla="*/ 6762 h 10667"/>
                    <a:gd name="T62" fmla="*/ 9494 w 10400"/>
                    <a:gd name="T63" fmla="*/ 6253 h 10667"/>
                    <a:gd name="T64" fmla="*/ 577 w 10400"/>
                    <a:gd name="T65" fmla="*/ 3770 h 10667"/>
                    <a:gd name="T66" fmla="*/ 1355 w 10400"/>
                    <a:gd name="T67" fmla="*/ 4518 h 10667"/>
                    <a:gd name="T68" fmla="*/ 1282 w 10400"/>
                    <a:gd name="T69" fmla="*/ 5462 h 10667"/>
                    <a:gd name="T70" fmla="*/ 1236 w 10400"/>
                    <a:gd name="T71" fmla="*/ 6867 h 10667"/>
                    <a:gd name="T72" fmla="*/ 1718 w 10400"/>
                    <a:gd name="T73" fmla="*/ 6728 h 10667"/>
                    <a:gd name="T74" fmla="*/ 2022 w 10400"/>
                    <a:gd name="T75" fmla="*/ 6694 h 10667"/>
                    <a:gd name="T76" fmla="*/ 1843 w 10400"/>
                    <a:gd name="T77" fmla="*/ 4519 h 10667"/>
                    <a:gd name="T78" fmla="*/ 2505 w 10400"/>
                    <a:gd name="T79" fmla="*/ 3770 h 10667"/>
                    <a:gd name="T80" fmla="*/ 1608 w 10400"/>
                    <a:gd name="T81" fmla="*/ 5217 h 10667"/>
                    <a:gd name="T82" fmla="*/ 1557 w 10400"/>
                    <a:gd name="T83" fmla="*/ 4304 h 10667"/>
                    <a:gd name="T84" fmla="*/ 1610 w 10400"/>
                    <a:gd name="T85" fmla="*/ 3675 h 10667"/>
                    <a:gd name="T86" fmla="*/ 1898 w 10400"/>
                    <a:gd name="T87" fmla="*/ 3969 h 10667"/>
                    <a:gd name="T88" fmla="*/ 1547 w 10400"/>
                    <a:gd name="T89" fmla="*/ 7324 h 10667"/>
                    <a:gd name="T90" fmla="*/ 2189 w 10400"/>
                    <a:gd name="T91" fmla="*/ 6405 h 10667"/>
                    <a:gd name="T92" fmla="*/ 1172 w 10400"/>
                    <a:gd name="T93" fmla="*/ 6918 h 10667"/>
                    <a:gd name="T94" fmla="*/ 669 w 10400"/>
                    <a:gd name="T95" fmla="*/ 6629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00" h="10667">
                      <a:moveTo>
                        <a:pt x="8838" y="9330"/>
                      </a:moveTo>
                      <a:cubicBezTo>
                        <a:pt x="8838" y="10067"/>
                        <a:pt x="7206" y="10667"/>
                        <a:pt x="5192" y="10667"/>
                      </a:cubicBezTo>
                      <a:cubicBezTo>
                        <a:pt x="3180" y="10667"/>
                        <a:pt x="1547" y="10067"/>
                        <a:pt x="1547" y="9330"/>
                      </a:cubicBezTo>
                      <a:cubicBezTo>
                        <a:pt x="1547" y="8797"/>
                        <a:pt x="2406" y="8341"/>
                        <a:pt x="3638" y="8128"/>
                      </a:cubicBezTo>
                      <a:lnTo>
                        <a:pt x="3638" y="8495"/>
                      </a:lnTo>
                      <a:cubicBezTo>
                        <a:pt x="3293" y="8632"/>
                        <a:pt x="3077" y="8813"/>
                        <a:pt x="3077" y="9013"/>
                      </a:cubicBezTo>
                      <a:cubicBezTo>
                        <a:pt x="3077" y="9437"/>
                        <a:pt x="4015" y="9781"/>
                        <a:pt x="5171" y="9781"/>
                      </a:cubicBezTo>
                      <a:cubicBezTo>
                        <a:pt x="5497" y="9781"/>
                        <a:pt x="5802" y="9751"/>
                        <a:pt x="6077" y="9703"/>
                      </a:cubicBezTo>
                      <a:cubicBezTo>
                        <a:pt x="6090" y="9702"/>
                        <a:pt x="6102" y="9702"/>
                        <a:pt x="6114" y="9700"/>
                      </a:cubicBezTo>
                      <a:cubicBezTo>
                        <a:pt x="6165" y="9694"/>
                        <a:pt x="6212" y="9682"/>
                        <a:pt x="6259" y="9666"/>
                      </a:cubicBezTo>
                      <a:cubicBezTo>
                        <a:pt x="6859" y="9531"/>
                        <a:pt x="7264" y="9290"/>
                        <a:pt x="7264" y="9013"/>
                      </a:cubicBezTo>
                      <a:cubicBezTo>
                        <a:pt x="7264" y="8834"/>
                        <a:pt x="7090" y="8669"/>
                        <a:pt x="6806" y="8539"/>
                      </a:cubicBezTo>
                      <a:lnTo>
                        <a:pt x="6806" y="8137"/>
                      </a:lnTo>
                      <a:cubicBezTo>
                        <a:pt x="8006" y="8356"/>
                        <a:pt x="8838" y="8805"/>
                        <a:pt x="8838" y="9330"/>
                      </a:cubicBezTo>
                      <a:close/>
                      <a:moveTo>
                        <a:pt x="4079" y="1127"/>
                      </a:moveTo>
                      <a:cubicBezTo>
                        <a:pt x="4079" y="504"/>
                        <a:pt x="4578" y="0"/>
                        <a:pt x="5193" y="0"/>
                      </a:cubicBezTo>
                      <a:cubicBezTo>
                        <a:pt x="5807" y="0"/>
                        <a:pt x="6305" y="504"/>
                        <a:pt x="6305" y="1127"/>
                      </a:cubicBezTo>
                      <a:cubicBezTo>
                        <a:pt x="6305" y="1750"/>
                        <a:pt x="5807" y="2254"/>
                        <a:pt x="5193" y="2254"/>
                      </a:cubicBezTo>
                      <a:cubicBezTo>
                        <a:pt x="4578" y="2254"/>
                        <a:pt x="4079" y="1750"/>
                        <a:pt x="4079" y="1127"/>
                      </a:cubicBezTo>
                      <a:close/>
                      <a:moveTo>
                        <a:pt x="9353" y="1669"/>
                      </a:moveTo>
                      <a:cubicBezTo>
                        <a:pt x="8800" y="2578"/>
                        <a:pt x="7557" y="3340"/>
                        <a:pt x="6352" y="3340"/>
                      </a:cubicBezTo>
                      <a:cubicBezTo>
                        <a:pt x="6274" y="3340"/>
                        <a:pt x="6196" y="3336"/>
                        <a:pt x="6118" y="3330"/>
                      </a:cubicBezTo>
                      <a:cubicBezTo>
                        <a:pt x="6142" y="3615"/>
                        <a:pt x="6252" y="4928"/>
                        <a:pt x="6282" y="5755"/>
                      </a:cubicBezTo>
                      <a:cubicBezTo>
                        <a:pt x="6288" y="5783"/>
                        <a:pt x="6294" y="5811"/>
                        <a:pt x="6296" y="5841"/>
                      </a:cubicBezTo>
                      <a:lnTo>
                        <a:pt x="6568" y="10087"/>
                      </a:lnTo>
                      <a:cubicBezTo>
                        <a:pt x="6586" y="10373"/>
                        <a:pt x="5564" y="10428"/>
                        <a:pt x="5546" y="10154"/>
                      </a:cubicBezTo>
                      <a:lnTo>
                        <a:pt x="5318" y="6578"/>
                      </a:lnTo>
                      <a:cubicBezTo>
                        <a:pt x="5280" y="6574"/>
                        <a:pt x="5244" y="6567"/>
                        <a:pt x="5206" y="6567"/>
                      </a:cubicBezTo>
                      <a:cubicBezTo>
                        <a:pt x="5174" y="6567"/>
                        <a:pt x="5136" y="6577"/>
                        <a:pt x="5099" y="6587"/>
                      </a:cubicBezTo>
                      <a:lnTo>
                        <a:pt x="4851" y="10126"/>
                      </a:lnTo>
                      <a:cubicBezTo>
                        <a:pt x="4832" y="10398"/>
                        <a:pt x="3810" y="10338"/>
                        <a:pt x="3830" y="10052"/>
                      </a:cubicBezTo>
                      <a:lnTo>
                        <a:pt x="4144" y="5559"/>
                      </a:lnTo>
                      <a:cubicBezTo>
                        <a:pt x="4146" y="5538"/>
                        <a:pt x="4150" y="5520"/>
                        <a:pt x="4154" y="5500"/>
                      </a:cubicBezTo>
                      <a:cubicBezTo>
                        <a:pt x="4199" y="4432"/>
                        <a:pt x="4252" y="3400"/>
                        <a:pt x="4257" y="3326"/>
                      </a:cubicBezTo>
                      <a:cubicBezTo>
                        <a:pt x="4169" y="3334"/>
                        <a:pt x="4081" y="3340"/>
                        <a:pt x="3994" y="3340"/>
                      </a:cubicBezTo>
                      <a:cubicBezTo>
                        <a:pt x="2788" y="3340"/>
                        <a:pt x="1546" y="2578"/>
                        <a:pt x="993" y="1669"/>
                      </a:cubicBezTo>
                      <a:cubicBezTo>
                        <a:pt x="879" y="1481"/>
                        <a:pt x="936" y="1235"/>
                        <a:pt x="1122" y="1120"/>
                      </a:cubicBezTo>
                      <a:cubicBezTo>
                        <a:pt x="1308" y="1003"/>
                        <a:pt x="1551" y="1062"/>
                        <a:pt x="1665" y="1250"/>
                      </a:cubicBezTo>
                      <a:cubicBezTo>
                        <a:pt x="2166" y="2073"/>
                        <a:pt x="3484" y="2756"/>
                        <a:pt x="4493" y="2470"/>
                      </a:cubicBezTo>
                      <a:cubicBezTo>
                        <a:pt x="4663" y="2411"/>
                        <a:pt x="4865" y="2374"/>
                        <a:pt x="5089" y="2365"/>
                      </a:cubicBezTo>
                      <a:lnTo>
                        <a:pt x="4729" y="5423"/>
                      </a:lnTo>
                      <a:lnTo>
                        <a:pt x="5203" y="5915"/>
                      </a:lnTo>
                      <a:lnTo>
                        <a:pt x="5617" y="5423"/>
                      </a:lnTo>
                      <a:lnTo>
                        <a:pt x="5330" y="2373"/>
                      </a:lnTo>
                      <a:cubicBezTo>
                        <a:pt x="5531" y="2387"/>
                        <a:pt x="5725" y="2423"/>
                        <a:pt x="5890" y="2481"/>
                      </a:cubicBezTo>
                      <a:cubicBezTo>
                        <a:pt x="6894" y="2741"/>
                        <a:pt x="8187" y="2063"/>
                        <a:pt x="8681" y="1250"/>
                      </a:cubicBezTo>
                      <a:cubicBezTo>
                        <a:pt x="8795" y="1062"/>
                        <a:pt x="9038" y="1003"/>
                        <a:pt x="9224" y="1119"/>
                      </a:cubicBezTo>
                      <a:cubicBezTo>
                        <a:pt x="9410" y="1235"/>
                        <a:pt x="9468" y="1481"/>
                        <a:pt x="9353" y="1669"/>
                      </a:cubicBezTo>
                      <a:close/>
                      <a:moveTo>
                        <a:pt x="8844" y="4304"/>
                      </a:moveTo>
                      <a:cubicBezTo>
                        <a:pt x="8839" y="4303"/>
                        <a:pt x="8833" y="4303"/>
                        <a:pt x="8827" y="4302"/>
                      </a:cubicBezTo>
                      <a:lnTo>
                        <a:pt x="8900" y="5088"/>
                      </a:lnTo>
                      <a:lnTo>
                        <a:pt x="8793" y="5217"/>
                      </a:lnTo>
                      <a:lnTo>
                        <a:pt x="8671" y="5088"/>
                      </a:lnTo>
                      <a:lnTo>
                        <a:pt x="8763" y="4301"/>
                      </a:lnTo>
                      <a:cubicBezTo>
                        <a:pt x="8543" y="4286"/>
                        <a:pt x="8343" y="4195"/>
                        <a:pt x="7895" y="3770"/>
                      </a:cubicBezTo>
                      <a:cubicBezTo>
                        <a:pt x="7846" y="3723"/>
                        <a:pt x="7769" y="3725"/>
                        <a:pt x="7722" y="3776"/>
                      </a:cubicBezTo>
                      <a:cubicBezTo>
                        <a:pt x="7676" y="3826"/>
                        <a:pt x="7679" y="3906"/>
                        <a:pt x="7729" y="3953"/>
                      </a:cubicBezTo>
                      <a:cubicBezTo>
                        <a:pt x="8086" y="4293"/>
                        <a:pt x="8319" y="4456"/>
                        <a:pt x="8558" y="4519"/>
                      </a:cubicBezTo>
                      <a:cubicBezTo>
                        <a:pt x="8558" y="4523"/>
                        <a:pt x="8556" y="4527"/>
                        <a:pt x="8556" y="4530"/>
                      </a:cubicBezTo>
                      <a:lnTo>
                        <a:pt x="8505" y="5505"/>
                      </a:lnTo>
                      <a:lnTo>
                        <a:pt x="8378" y="6694"/>
                      </a:lnTo>
                      <a:cubicBezTo>
                        <a:pt x="8369" y="6780"/>
                        <a:pt x="8430" y="6857"/>
                        <a:pt x="8514" y="6867"/>
                      </a:cubicBezTo>
                      <a:cubicBezTo>
                        <a:pt x="8520" y="6867"/>
                        <a:pt x="8525" y="6867"/>
                        <a:pt x="8530" y="6867"/>
                      </a:cubicBezTo>
                      <a:cubicBezTo>
                        <a:pt x="8608" y="6867"/>
                        <a:pt x="8674" y="6808"/>
                        <a:pt x="8683" y="6728"/>
                      </a:cubicBezTo>
                      <a:lnTo>
                        <a:pt x="8815" y="5498"/>
                      </a:lnTo>
                      <a:lnTo>
                        <a:pt x="9012" y="6736"/>
                      </a:lnTo>
                      <a:cubicBezTo>
                        <a:pt x="9025" y="6813"/>
                        <a:pt x="9090" y="6868"/>
                        <a:pt x="9164" y="6868"/>
                      </a:cubicBezTo>
                      <a:cubicBezTo>
                        <a:pt x="9172" y="6868"/>
                        <a:pt x="9180" y="6867"/>
                        <a:pt x="9188" y="6866"/>
                      </a:cubicBezTo>
                      <a:cubicBezTo>
                        <a:pt x="9272" y="6852"/>
                        <a:pt x="9328" y="6771"/>
                        <a:pt x="9315" y="6686"/>
                      </a:cubicBezTo>
                      <a:lnTo>
                        <a:pt x="9119" y="5462"/>
                      </a:lnTo>
                      <a:cubicBezTo>
                        <a:pt x="9119" y="5461"/>
                        <a:pt x="9120" y="5460"/>
                        <a:pt x="9120" y="5459"/>
                      </a:cubicBezTo>
                      <a:lnTo>
                        <a:pt x="9046" y="4530"/>
                      </a:lnTo>
                      <a:cubicBezTo>
                        <a:pt x="9046" y="4526"/>
                        <a:pt x="9046" y="4522"/>
                        <a:pt x="9045" y="4518"/>
                      </a:cubicBezTo>
                      <a:cubicBezTo>
                        <a:pt x="9279" y="4456"/>
                        <a:pt x="9631" y="4296"/>
                        <a:pt x="9990" y="3953"/>
                      </a:cubicBezTo>
                      <a:cubicBezTo>
                        <a:pt x="10040" y="3906"/>
                        <a:pt x="10043" y="3826"/>
                        <a:pt x="9997" y="3776"/>
                      </a:cubicBezTo>
                      <a:cubicBezTo>
                        <a:pt x="9950" y="3725"/>
                        <a:pt x="9873" y="3723"/>
                        <a:pt x="9823" y="3770"/>
                      </a:cubicBezTo>
                      <a:cubicBezTo>
                        <a:pt x="9407" y="4166"/>
                        <a:pt x="9010" y="4290"/>
                        <a:pt x="8857" y="4300"/>
                      </a:cubicBezTo>
                      <a:cubicBezTo>
                        <a:pt x="8852" y="4300"/>
                        <a:pt x="8849" y="4303"/>
                        <a:pt x="8844" y="4304"/>
                      </a:cubicBezTo>
                      <a:close/>
                      <a:moveTo>
                        <a:pt x="8790" y="4263"/>
                      </a:moveTo>
                      <a:cubicBezTo>
                        <a:pt x="8949" y="4263"/>
                        <a:pt x="9078" y="4131"/>
                        <a:pt x="9078" y="3969"/>
                      </a:cubicBezTo>
                      <a:cubicBezTo>
                        <a:pt x="9078" y="3807"/>
                        <a:pt x="8949" y="3675"/>
                        <a:pt x="8790" y="3675"/>
                      </a:cubicBezTo>
                      <a:cubicBezTo>
                        <a:pt x="8631" y="3675"/>
                        <a:pt x="8503" y="3807"/>
                        <a:pt x="8503" y="3969"/>
                      </a:cubicBezTo>
                      <a:cubicBezTo>
                        <a:pt x="8503" y="4131"/>
                        <a:pt x="8631" y="4263"/>
                        <a:pt x="8790" y="4263"/>
                      </a:cubicBezTo>
                      <a:close/>
                      <a:moveTo>
                        <a:pt x="9514" y="6418"/>
                      </a:moveTo>
                      <a:cubicBezTo>
                        <a:pt x="9649" y="6475"/>
                        <a:pt x="9732" y="6548"/>
                        <a:pt x="9732" y="6629"/>
                      </a:cubicBezTo>
                      <a:cubicBezTo>
                        <a:pt x="9732" y="6745"/>
                        <a:pt x="9561" y="6846"/>
                        <a:pt x="9306" y="6903"/>
                      </a:cubicBezTo>
                      <a:cubicBezTo>
                        <a:pt x="9287" y="6910"/>
                        <a:pt x="9267" y="6915"/>
                        <a:pt x="9245" y="6917"/>
                      </a:cubicBezTo>
                      <a:cubicBezTo>
                        <a:pt x="9240" y="6918"/>
                        <a:pt x="9235" y="6918"/>
                        <a:pt x="9229" y="6918"/>
                      </a:cubicBezTo>
                      <a:cubicBezTo>
                        <a:pt x="9112" y="6939"/>
                        <a:pt x="8983" y="6952"/>
                        <a:pt x="8845" y="6952"/>
                      </a:cubicBezTo>
                      <a:cubicBezTo>
                        <a:pt x="8355" y="6952"/>
                        <a:pt x="7957" y="6807"/>
                        <a:pt x="7957" y="6629"/>
                      </a:cubicBezTo>
                      <a:cubicBezTo>
                        <a:pt x="7957" y="6542"/>
                        <a:pt x="8055" y="6463"/>
                        <a:pt x="8211" y="6405"/>
                      </a:cubicBezTo>
                      <a:lnTo>
                        <a:pt x="8222" y="6252"/>
                      </a:lnTo>
                      <a:cubicBezTo>
                        <a:pt x="7685" y="6340"/>
                        <a:pt x="7308" y="6534"/>
                        <a:pt x="7308" y="6762"/>
                      </a:cubicBezTo>
                      <a:cubicBezTo>
                        <a:pt x="7308" y="7072"/>
                        <a:pt x="8000" y="7324"/>
                        <a:pt x="8854" y="7324"/>
                      </a:cubicBezTo>
                      <a:cubicBezTo>
                        <a:pt x="9708" y="7324"/>
                        <a:pt x="10400" y="7072"/>
                        <a:pt x="10400" y="6762"/>
                      </a:cubicBezTo>
                      <a:cubicBezTo>
                        <a:pt x="10400" y="6535"/>
                        <a:pt x="10027" y="6342"/>
                        <a:pt x="9494" y="6253"/>
                      </a:cubicBezTo>
                      <a:lnTo>
                        <a:pt x="9514" y="6418"/>
                      </a:lnTo>
                      <a:close/>
                      <a:moveTo>
                        <a:pt x="1543" y="4300"/>
                      </a:moveTo>
                      <a:cubicBezTo>
                        <a:pt x="1391" y="4290"/>
                        <a:pt x="994" y="4166"/>
                        <a:pt x="577" y="3770"/>
                      </a:cubicBezTo>
                      <a:cubicBezTo>
                        <a:pt x="528" y="3723"/>
                        <a:pt x="450" y="3725"/>
                        <a:pt x="404" y="3776"/>
                      </a:cubicBezTo>
                      <a:cubicBezTo>
                        <a:pt x="358" y="3826"/>
                        <a:pt x="361" y="3906"/>
                        <a:pt x="411" y="3953"/>
                      </a:cubicBezTo>
                      <a:cubicBezTo>
                        <a:pt x="770" y="4296"/>
                        <a:pt x="1122" y="4456"/>
                        <a:pt x="1355" y="4518"/>
                      </a:cubicBezTo>
                      <a:cubicBezTo>
                        <a:pt x="1355" y="4522"/>
                        <a:pt x="1355" y="4526"/>
                        <a:pt x="1355" y="4530"/>
                      </a:cubicBezTo>
                      <a:lnTo>
                        <a:pt x="1281" y="5459"/>
                      </a:lnTo>
                      <a:cubicBezTo>
                        <a:pt x="1281" y="5460"/>
                        <a:pt x="1282" y="5461"/>
                        <a:pt x="1282" y="5462"/>
                      </a:cubicBezTo>
                      <a:lnTo>
                        <a:pt x="1086" y="6686"/>
                      </a:lnTo>
                      <a:cubicBezTo>
                        <a:pt x="1072" y="6771"/>
                        <a:pt x="1129" y="6852"/>
                        <a:pt x="1212" y="6866"/>
                      </a:cubicBezTo>
                      <a:cubicBezTo>
                        <a:pt x="1221" y="6867"/>
                        <a:pt x="1229" y="6867"/>
                        <a:pt x="1236" y="6867"/>
                      </a:cubicBezTo>
                      <a:cubicBezTo>
                        <a:pt x="1311" y="6867"/>
                        <a:pt x="1376" y="6813"/>
                        <a:pt x="1388" y="6736"/>
                      </a:cubicBezTo>
                      <a:lnTo>
                        <a:pt x="1586" y="5498"/>
                      </a:lnTo>
                      <a:lnTo>
                        <a:pt x="1718" y="6728"/>
                      </a:lnTo>
                      <a:cubicBezTo>
                        <a:pt x="1726" y="6808"/>
                        <a:pt x="1792" y="6867"/>
                        <a:pt x="1870" y="6867"/>
                      </a:cubicBezTo>
                      <a:cubicBezTo>
                        <a:pt x="1875" y="6867"/>
                        <a:pt x="1881" y="6867"/>
                        <a:pt x="1887" y="6867"/>
                      </a:cubicBezTo>
                      <a:cubicBezTo>
                        <a:pt x="1971" y="6857"/>
                        <a:pt x="2032" y="6780"/>
                        <a:pt x="2022" y="6694"/>
                      </a:cubicBezTo>
                      <a:lnTo>
                        <a:pt x="1895" y="5505"/>
                      </a:lnTo>
                      <a:lnTo>
                        <a:pt x="1845" y="4530"/>
                      </a:lnTo>
                      <a:cubicBezTo>
                        <a:pt x="1845" y="4527"/>
                        <a:pt x="1843" y="4523"/>
                        <a:pt x="1843" y="4519"/>
                      </a:cubicBezTo>
                      <a:cubicBezTo>
                        <a:pt x="2082" y="4456"/>
                        <a:pt x="2314" y="4293"/>
                        <a:pt x="2672" y="3953"/>
                      </a:cubicBezTo>
                      <a:cubicBezTo>
                        <a:pt x="2722" y="3906"/>
                        <a:pt x="2725" y="3826"/>
                        <a:pt x="2678" y="3776"/>
                      </a:cubicBezTo>
                      <a:cubicBezTo>
                        <a:pt x="2632" y="3725"/>
                        <a:pt x="2555" y="3722"/>
                        <a:pt x="2505" y="3770"/>
                      </a:cubicBezTo>
                      <a:cubicBezTo>
                        <a:pt x="2058" y="4195"/>
                        <a:pt x="1857" y="4286"/>
                        <a:pt x="1637" y="4301"/>
                      </a:cubicBezTo>
                      <a:lnTo>
                        <a:pt x="1730" y="5088"/>
                      </a:lnTo>
                      <a:lnTo>
                        <a:pt x="1608" y="5217"/>
                      </a:lnTo>
                      <a:lnTo>
                        <a:pt x="1501" y="5088"/>
                      </a:lnTo>
                      <a:lnTo>
                        <a:pt x="1574" y="4302"/>
                      </a:lnTo>
                      <a:cubicBezTo>
                        <a:pt x="1568" y="4303"/>
                        <a:pt x="1562" y="4303"/>
                        <a:pt x="1557" y="4304"/>
                      </a:cubicBezTo>
                      <a:cubicBezTo>
                        <a:pt x="1552" y="4303"/>
                        <a:pt x="1548" y="4300"/>
                        <a:pt x="1543" y="4300"/>
                      </a:cubicBezTo>
                      <a:close/>
                      <a:moveTo>
                        <a:pt x="1898" y="3969"/>
                      </a:moveTo>
                      <a:cubicBezTo>
                        <a:pt x="1898" y="3807"/>
                        <a:pt x="1769" y="3675"/>
                        <a:pt x="1610" y="3675"/>
                      </a:cubicBezTo>
                      <a:cubicBezTo>
                        <a:pt x="1452" y="3675"/>
                        <a:pt x="1323" y="3807"/>
                        <a:pt x="1323" y="3969"/>
                      </a:cubicBezTo>
                      <a:cubicBezTo>
                        <a:pt x="1323" y="4131"/>
                        <a:pt x="1452" y="4263"/>
                        <a:pt x="1610" y="4263"/>
                      </a:cubicBezTo>
                      <a:cubicBezTo>
                        <a:pt x="1769" y="4263"/>
                        <a:pt x="1898" y="4131"/>
                        <a:pt x="1898" y="3969"/>
                      </a:cubicBezTo>
                      <a:close/>
                      <a:moveTo>
                        <a:pt x="906" y="6253"/>
                      </a:moveTo>
                      <a:cubicBezTo>
                        <a:pt x="373" y="6342"/>
                        <a:pt x="0" y="6535"/>
                        <a:pt x="0" y="6762"/>
                      </a:cubicBezTo>
                      <a:cubicBezTo>
                        <a:pt x="0" y="7072"/>
                        <a:pt x="693" y="7324"/>
                        <a:pt x="1547" y="7324"/>
                      </a:cubicBezTo>
                      <a:cubicBezTo>
                        <a:pt x="2401" y="7324"/>
                        <a:pt x="3093" y="7072"/>
                        <a:pt x="3093" y="6762"/>
                      </a:cubicBezTo>
                      <a:cubicBezTo>
                        <a:pt x="3093" y="6534"/>
                        <a:pt x="2716" y="6340"/>
                        <a:pt x="2178" y="6252"/>
                      </a:cubicBezTo>
                      <a:lnTo>
                        <a:pt x="2189" y="6405"/>
                      </a:lnTo>
                      <a:cubicBezTo>
                        <a:pt x="2346" y="6463"/>
                        <a:pt x="2444" y="6542"/>
                        <a:pt x="2444" y="6629"/>
                      </a:cubicBezTo>
                      <a:cubicBezTo>
                        <a:pt x="2444" y="6807"/>
                        <a:pt x="2046" y="6952"/>
                        <a:pt x="1556" y="6952"/>
                      </a:cubicBezTo>
                      <a:cubicBezTo>
                        <a:pt x="1418" y="6952"/>
                        <a:pt x="1289" y="6939"/>
                        <a:pt x="1172" y="6918"/>
                      </a:cubicBezTo>
                      <a:cubicBezTo>
                        <a:pt x="1166" y="6918"/>
                        <a:pt x="1161" y="6918"/>
                        <a:pt x="1155" y="6917"/>
                      </a:cubicBezTo>
                      <a:cubicBezTo>
                        <a:pt x="1134" y="6915"/>
                        <a:pt x="1114" y="6910"/>
                        <a:pt x="1095" y="6903"/>
                      </a:cubicBezTo>
                      <a:cubicBezTo>
                        <a:pt x="840" y="6846"/>
                        <a:pt x="669" y="6745"/>
                        <a:pt x="669" y="6629"/>
                      </a:cubicBezTo>
                      <a:cubicBezTo>
                        <a:pt x="669" y="6548"/>
                        <a:pt x="751" y="6475"/>
                        <a:pt x="887" y="6418"/>
                      </a:cubicBezTo>
                      <a:lnTo>
                        <a:pt x="906" y="6253"/>
                      </a:lnTo>
                      <a:close/>
                    </a:path>
                  </a:pathLst>
                </a:custGeom>
                <a:solidFill>
                  <a:schemeClr val="bg1"/>
                </a:solidFill>
                <a:ln>
                  <a:noFill/>
                </a:ln>
              </p:spPr>
              <p:txBody>
                <a:bodyPr/>
                <a:lstStyle/>
                <a:p>
                  <a:endParaRPr lang="zh-CN" altLang="en-US"/>
                </a:p>
              </p:txBody>
            </p:sp>
          </p:grpSp>
        </p:grpSp>
        <p:grpSp>
          <p:nvGrpSpPr>
            <p:cNvPr id="23" name="íṥľidé">
              <a:extLst>
                <a:ext uri="{FF2B5EF4-FFF2-40B4-BE49-F238E27FC236}">
                  <a16:creationId xmlns:a16="http://schemas.microsoft.com/office/drawing/2014/main" id="{EF97062F-62C3-4246-A9DA-2E9D3BAA58D8}"/>
                </a:ext>
              </a:extLst>
            </p:cNvPr>
            <p:cNvGrpSpPr/>
            <p:nvPr/>
          </p:nvGrpSpPr>
          <p:grpSpPr>
            <a:xfrm>
              <a:off x="8885611" y="4579679"/>
              <a:ext cx="2634877" cy="1225771"/>
              <a:chOff x="6537698" y="3101864"/>
              <a:chExt cx="2634877" cy="1225771"/>
            </a:xfrm>
          </p:grpSpPr>
          <p:grpSp>
            <p:nvGrpSpPr>
              <p:cNvPr id="24" name="ï$ļîḑe">
                <a:extLst>
                  <a:ext uri="{FF2B5EF4-FFF2-40B4-BE49-F238E27FC236}">
                    <a16:creationId xmlns:a16="http://schemas.microsoft.com/office/drawing/2014/main" id="{560B932C-2F34-4D55-B195-4165C7D661FE}"/>
                  </a:ext>
                </a:extLst>
              </p:cNvPr>
              <p:cNvGrpSpPr/>
              <p:nvPr/>
            </p:nvGrpSpPr>
            <p:grpSpPr>
              <a:xfrm>
                <a:off x="7125389" y="3101864"/>
                <a:ext cx="2047186" cy="1225771"/>
                <a:chOff x="7163671" y="3101864"/>
                <a:chExt cx="1459469" cy="1225771"/>
              </a:xfrm>
            </p:grpSpPr>
            <p:sp>
              <p:nvSpPr>
                <p:cNvPr id="28" name="iṣḷiḑe">
                  <a:extLst>
                    <a:ext uri="{FF2B5EF4-FFF2-40B4-BE49-F238E27FC236}">
                      <a16:creationId xmlns:a16="http://schemas.microsoft.com/office/drawing/2014/main" id="{1ECD9151-2CFF-4612-ADF5-B4945E1BAF6F}"/>
                    </a:ext>
                  </a:extLst>
                </p:cNvPr>
                <p:cNvSpPr txBox="1"/>
                <p:nvPr/>
              </p:nvSpPr>
              <p:spPr>
                <a:xfrm>
                  <a:off x="7163672" y="3101864"/>
                  <a:ext cx="1459468" cy="527057"/>
                </a:xfrm>
                <a:prstGeom prst="rect">
                  <a:avLst/>
                </a:prstGeom>
                <a:noFill/>
              </p:spPr>
              <p:txBody>
                <a:bodyPr wrap="square" lIns="91440" tIns="45720" rIns="91440" bIns="45720" rtlCol="0" anchor="b" anchorCtr="0">
                  <a:normAutofit/>
                </a:bodyPr>
                <a:lstStyle/>
                <a:p>
                  <a:pPr>
                    <a:lnSpc>
                      <a:spcPct val="150000"/>
                    </a:lnSpc>
                  </a:pPr>
                  <a:r>
                    <a:rPr lang="en-US" altLang="zh-CN" sz="1600" b="1" dirty="0"/>
                    <a:t>Text here</a:t>
                  </a:r>
                  <a:endParaRPr lang="vi-VN" sz="1600" b="1" dirty="0"/>
                </a:p>
              </p:txBody>
            </p:sp>
            <p:sp>
              <p:nvSpPr>
                <p:cNvPr id="29" name="îş1ïḍé">
                  <a:extLst>
                    <a:ext uri="{FF2B5EF4-FFF2-40B4-BE49-F238E27FC236}">
                      <a16:creationId xmlns:a16="http://schemas.microsoft.com/office/drawing/2014/main" id="{05628561-23D1-4144-8D93-15DE565A219A}"/>
                    </a:ext>
                  </a:extLst>
                </p:cNvPr>
                <p:cNvSpPr txBox="1"/>
                <p:nvPr/>
              </p:nvSpPr>
              <p:spPr>
                <a:xfrm>
                  <a:off x="7163671" y="3628920"/>
                  <a:ext cx="1459468" cy="698715"/>
                </a:xfrm>
                <a:prstGeom prst="rect">
                  <a:avLst/>
                </a:prstGeom>
                <a:noFill/>
              </p:spPr>
              <p:txBody>
                <a:bodyPr wrap="square" lIns="91440" tIns="45720" rIns="91440" bIns="45720" rtlCol="0" anchor="t" anchorCtr="0">
                  <a:normAutofit/>
                </a:bodyPr>
                <a:lstStyle/>
                <a:p>
                  <a:pPr>
                    <a:lnSpc>
                      <a:spcPct val="120000"/>
                    </a:lnSpc>
                  </a:pPr>
                  <a:r>
                    <a:rPr lang="en-US" altLang="zh-CN" sz="1100"/>
                    <a:t>Supporting text here. </a:t>
                  </a:r>
                </a:p>
                <a:p>
                  <a:pPr>
                    <a:lnSpc>
                      <a:spcPct val="120000"/>
                    </a:lnSpc>
                  </a:pPr>
                  <a:r>
                    <a:rPr lang="en-US" altLang="zh-CN" sz="1100"/>
                    <a:t>… …</a:t>
                  </a:r>
                  <a:endParaRPr lang="en-US" altLang="zh-CN" sz="1100" dirty="0"/>
                </a:p>
              </p:txBody>
            </p:sp>
          </p:grpSp>
          <p:grpSp>
            <p:nvGrpSpPr>
              <p:cNvPr id="25" name="íş1íde">
                <a:extLst>
                  <a:ext uri="{FF2B5EF4-FFF2-40B4-BE49-F238E27FC236}">
                    <a16:creationId xmlns:a16="http://schemas.microsoft.com/office/drawing/2014/main" id="{08D63BB5-AAF3-4E7F-BA2F-119FB283AE00}"/>
                  </a:ext>
                </a:extLst>
              </p:cNvPr>
              <p:cNvGrpSpPr/>
              <p:nvPr/>
            </p:nvGrpSpPr>
            <p:grpSpPr>
              <a:xfrm>
                <a:off x="6537698" y="3274941"/>
                <a:ext cx="558427" cy="558427"/>
                <a:chOff x="809883" y="1822439"/>
                <a:chExt cx="721040" cy="721040"/>
              </a:xfrm>
            </p:grpSpPr>
            <p:sp>
              <p:nvSpPr>
                <p:cNvPr id="26" name="ïṣļïḓe">
                  <a:extLst>
                    <a:ext uri="{FF2B5EF4-FFF2-40B4-BE49-F238E27FC236}">
                      <a16:creationId xmlns:a16="http://schemas.microsoft.com/office/drawing/2014/main" id="{1CC0DCDF-BC41-4455-9465-F96980509EA6}"/>
                    </a:ext>
                  </a:extLst>
                </p:cNvPr>
                <p:cNvSpPr/>
                <p:nvPr/>
              </p:nvSpPr>
              <p:spPr>
                <a:xfrm>
                  <a:off x="809883" y="1822439"/>
                  <a:ext cx="721040" cy="721040"/>
                </a:xfrm>
                <a:prstGeom prst="ellipse">
                  <a:avLst/>
                </a:prstGeom>
                <a:solidFill>
                  <a:schemeClr val="accent2"/>
                </a:solidFill>
                <a:ln w="2857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ctr">
                  <a:normAutofit fontScale="85000" lnSpcReduction="20000"/>
                </a:bodyPr>
                <a:lstStyle/>
                <a:p>
                  <a:pPr algn="ctr"/>
                  <a:endParaRPr lang="en-US" sz="2800" b="1" dirty="0">
                    <a:solidFill>
                      <a:schemeClr val="bg1"/>
                    </a:solidFill>
                  </a:endParaRPr>
                </a:p>
              </p:txBody>
            </p:sp>
            <p:sp>
              <p:nvSpPr>
                <p:cNvPr id="27" name="iṣḻîďè">
                  <a:extLst>
                    <a:ext uri="{FF2B5EF4-FFF2-40B4-BE49-F238E27FC236}">
                      <a16:creationId xmlns:a16="http://schemas.microsoft.com/office/drawing/2014/main" id="{8566D68D-8270-4FC5-B802-FC97756DC35E}"/>
                    </a:ext>
                  </a:extLst>
                </p:cNvPr>
                <p:cNvSpPr/>
                <p:nvPr/>
              </p:nvSpPr>
              <p:spPr bwMode="auto">
                <a:xfrm>
                  <a:off x="1001760" y="2010248"/>
                  <a:ext cx="337286" cy="345422"/>
                </a:xfrm>
                <a:custGeom>
                  <a:avLst/>
                  <a:gdLst>
                    <a:gd name="T0" fmla="*/ 1547 w 10400"/>
                    <a:gd name="T1" fmla="*/ 9330 h 10667"/>
                    <a:gd name="T2" fmla="*/ 3077 w 10400"/>
                    <a:gd name="T3" fmla="*/ 9013 h 10667"/>
                    <a:gd name="T4" fmla="*/ 6114 w 10400"/>
                    <a:gd name="T5" fmla="*/ 9700 h 10667"/>
                    <a:gd name="T6" fmla="*/ 6806 w 10400"/>
                    <a:gd name="T7" fmla="*/ 8539 h 10667"/>
                    <a:gd name="T8" fmla="*/ 4079 w 10400"/>
                    <a:gd name="T9" fmla="*/ 1127 h 10667"/>
                    <a:gd name="T10" fmla="*/ 5193 w 10400"/>
                    <a:gd name="T11" fmla="*/ 2254 h 10667"/>
                    <a:gd name="T12" fmla="*/ 6352 w 10400"/>
                    <a:gd name="T13" fmla="*/ 3340 h 10667"/>
                    <a:gd name="T14" fmla="*/ 6296 w 10400"/>
                    <a:gd name="T15" fmla="*/ 5841 h 10667"/>
                    <a:gd name="T16" fmla="*/ 5318 w 10400"/>
                    <a:gd name="T17" fmla="*/ 6578 h 10667"/>
                    <a:gd name="T18" fmla="*/ 4851 w 10400"/>
                    <a:gd name="T19" fmla="*/ 10126 h 10667"/>
                    <a:gd name="T20" fmla="*/ 4154 w 10400"/>
                    <a:gd name="T21" fmla="*/ 5500 h 10667"/>
                    <a:gd name="T22" fmla="*/ 993 w 10400"/>
                    <a:gd name="T23" fmla="*/ 1669 h 10667"/>
                    <a:gd name="T24" fmla="*/ 4493 w 10400"/>
                    <a:gd name="T25" fmla="*/ 2470 h 10667"/>
                    <a:gd name="T26" fmla="*/ 5203 w 10400"/>
                    <a:gd name="T27" fmla="*/ 5915 h 10667"/>
                    <a:gd name="T28" fmla="*/ 5890 w 10400"/>
                    <a:gd name="T29" fmla="*/ 2481 h 10667"/>
                    <a:gd name="T30" fmla="*/ 9353 w 10400"/>
                    <a:gd name="T31" fmla="*/ 1669 h 10667"/>
                    <a:gd name="T32" fmla="*/ 8900 w 10400"/>
                    <a:gd name="T33" fmla="*/ 5088 h 10667"/>
                    <a:gd name="T34" fmla="*/ 8763 w 10400"/>
                    <a:gd name="T35" fmla="*/ 4301 h 10667"/>
                    <a:gd name="T36" fmla="*/ 7729 w 10400"/>
                    <a:gd name="T37" fmla="*/ 3953 h 10667"/>
                    <a:gd name="T38" fmla="*/ 8505 w 10400"/>
                    <a:gd name="T39" fmla="*/ 5505 h 10667"/>
                    <a:gd name="T40" fmla="*/ 8530 w 10400"/>
                    <a:gd name="T41" fmla="*/ 6867 h 10667"/>
                    <a:gd name="T42" fmla="*/ 9012 w 10400"/>
                    <a:gd name="T43" fmla="*/ 6736 h 10667"/>
                    <a:gd name="T44" fmla="*/ 9315 w 10400"/>
                    <a:gd name="T45" fmla="*/ 6686 h 10667"/>
                    <a:gd name="T46" fmla="*/ 9046 w 10400"/>
                    <a:gd name="T47" fmla="*/ 4530 h 10667"/>
                    <a:gd name="T48" fmla="*/ 9997 w 10400"/>
                    <a:gd name="T49" fmla="*/ 3776 h 10667"/>
                    <a:gd name="T50" fmla="*/ 8844 w 10400"/>
                    <a:gd name="T51" fmla="*/ 4304 h 10667"/>
                    <a:gd name="T52" fmla="*/ 8790 w 10400"/>
                    <a:gd name="T53" fmla="*/ 3675 h 10667"/>
                    <a:gd name="T54" fmla="*/ 9514 w 10400"/>
                    <a:gd name="T55" fmla="*/ 6418 h 10667"/>
                    <a:gd name="T56" fmla="*/ 9245 w 10400"/>
                    <a:gd name="T57" fmla="*/ 6917 h 10667"/>
                    <a:gd name="T58" fmla="*/ 7957 w 10400"/>
                    <a:gd name="T59" fmla="*/ 6629 h 10667"/>
                    <a:gd name="T60" fmla="*/ 7308 w 10400"/>
                    <a:gd name="T61" fmla="*/ 6762 h 10667"/>
                    <a:gd name="T62" fmla="*/ 9494 w 10400"/>
                    <a:gd name="T63" fmla="*/ 6253 h 10667"/>
                    <a:gd name="T64" fmla="*/ 577 w 10400"/>
                    <a:gd name="T65" fmla="*/ 3770 h 10667"/>
                    <a:gd name="T66" fmla="*/ 1355 w 10400"/>
                    <a:gd name="T67" fmla="*/ 4518 h 10667"/>
                    <a:gd name="T68" fmla="*/ 1282 w 10400"/>
                    <a:gd name="T69" fmla="*/ 5462 h 10667"/>
                    <a:gd name="T70" fmla="*/ 1236 w 10400"/>
                    <a:gd name="T71" fmla="*/ 6867 h 10667"/>
                    <a:gd name="T72" fmla="*/ 1718 w 10400"/>
                    <a:gd name="T73" fmla="*/ 6728 h 10667"/>
                    <a:gd name="T74" fmla="*/ 2022 w 10400"/>
                    <a:gd name="T75" fmla="*/ 6694 h 10667"/>
                    <a:gd name="T76" fmla="*/ 1843 w 10400"/>
                    <a:gd name="T77" fmla="*/ 4519 h 10667"/>
                    <a:gd name="T78" fmla="*/ 2505 w 10400"/>
                    <a:gd name="T79" fmla="*/ 3770 h 10667"/>
                    <a:gd name="T80" fmla="*/ 1608 w 10400"/>
                    <a:gd name="T81" fmla="*/ 5217 h 10667"/>
                    <a:gd name="T82" fmla="*/ 1557 w 10400"/>
                    <a:gd name="T83" fmla="*/ 4304 h 10667"/>
                    <a:gd name="T84" fmla="*/ 1610 w 10400"/>
                    <a:gd name="T85" fmla="*/ 3675 h 10667"/>
                    <a:gd name="T86" fmla="*/ 1898 w 10400"/>
                    <a:gd name="T87" fmla="*/ 3969 h 10667"/>
                    <a:gd name="T88" fmla="*/ 1547 w 10400"/>
                    <a:gd name="T89" fmla="*/ 7324 h 10667"/>
                    <a:gd name="T90" fmla="*/ 2189 w 10400"/>
                    <a:gd name="T91" fmla="*/ 6405 h 10667"/>
                    <a:gd name="T92" fmla="*/ 1172 w 10400"/>
                    <a:gd name="T93" fmla="*/ 6918 h 10667"/>
                    <a:gd name="T94" fmla="*/ 669 w 10400"/>
                    <a:gd name="T95" fmla="*/ 6629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400" h="10667">
                      <a:moveTo>
                        <a:pt x="8838" y="9330"/>
                      </a:moveTo>
                      <a:cubicBezTo>
                        <a:pt x="8838" y="10067"/>
                        <a:pt x="7206" y="10667"/>
                        <a:pt x="5192" y="10667"/>
                      </a:cubicBezTo>
                      <a:cubicBezTo>
                        <a:pt x="3180" y="10667"/>
                        <a:pt x="1547" y="10067"/>
                        <a:pt x="1547" y="9330"/>
                      </a:cubicBezTo>
                      <a:cubicBezTo>
                        <a:pt x="1547" y="8797"/>
                        <a:pt x="2406" y="8341"/>
                        <a:pt x="3638" y="8128"/>
                      </a:cubicBezTo>
                      <a:lnTo>
                        <a:pt x="3638" y="8495"/>
                      </a:lnTo>
                      <a:cubicBezTo>
                        <a:pt x="3293" y="8632"/>
                        <a:pt x="3077" y="8813"/>
                        <a:pt x="3077" y="9013"/>
                      </a:cubicBezTo>
                      <a:cubicBezTo>
                        <a:pt x="3077" y="9437"/>
                        <a:pt x="4015" y="9781"/>
                        <a:pt x="5171" y="9781"/>
                      </a:cubicBezTo>
                      <a:cubicBezTo>
                        <a:pt x="5497" y="9781"/>
                        <a:pt x="5802" y="9751"/>
                        <a:pt x="6077" y="9703"/>
                      </a:cubicBezTo>
                      <a:cubicBezTo>
                        <a:pt x="6090" y="9702"/>
                        <a:pt x="6102" y="9702"/>
                        <a:pt x="6114" y="9700"/>
                      </a:cubicBezTo>
                      <a:cubicBezTo>
                        <a:pt x="6165" y="9694"/>
                        <a:pt x="6212" y="9682"/>
                        <a:pt x="6259" y="9666"/>
                      </a:cubicBezTo>
                      <a:cubicBezTo>
                        <a:pt x="6859" y="9531"/>
                        <a:pt x="7264" y="9290"/>
                        <a:pt x="7264" y="9013"/>
                      </a:cubicBezTo>
                      <a:cubicBezTo>
                        <a:pt x="7264" y="8834"/>
                        <a:pt x="7090" y="8669"/>
                        <a:pt x="6806" y="8539"/>
                      </a:cubicBezTo>
                      <a:lnTo>
                        <a:pt x="6806" y="8137"/>
                      </a:lnTo>
                      <a:cubicBezTo>
                        <a:pt x="8006" y="8356"/>
                        <a:pt x="8838" y="8805"/>
                        <a:pt x="8838" y="9330"/>
                      </a:cubicBezTo>
                      <a:close/>
                      <a:moveTo>
                        <a:pt x="4079" y="1127"/>
                      </a:moveTo>
                      <a:cubicBezTo>
                        <a:pt x="4079" y="504"/>
                        <a:pt x="4578" y="0"/>
                        <a:pt x="5193" y="0"/>
                      </a:cubicBezTo>
                      <a:cubicBezTo>
                        <a:pt x="5807" y="0"/>
                        <a:pt x="6305" y="504"/>
                        <a:pt x="6305" y="1127"/>
                      </a:cubicBezTo>
                      <a:cubicBezTo>
                        <a:pt x="6305" y="1750"/>
                        <a:pt x="5807" y="2254"/>
                        <a:pt x="5193" y="2254"/>
                      </a:cubicBezTo>
                      <a:cubicBezTo>
                        <a:pt x="4578" y="2254"/>
                        <a:pt x="4079" y="1750"/>
                        <a:pt x="4079" y="1127"/>
                      </a:cubicBezTo>
                      <a:close/>
                      <a:moveTo>
                        <a:pt x="9353" y="1669"/>
                      </a:moveTo>
                      <a:cubicBezTo>
                        <a:pt x="8800" y="2578"/>
                        <a:pt x="7557" y="3340"/>
                        <a:pt x="6352" y="3340"/>
                      </a:cubicBezTo>
                      <a:cubicBezTo>
                        <a:pt x="6274" y="3340"/>
                        <a:pt x="6196" y="3336"/>
                        <a:pt x="6118" y="3330"/>
                      </a:cubicBezTo>
                      <a:cubicBezTo>
                        <a:pt x="6142" y="3615"/>
                        <a:pt x="6252" y="4928"/>
                        <a:pt x="6282" y="5755"/>
                      </a:cubicBezTo>
                      <a:cubicBezTo>
                        <a:pt x="6288" y="5783"/>
                        <a:pt x="6294" y="5811"/>
                        <a:pt x="6296" y="5841"/>
                      </a:cubicBezTo>
                      <a:lnTo>
                        <a:pt x="6568" y="10087"/>
                      </a:lnTo>
                      <a:cubicBezTo>
                        <a:pt x="6586" y="10373"/>
                        <a:pt x="5564" y="10428"/>
                        <a:pt x="5546" y="10154"/>
                      </a:cubicBezTo>
                      <a:lnTo>
                        <a:pt x="5318" y="6578"/>
                      </a:lnTo>
                      <a:cubicBezTo>
                        <a:pt x="5280" y="6574"/>
                        <a:pt x="5244" y="6567"/>
                        <a:pt x="5206" y="6567"/>
                      </a:cubicBezTo>
                      <a:cubicBezTo>
                        <a:pt x="5174" y="6567"/>
                        <a:pt x="5136" y="6577"/>
                        <a:pt x="5099" y="6587"/>
                      </a:cubicBezTo>
                      <a:lnTo>
                        <a:pt x="4851" y="10126"/>
                      </a:lnTo>
                      <a:cubicBezTo>
                        <a:pt x="4832" y="10398"/>
                        <a:pt x="3810" y="10338"/>
                        <a:pt x="3830" y="10052"/>
                      </a:cubicBezTo>
                      <a:lnTo>
                        <a:pt x="4144" y="5559"/>
                      </a:lnTo>
                      <a:cubicBezTo>
                        <a:pt x="4146" y="5538"/>
                        <a:pt x="4150" y="5520"/>
                        <a:pt x="4154" y="5500"/>
                      </a:cubicBezTo>
                      <a:cubicBezTo>
                        <a:pt x="4199" y="4432"/>
                        <a:pt x="4252" y="3400"/>
                        <a:pt x="4257" y="3326"/>
                      </a:cubicBezTo>
                      <a:cubicBezTo>
                        <a:pt x="4169" y="3334"/>
                        <a:pt x="4081" y="3340"/>
                        <a:pt x="3994" y="3340"/>
                      </a:cubicBezTo>
                      <a:cubicBezTo>
                        <a:pt x="2788" y="3340"/>
                        <a:pt x="1546" y="2578"/>
                        <a:pt x="993" y="1669"/>
                      </a:cubicBezTo>
                      <a:cubicBezTo>
                        <a:pt x="879" y="1481"/>
                        <a:pt x="936" y="1235"/>
                        <a:pt x="1122" y="1120"/>
                      </a:cubicBezTo>
                      <a:cubicBezTo>
                        <a:pt x="1308" y="1003"/>
                        <a:pt x="1551" y="1062"/>
                        <a:pt x="1665" y="1250"/>
                      </a:cubicBezTo>
                      <a:cubicBezTo>
                        <a:pt x="2166" y="2073"/>
                        <a:pt x="3484" y="2756"/>
                        <a:pt x="4493" y="2470"/>
                      </a:cubicBezTo>
                      <a:cubicBezTo>
                        <a:pt x="4663" y="2411"/>
                        <a:pt x="4865" y="2374"/>
                        <a:pt x="5089" y="2365"/>
                      </a:cubicBezTo>
                      <a:lnTo>
                        <a:pt x="4729" y="5423"/>
                      </a:lnTo>
                      <a:lnTo>
                        <a:pt x="5203" y="5915"/>
                      </a:lnTo>
                      <a:lnTo>
                        <a:pt x="5617" y="5423"/>
                      </a:lnTo>
                      <a:lnTo>
                        <a:pt x="5330" y="2373"/>
                      </a:lnTo>
                      <a:cubicBezTo>
                        <a:pt x="5531" y="2387"/>
                        <a:pt x="5725" y="2423"/>
                        <a:pt x="5890" y="2481"/>
                      </a:cubicBezTo>
                      <a:cubicBezTo>
                        <a:pt x="6894" y="2741"/>
                        <a:pt x="8187" y="2063"/>
                        <a:pt x="8681" y="1250"/>
                      </a:cubicBezTo>
                      <a:cubicBezTo>
                        <a:pt x="8795" y="1062"/>
                        <a:pt x="9038" y="1003"/>
                        <a:pt x="9224" y="1119"/>
                      </a:cubicBezTo>
                      <a:cubicBezTo>
                        <a:pt x="9410" y="1235"/>
                        <a:pt x="9468" y="1481"/>
                        <a:pt x="9353" y="1669"/>
                      </a:cubicBezTo>
                      <a:close/>
                      <a:moveTo>
                        <a:pt x="8844" y="4304"/>
                      </a:moveTo>
                      <a:cubicBezTo>
                        <a:pt x="8839" y="4303"/>
                        <a:pt x="8833" y="4303"/>
                        <a:pt x="8827" y="4302"/>
                      </a:cubicBezTo>
                      <a:lnTo>
                        <a:pt x="8900" y="5088"/>
                      </a:lnTo>
                      <a:lnTo>
                        <a:pt x="8793" y="5217"/>
                      </a:lnTo>
                      <a:lnTo>
                        <a:pt x="8671" y="5088"/>
                      </a:lnTo>
                      <a:lnTo>
                        <a:pt x="8763" y="4301"/>
                      </a:lnTo>
                      <a:cubicBezTo>
                        <a:pt x="8543" y="4286"/>
                        <a:pt x="8343" y="4195"/>
                        <a:pt x="7895" y="3770"/>
                      </a:cubicBezTo>
                      <a:cubicBezTo>
                        <a:pt x="7846" y="3723"/>
                        <a:pt x="7769" y="3725"/>
                        <a:pt x="7722" y="3776"/>
                      </a:cubicBezTo>
                      <a:cubicBezTo>
                        <a:pt x="7676" y="3826"/>
                        <a:pt x="7679" y="3906"/>
                        <a:pt x="7729" y="3953"/>
                      </a:cubicBezTo>
                      <a:cubicBezTo>
                        <a:pt x="8086" y="4293"/>
                        <a:pt x="8319" y="4456"/>
                        <a:pt x="8558" y="4519"/>
                      </a:cubicBezTo>
                      <a:cubicBezTo>
                        <a:pt x="8558" y="4523"/>
                        <a:pt x="8556" y="4527"/>
                        <a:pt x="8556" y="4530"/>
                      </a:cubicBezTo>
                      <a:lnTo>
                        <a:pt x="8505" y="5505"/>
                      </a:lnTo>
                      <a:lnTo>
                        <a:pt x="8378" y="6694"/>
                      </a:lnTo>
                      <a:cubicBezTo>
                        <a:pt x="8369" y="6780"/>
                        <a:pt x="8430" y="6857"/>
                        <a:pt x="8514" y="6867"/>
                      </a:cubicBezTo>
                      <a:cubicBezTo>
                        <a:pt x="8520" y="6867"/>
                        <a:pt x="8525" y="6867"/>
                        <a:pt x="8530" y="6867"/>
                      </a:cubicBezTo>
                      <a:cubicBezTo>
                        <a:pt x="8608" y="6867"/>
                        <a:pt x="8674" y="6808"/>
                        <a:pt x="8683" y="6728"/>
                      </a:cubicBezTo>
                      <a:lnTo>
                        <a:pt x="8815" y="5498"/>
                      </a:lnTo>
                      <a:lnTo>
                        <a:pt x="9012" y="6736"/>
                      </a:lnTo>
                      <a:cubicBezTo>
                        <a:pt x="9025" y="6813"/>
                        <a:pt x="9090" y="6868"/>
                        <a:pt x="9164" y="6868"/>
                      </a:cubicBezTo>
                      <a:cubicBezTo>
                        <a:pt x="9172" y="6868"/>
                        <a:pt x="9180" y="6867"/>
                        <a:pt x="9188" y="6866"/>
                      </a:cubicBezTo>
                      <a:cubicBezTo>
                        <a:pt x="9272" y="6852"/>
                        <a:pt x="9328" y="6771"/>
                        <a:pt x="9315" y="6686"/>
                      </a:cubicBezTo>
                      <a:lnTo>
                        <a:pt x="9119" y="5462"/>
                      </a:lnTo>
                      <a:cubicBezTo>
                        <a:pt x="9119" y="5461"/>
                        <a:pt x="9120" y="5460"/>
                        <a:pt x="9120" y="5459"/>
                      </a:cubicBezTo>
                      <a:lnTo>
                        <a:pt x="9046" y="4530"/>
                      </a:lnTo>
                      <a:cubicBezTo>
                        <a:pt x="9046" y="4526"/>
                        <a:pt x="9046" y="4522"/>
                        <a:pt x="9045" y="4518"/>
                      </a:cubicBezTo>
                      <a:cubicBezTo>
                        <a:pt x="9279" y="4456"/>
                        <a:pt x="9631" y="4296"/>
                        <a:pt x="9990" y="3953"/>
                      </a:cubicBezTo>
                      <a:cubicBezTo>
                        <a:pt x="10040" y="3906"/>
                        <a:pt x="10043" y="3826"/>
                        <a:pt x="9997" y="3776"/>
                      </a:cubicBezTo>
                      <a:cubicBezTo>
                        <a:pt x="9950" y="3725"/>
                        <a:pt x="9873" y="3723"/>
                        <a:pt x="9823" y="3770"/>
                      </a:cubicBezTo>
                      <a:cubicBezTo>
                        <a:pt x="9407" y="4166"/>
                        <a:pt x="9010" y="4290"/>
                        <a:pt x="8857" y="4300"/>
                      </a:cubicBezTo>
                      <a:cubicBezTo>
                        <a:pt x="8852" y="4300"/>
                        <a:pt x="8849" y="4303"/>
                        <a:pt x="8844" y="4304"/>
                      </a:cubicBezTo>
                      <a:close/>
                      <a:moveTo>
                        <a:pt x="8790" y="4263"/>
                      </a:moveTo>
                      <a:cubicBezTo>
                        <a:pt x="8949" y="4263"/>
                        <a:pt x="9078" y="4131"/>
                        <a:pt x="9078" y="3969"/>
                      </a:cubicBezTo>
                      <a:cubicBezTo>
                        <a:pt x="9078" y="3807"/>
                        <a:pt x="8949" y="3675"/>
                        <a:pt x="8790" y="3675"/>
                      </a:cubicBezTo>
                      <a:cubicBezTo>
                        <a:pt x="8631" y="3675"/>
                        <a:pt x="8503" y="3807"/>
                        <a:pt x="8503" y="3969"/>
                      </a:cubicBezTo>
                      <a:cubicBezTo>
                        <a:pt x="8503" y="4131"/>
                        <a:pt x="8631" y="4263"/>
                        <a:pt x="8790" y="4263"/>
                      </a:cubicBezTo>
                      <a:close/>
                      <a:moveTo>
                        <a:pt x="9514" y="6418"/>
                      </a:moveTo>
                      <a:cubicBezTo>
                        <a:pt x="9649" y="6475"/>
                        <a:pt x="9732" y="6548"/>
                        <a:pt x="9732" y="6629"/>
                      </a:cubicBezTo>
                      <a:cubicBezTo>
                        <a:pt x="9732" y="6745"/>
                        <a:pt x="9561" y="6846"/>
                        <a:pt x="9306" y="6903"/>
                      </a:cubicBezTo>
                      <a:cubicBezTo>
                        <a:pt x="9287" y="6910"/>
                        <a:pt x="9267" y="6915"/>
                        <a:pt x="9245" y="6917"/>
                      </a:cubicBezTo>
                      <a:cubicBezTo>
                        <a:pt x="9240" y="6918"/>
                        <a:pt x="9235" y="6918"/>
                        <a:pt x="9229" y="6918"/>
                      </a:cubicBezTo>
                      <a:cubicBezTo>
                        <a:pt x="9112" y="6939"/>
                        <a:pt x="8983" y="6952"/>
                        <a:pt x="8845" y="6952"/>
                      </a:cubicBezTo>
                      <a:cubicBezTo>
                        <a:pt x="8355" y="6952"/>
                        <a:pt x="7957" y="6807"/>
                        <a:pt x="7957" y="6629"/>
                      </a:cubicBezTo>
                      <a:cubicBezTo>
                        <a:pt x="7957" y="6542"/>
                        <a:pt x="8055" y="6463"/>
                        <a:pt x="8211" y="6405"/>
                      </a:cubicBezTo>
                      <a:lnTo>
                        <a:pt x="8222" y="6252"/>
                      </a:lnTo>
                      <a:cubicBezTo>
                        <a:pt x="7685" y="6340"/>
                        <a:pt x="7308" y="6534"/>
                        <a:pt x="7308" y="6762"/>
                      </a:cubicBezTo>
                      <a:cubicBezTo>
                        <a:pt x="7308" y="7072"/>
                        <a:pt x="8000" y="7324"/>
                        <a:pt x="8854" y="7324"/>
                      </a:cubicBezTo>
                      <a:cubicBezTo>
                        <a:pt x="9708" y="7324"/>
                        <a:pt x="10400" y="7072"/>
                        <a:pt x="10400" y="6762"/>
                      </a:cubicBezTo>
                      <a:cubicBezTo>
                        <a:pt x="10400" y="6535"/>
                        <a:pt x="10027" y="6342"/>
                        <a:pt x="9494" y="6253"/>
                      </a:cubicBezTo>
                      <a:lnTo>
                        <a:pt x="9514" y="6418"/>
                      </a:lnTo>
                      <a:close/>
                      <a:moveTo>
                        <a:pt x="1543" y="4300"/>
                      </a:moveTo>
                      <a:cubicBezTo>
                        <a:pt x="1391" y="4290"/>
                        <a:pt x="994" y="4166"/>
                        <a:pt x="577" y="3770"/>
                      </a:cubicBezTo>
                      <a:cubicBezTo>
                        <a:pt x="528" y="3723"/>
                        <a:pt x="450" y="3725"/>
                        <a:pt x="404" y="3776"/>
                      </a:cubicBezTo>
                      <a:cubicBezTo>
                        <a:pt x="358" y="3826"/>
                        <a:pt x="361" y="3906"/>
                        <a:pt x="411" y="3953"/>
                      </a:cubicBezTo>
                      <a:cubicBezTo>
                        <a:pt x="770" y="4296"/>
                        <a:pt x="1122" y="4456"/>
                        <a:pt x="1355" y="4518"/>
                      </a:cubicBezTo>
                      <a:cubicBezTo>
                        <a:pt x="1355" y="4522"/>
                        <a:pt x="1355" y="4526"/>
                        <a:pt x="1355" y="4530"/>
                      </a:cubicBezTo>
                      <a:lnTo>
                        <a:pt x="1281" y="5459"/>
                      </a:lnTo>
                      <a:cubicBezTo>
                        <a:pt x="1281" y="5460"/>
                        <a:pt x="1282" y="5461"/>
                        <a:pt x="1282" y="5462"/>
                      </a:cubicBezTo>
                      <a:lnTo>
                        <a:pt x="1086" y="6686"/>
                      </a:lnTo>
                      <a:cubicBezTo>
                        <a:pt x="1072" y="6771"/>
                        <a:pt x="1129" y="6852"/>
                        <a:pt x="1212" y="6866"/>
                      </a:cubicBezTo>
                      <a:cubicBezTo>
                        <a:pt x="1221" y="6867"/>
                        <a:pt x="1229" y="6867"/>
                        <a:pt x="1236" y="6867"/>
                      </a:cubicBezTo>
                      <a:cubicBezTo>
                        <a:pt x="1311" y="6867"/>
                        <a:pt x="1376" y="6813"/>
                        <a:pt x="1388" y="6736"/>
                      </a:cubicBezTo>
                      <a:lnTo>
                        <a:pt x="1586" y="5498"/>
                      </a:lnTo>
                      <a:lnTo>
                        <a:pt x="1718" y="6728"/>
                      </a:lnTo>
                      <a:cubicBezTo>
                        <a:pt x="1726" y="6808"/>
                        <a:pt x="1792" y="6867"/>
                        <a:pt x="1870" y="6867"/>
                      </a:cubicBezTo>
                      <a:cubicBezTo>
                        <a:pt x="1875" y="6867"/>
                        <a:pt x="1881" y="6867"/>
                        <a:pt x="1887" y="6867"/>
                      </a:cubicBezTo>
                      <a:cubicBezTo>
                        <a:pt x="1971" y="6857"/>
                        <a:pt x="2032" y="6780"/>
                        <a:pt x="2022" y="6694"/>
                      </a:cubicBezTo>
                      <a:lnTo>
                        <a:pt x="1895" y="5505"/>
                      </a:lnTo>
                      <a:lnTo>
                        <a:pt x="1845" y="4530"/>
                      </a:lnTo>
                      <a:cubicBezTo>
                        <a:pt x="1845" y="4527"/>
                        <a:pt x="1843" y="4523"/>
                        <a:pt x="1843" y="4519"/>
                      </a:cubicBezTo>
                      <a:cubicBezTo>
                        <a:pt x="2082" y="4456"/>
                        <a:pt x="2314" y="4293"/>
                        <a:pt x="2672" y="3953"/>
                      </a:cubicBezTo>
                      <a:cubicBezTo>
                        <a:pt x="2722" y="3906"/>
                        <a:pt x="2725" y="3826"/>
                        <a:pt x="2678" y="3776"/>
                      </a:cubicBezTo>
                      <a:cubicBezTo>
                        <a:pt x="2632" y="3725"/>
                        <a:pt x="2555" y="3722"/>
                        <a:pt x="2505" y="3770"/>
                      </a:cubicBezTo>
                      <a:cubicBezTo>
                        <a:pt x="2058" y="4195"/>
                        <a:pt x="1857" y="4286"/>
                        <a:pt x="1637" y="4301"/>
                      </a:cubicBezTo>
                      <a:lnTo>
                        <a:pt x="1730" y="5088"/>
                      </a:lnTo>
                      <a:lnTo>
                        <a:pt x="1608" y="5217"/>
                      </a:lnTo>
                      <a:lnTo>
                        <a:pt x="1501" y="5088"/>
                      </a:lnTo>
                      <a:lnTo>
                        <a:pt x="1574" y="4302"/>
                      </a:lnTo>
                      <a:cubicBezTo>
                        <a:pt x="1568" y="4303"/>
                        <a:pt x="1562" y="4303"/>
                        <a:pt x="1557" y="4304"/>
                      </a:cubicBezTo>
                      <a:cubicBezTo>
                        <a:pt x="1552" y="4303"/>
                        <a:pt x="1548" y="4300"/>
                        <a:pt x="1543" y="4300"/>
                      </a:cubicBezTo>
                      <a:close/>
                      <a:moveTo>
                        <a:pt x="1898" y="3969"/>
                      </a:moveTo>
                      <a:cubicBezTo>
                        <a:pt x="1898" y="3807"/>
                        <a:pt x="1769" y="3675"/>
                        <a:pt x="1610" y="3675"/>
                      </a:cubicBezTo>
                      <a:cubicBezTo>
                        <a:pt x="1452" y="3675"/>
                        <a:pt x="1323" y="3807"/>
                        <a:pt x="1323" y="3969"/>
                      </a:cubicBezTo>
                      <a:cubicBezTo>
                        <a:pt x="1323" y="4131"/>
                        <a:pt x="1452" y="4263"/>
                        <a:pt x="1610" y="4263"/>
                      </a:cubicBezTo>
                      <a:cubicBezTo>
                        <a:pt x="1769" y="4263"/>
                        <a:pt x="1898" y="4131"/>
                        <a:pt x="1898" y="3969"/>
                      </a:cubicBezTo>
                      <a:close/>
                      <a:moveTo>
                        <a:pt x="906" y="6253"/>
                      </a:moveTo>
                      <a:cubicBezTo>
                        <a:pt x="373" y="6342"/>
                        <a:pt x="0" y="6535"/>
                        <a:pt x="0" y="6762"/>
                      </a:cubicBezTo>
                      <a:cubicBezTo>
                        <a:pt x="0" y="7072"/>
                        <a:pt x="693" y="7324"/>
                        <a:pt x="1547" y="7324"/>
                      </a:cubicBezTo>
                      <a:cubicBezTo>
                        <a:pt x="2401" y="7324"/>
                        <a:pt x="3093" y="7072"/>
                        <a:pt x="3093" y="6762"/>
                      </a:cubicBezTo>
                      <a:cubicBezTo>
                        <a:pt x="3093" y="6534"/>
                        <a:pt x="2716" y="6340"/>
                        <a:pt x="2178" y="6252"/>
                      </a:cubicBezTo>
                      <a:lnTo>
                        <a:pt x="2189" y="6405"/>
                      </a:lnTo>
                      <a:cubicBezTo>
                        <a:pt x="2346" y="6463"/>
                        <a:pt x="2444" y="6542"/>
                        <a:pt x="2444" y="6629"/>
                      </a:cubicBezTo>
                      <a:cubicBezTo>
                        <a:pt x="2444" y="6807"/>
                        <a:pt x="2046" y="6952"/>
                        <a:pt x="1556" y="6952"/>
                      </a:cubicBezTo>
                      <a:cubicBezTo>
                        <a:pt x="1418" y="6952"/>
                        <a:pt x="1289" y="6939"/>
                        <a:pt x="1172" y="6918"/>
                      </a:cubicBezTo>
                      <a:cubicBezTo>
                        <a:pt x="1166" y="6918"/>
                        <a:pt x="1161" y="6918"/>
                        <a:pt x="1155" y="6917"/>
                      </a:cubicBezTo>
                      <a:cubicBezTo>
                        <a:pt x="1134" y="6915"/>
                        <a:pt x="1114" y="6910"/>
                        <a:pt x="1095" y="6903"/>
                      </a:cubicBezTo>
                      <a:cubicBezTo>
                        <a:pt x="840" y="6846"/>
                        <a:pt x="669" y="6745"/>
                        <a:pt x="669" y="6629"/>
                      </a:cubicBezTo>
                      <a:cubicBezTo>
                        <a:pt x="669" y="6548"/>
                        <a:pt x="751" y="6475"/>
                        <a:pt x="887" y="6418"/>
                      </a:cubicBezTo>
                      <a:lnTo>
                        <a:pt x="906" y="6253"/>
                      </a:lnTo>
                      <a:close/>
                    </a:path>
                  </a:pathLst>
                </a:custGeom>
                <a:solidFill>
                  <a:schemeClr val="bg1"/>
                </a:solidFill>
                <a:ln>
                  <a:noFill/>
                </a:ln>
              </p:spPr>
              <p:txBody>
                <a:bodyPr/>
                <a:lstStyle/>
                <a:p>
                  <a:endParaRPr lang="zh-CN" altLang="en-US"/>
                </a:p>
              </p:txBody>
            </p:sp>
          </p:grpSp>
        </p:grpSp>
      </p:grpSp>
    </p:spTree>
    <p:extLst>
      <p:ext uri="{BB962C8B-B14F-4D97-AF65-F5344CB8AC3E}">
        <p14:creationId xmlns:p14="http://schemas.microsoft.com/office/powerpoint/2010/main" val="103511328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9F89B213-B683-46E3-B87F-44ABD690597B}"/>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B3617A4A-63E9-4029-AE19-607B41B096F5}"/>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D15019C4-D6AF-40BE-A1DC-E313A21283CB}"/>
              </a:ext>
            </a:extLst>
          </p:cNvPr>
          <p:cNvSpPr>
            <a:spLocks noGrp="1"/>
          </p:cNvSpPr>
          <p:nvPr>
            <p:ph type="sldNum" sz="quarter" idx="12"/>
          </p:nvPr>
        </p:nvSpPr>
        <p:spPr/>
        <p:txBody>
          <a:bodyPr/>
          <a:lstStyle/>
          <a:p>
            <a:fld id="{5DD3DB80-B894-403A-B48E-6FDC1A72010E}" type="slidenum">
              <a:rPr lang="zh-CN" altLang="en-US" smtClean="0"/>
              <a:pPr/>
              <a:t>31</a:t>
            </a:fld>
            <a:endParaRPr lang="zh-CN" altLang="en-US"/>
          </a:p>
        </p:txBody>
      </p:sp>
      <p:grpSp>
        <p:nvGrpSpPr>
          <p:cNvPr id="5" name="271946"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AF2A3044-3115-4BC5-B347-4EB1798C0A92}"/>
              </a:ext>
            </a:extLst>
          </p:cNvPr>
          <p:cNvGrpSpPr>
            <a:grpSpLocks noChangeAspect="1"/>
          </p:cNvGrpSpPr>
          <p:nvPr/>
        </p:nvGrpSpPr>
        <p:grpSpPr>
          <a:xfrm>
            <a:off x="1778501" y="0"/>
            <a:ext cx="8634998" cy="5843015"/>
            <a:chOff x="1778501" y="0"/>
            <a:chExt cx="8634998" cy="5843015"/>
          </a:xfrm>
        </p:grpSpPr>
        <p:grpSp>
          <p:nvGrpSpPr>
            <p:cNvPr id="6" name="îŝḻîḓe">
              <a:extLst>
                <a:ext uri="{FF2B5EF4-FFF2-40B4-BE49-F238E27FC236}">
                  <a16:creationId xmlns:a16="http://schemas.microsoft.com/office/drawing/2014/main" id="{43602FE7-762E-4206-84C4-886C3D789814}"/>
                </a:ext>
              </a:extLst>
            </p:cNvPr>
            <p:cNvGrpSpPr/>
            <p:nvPr/>
          </p:nvGrpSpPr>
          <p:grpSpPr>
            <a:xfrm>
              <a:off x="1778501" y="0"/>
              <a:ext cx="3880118" cy="5843015"/>
              <a:chOff x="673100" y="0"/>
              <a:chExt cx="3880118" cy="5843015"/>
            </a:xfrm>
          </p:grpSpPr>
          <p:cxnSp>
            <p:nvCxnSpPr>
              <p:cNvPr id="27" name="直接连接符 26">
                <a:extLst>
                  <a:ext uri="{FF2B5EF4-FFF2-40B4-BE49-F238E27FC236}">
                    <a16:creationId xmlns:a16="http://schemas.microsoft.com/office/drawing/2014/main" id="{105D1E8C-393C-4015-AD8B-9605064FF781}"/>
                  </a:ext>
                </a:extLst>
              </p:cNvPr>
              <p:cNvCxnSpPr>
                <a:cxnSpLocks/>
                <a:endCxn id="33" idx="0"/>
              </p:cNvCxnSpPr>
              <p:nvPr/>
            </p:nvCxnSpPr>
            <p:spPr>
              <a:xfrm>
                <a:off x="1185721" y="0"/>
                <a:ext cx="0" cy="4654522"/>
              </a:xfrm>
              <a:prstGeom prst="line">
                <a:avLst/>
              </a:prstGeom>
              <a:ln w="57150" cap="rnd">
                <a:solidFill>
                  <a:schemeClr val="bg1">
                    <a:lumMod val="9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28" name="ïsļîďè">
                <a:extLst>
                  <a:ext uri="{FF2B5EF4-FFF2-40B4-BE49-F238E27FC236}">
                    <a16:creationId xmlns:a16="http://schemas.microsoft.com/office/drawing/2014/main" id="{24D0E5F7-A7A4-4EFA-BDD9-0921F79A22E6}"/>
                  </a:ext>
                </a:extLst>
              </p:cNvPr>
              <p:cNvGrpSpPr/>
              <p:nvPr/>
            </p:nvGrpSpPr>
            <p:grpSpPr>
              <a:xfrm>
                <a:off x="673100" y="1356745"/>
                <a:ext cx="3880118" cy="1359022"/>
                <a:chOff x="673100" y="1356745"/>
                <a:chExt cx="3880118" cy="1359022"/>
              </a:xfrm>
            </p:grpSpPr>
            <p:sp>
              <p:nvSpPr>
                <p:cNvPr id="41" name="ïṡlïďè">
                  <a:extLst>
                    <a:ext uri="{FF2B5EF4-FFF2-40B4-BE49-F238E27FC236}">
                      <a16:creationId xmlns:a16="http://schemas.microsoft.com/office/drawing/2014/main" id="{343AA5AF-E113-4467-9A85-D76F5B6C62AB}"/>
                    </a:ext>
                  </a:extLst>
                </p:cNvPr>
                <p:cNvSpPr/>
                <p:nvPr/>
              </p:nvSpPr>
              <p:spPr bwMode="auto">
                <a:xfrm>
                  <a:off x="673100" y="1359708"/>
                  <a:ext cx="245468" cy="476018"/>
                </a:xfrm>
                <a:custGeom>
                  <a:avLst/>
                  <a:gdLst>
                    <a:gd name="connsiteX0" fmla="*/ 159127 w 313668"/>
                    <a:gd name="connsiteY0" fmla="*/ 411396 h 608274"/>
                    <a:gd name="connsiteX1" fmla="*/ 159127 w 313668"/>
                    <a:gd name="connsiteY1" fmla="*/ 577440 h 608274"/>
                    <a:gd name="connsiteX2" fmla="*/ 128336 w 313668"/>
                    <a:gd name="connsiteY2" fmla="*/ 608274 h 608274"/>
                    <a:gd name="connsiteX3" fmla="*/ 97453 w 313668"/>
                    <a:gd name="connsiteY3" fmla="*/ 577440 h 608274"/>
                    <a:gd name="connsiteX4" fmla="*/ 97453 w 313668"/>
                    <a:gd name="connsiteY4" fmla="*/ 458706 h 608274"/>
                    <a:gd name="connsiteX5" fmla="*/ 128221 w 313668"/>
                    <a:gd name="connsiteY5" fmla="*/ 306395 h 608274"/>
                    <a:gd name="connsiteX6" fmla="*/ 168122 w 313668"/>
                    <a:gd name="connsiteY6" fmla="*/ 358410 h 608274"/>
                    <a:gd name="connsiteX7" fmla="*/ 171347 w 313668"/>
                    <a:gd name="connsiteY7" fmla="*/ 370377 h 608274"/>
                    <a:gd name="connsiteX8" fmla="*/ 165173 w 313668"/>
                    <a:gd name="connsiteY8" fmla="*/ 381149 h 608274"/>
                    <a:gd name="connsiteX9" fmla="*/ 71917 w 313668"/>
                    <a:gd name="connsiteY9" fmla="*/ 452588 h 608274"/>
                    <a:gd name="connsiteX10" fmla="*/ 62057 w 313668"/>
                    <a:gd name="connsiteY10" fmla="*/ 455994 h 608274"/>
                    <a:gd name="connsiteX11" fmla="*/ 49156 w 313668"/>
                    <a:gd name="connsiteY11" fmla="*/ 449642 h 608274"/>
                    <a:gd name="connsiteX12" fmla="*/ 3357 w 313668"/>
                    <a:gd name="connsiteY12" fmla="*/ 390079 h 608274"/>
                    <a:gd name="connsiteX13" fmla="*/ 132 w 313668"/>
                    <a:gd name="connsiteY13" fmla="*/ 378019 h 608274"/>
                    <a:gd name="connsiteX14" fmla="*/ 6398 w 313668"/>
                    <a:gd name="connsiteY14" fmla="*/ 367339 h 608274"/>
                    <a:gd name="connsiteX15" fmla="*/ 9162 w 313668"/>
                    <a:gd name="connsiteY15" fmla="*/ 365130 h 608274"/>
                    <a:gd name="connsiteX16" fmla="*/ 43904 w 313668"/>
                    <a:gd name="connsiteY16" fmla="*/ 407754 h 608274"/>
                    <a:gd name="connsiteX17" fmla="*/ 59661 w 313668"/>
                    <a:gd name="connsiteY17" fmla="*/ 410240 h 608274"/>
                    <a:gd name="connsiteX18" fmla="*/ 107948 w 313668"/>
                    <a:gd name="connsiteY18" fmla="*/ 375165 h 608274"/>
                    <a:gd name="connsiteX19" fmla="*/ 126009 w 313668"/>
                    <a:gd name="connsiteY19" fmla="*/ 319836 h 608274"/>
                    <a:gd name="connsiteX20" fmla="*/ 128221 w 313668"/>
                    <a:gd name="connsiteY20" fmla="*/ 306395 h 608274"/>
                    <a:gd name="connsiteX21" fmla="*/ 163534 w 313668"/>
                    <a:gd name="connsiteY21" fmla="*/ 163741 h 608274"/>
                    <a:gd name="connsiteX22" fmla="*/ 160861 w 313668"/>
                    <a:gd name="connsiteY22" fmla="*/ 166411 h 608274"/>
                    <a:gd name="connsiteX23" fmla="*/ 160861 w 313668"/>
                    <a:gd name="connsiteY23" fmla="*/ 185098 h 608274"/>
                    <a:gd name="connsiteX24" fmla="*/ 163534 w 313668"/>
                    <a:gd name="connsiteY24" fmla="*/ 187767 h 608274"/>
                    <a:gd name="connsiteX25" fmla="*/ 179484 w 313668"/>
                    <a:gd name="connsiteY25" fmla="*/ 187767 h 608274"/>
                    <a:gd name="connsiteX26" fmla="*/ 182157 w 313668"/>
                    <a:gd name="connsiteY26" fmla="*/ 185098 h 608274"/>
                    <a:gd name="connsiteX27" fmla="*/ 182157 w 313668"/>
                    <a:gd name="connsiteY27" fmla="*/ 166411 h 608274"/>
                    <a:gd name="connsiteX28" fmla="*/ 179484 w 313668"/>
                    <a:gd name="connsiteY28" fmla="*/ 163741 h 608274"/>
                    <a:gd name="connsiteX29" fmla="*/ 131358 w 313668"/>
                    <a:gd name="connsiteY29" fmla="*/ 155456 h 608274"/>
                    <a:gd name="connsiteX30" fmla="*/ 211383 w 313668"/>
                    <a:gd name="connsiteY30" fmla="*/ 155456 h 608274"/>
                    <a:gd name="connsiteX31" fmla="*/ 260338 w 313668"/>
                    <a:gd name="connsiteY31" fmla="*/ 190989 h 608274"/>
                    <a:gd name="connsiteX32" fmla="*/ 312151 w 313668"/>
                    <a:gd name="connsiteY32" fmla="*/ 350060 h 608274"/>
                    <a:gd name="connsiteX33" fmla="*/ 292606 w 313668"/>
                    <a:gd name="connsiteY33" fmla="*/ 388447 h 608274"/>
                    <a:gd name="connsiteX34" fmla="*/ 283110 w 313668"/>
                    <a:gd name="connsiteY34" fmla="*/ 389920 h 608274"/>
                    <a:gd name="connsiteX35" fmla="*/ 254069 w 313668"/>
                    <a:gd name="connsiteY35" fmla="*/ 368931 h 608274"/>
                    <a:gd name="connsiteX36" fmla="*/ 245310 w 313668"/>
                    <a:gd name="connsiteY36" fmla="*/ 341867 h 608274"/>
                    <a:gd name="connsiteX37" fmla="*/ 245310 w 313668"/>
                    <a:gd name="connsiteY37" fmla="*/ 383108 h 608274"/>
                    <a:gd name="connsiteX38" fmla="*/ 245310 w 313668"/>
                    <a:gd name="connsiteY38" fmla="*/ 577436 h 608274"/>
                    <a:gd name="connsiteX39" fmla="*/ 214425 w 313668"/>
                    <a:gd name="connsiteY39" fmla="*/ 608274 h 608274"/>
                    <a:gd name="connsiteX40" fmla="*/ 183540 w 313668"/>
                    <a:gd name="connsiteY40" fmla="*/ 577436 h 608274"/>
                    <a:gd name="connsiteX41" fmla="*/ 183540 w 313668"/>
                    <a:gd name="connsiteY41" fmla="*/ 391301 h 608274"/>
                    <a:gd name="connsiteX42" fmla="*/ 191561 w 313668"/>
                    <a:gd name="connsiteY42" fmla="*/ 373074 h 608274"/>
                    <a:gd name="connsiteX43" fmla="*/ 184278 w 313668"/>
                    <a:gd name="connsiteY43" fmla="*/ 346102 h 608274"/>
                    <a:gd name="connsiteX44" fmla="*/ 181789 w 313668"/>
                    <a:gd name="connsiteY44" fmla="*/ 342788 h 608274"/>
                    <a:gd name="connsiteX45" fmla="*/ 197646 w 313668"/>
                    <a:gd name="connsiteY45" fmla="*/ 323825 h 608274"/>
                    <a:gd name="connsiteX46" fmla="*/ 201242 w 313668"/>
                    <a:gd name="connsiteY46" fmla="*/ 310661 h 608274"/>
                    <a:gd name="connsiteX47" fmla="*/ 185015 w 313668"/>
                    <a:gd name="connsiteY47" fmla="*/ 216396 h 608274"/>
                    <a:gd name="connsiteX48" fmla="*/ 182526 w 313668"/>
                    <a:gd name="connsiteY48" fmla="*/ 201760 h 608274"/>
                    <a:gd name="connsiteX49" fmla="*/ 179853 w 313668"/>
                    <a:gd name="connsiteY49" fmla="*/ 199550 h 608274"/>
                    <a:gd name="connsiteX50" fmla="*/ 162797 w 313668"/>
                    <a:gd name="connsiteY50" fmla="*/ 199550 h 608274"/>
                    <a:gd name="connsiteX51" fmla="*/ 160123 w 313668"/>
                    <a:gd name="connsiteY51" fmla="*/ 201760 h 608274"/>
                    <a:gd name="connsiteX52" fmla="*/ 157634 w 313668"/>
                    <a:gd name="connsiteY52" fmla="*/ 216396 h 608274"/>
                    <a:gd name="connsiteX53" fmla="*/ 144266 w 313668"/>
                    <a:gd name="connsiteY53" fmla="*/ 293999 h 608274"/>
                    <a:gd name="connsiteX54" fmla="*/ 138550 w 313668"/>
                    <a:gd name="connsiteY54" fmla="*/ 286450 h 608274"/>
                    <a:gd name="connsiteX55" fmla="*/ 119650 w 313668"/>
                    <a:gd name="connsiteY55" fmla="*/ 273747 h 608274"/>
                    <a:gd name="connsiteX56" fmla="*/ 119189 w 313668"/>
                    <a:gd name="connsiteY56" fmla="*/ 275127 h 608274"/>
                    <a:gd name="connsiteX57" fmla="*/ 88580 w 313668"/>
                    <a:gd name="connsiteY57" fmla="*/ 368931 h 608274"/>
                    <a:gd name="connsiteX58" fmla="*/ 50135 w 313668"/>
                    <a:gd name="connsiteY58" fmla="*/ 388447 h 608274"/>
                    <a:gd name="connsiteX59" fmla="*/ 30590 w 313668"/>
                    <a:gd name="connsiteY59" fmla="*/ 350060 h 608274"/>
                    <a:gd name="connsiteX60" fmla="*/ 61107 w 313668"/>
                    <a:gd name="connsiteY60" fmla="*/ 256256 h 608274"/>
                    <a:gd name="connsiteX61" fmla="*/ 82403 w 313668"/>
                    <a:gd name="connsiteY61" fmla="*/ 190989 h 608274"/>
                    <a:gd name="connsiteX62" fmla="*/ 131358 w 313668"/>
                    <a:gd name="connsiteY62" fmla="*/ 155456 h 608274"/>
                    <a:gd name="connsiteX63" fmla="*/ 171336 w 313668"/>
                    <a:gd name="connsiteY63" fmla="*/ 0 h 608274"/>
                    <a:gd name="connsiteX64" fmla="*/ 238585 w 313668"/>
                    <a:gd name="connsiteY64" fmla="*/ 67108 h 608274"/>
                    <a:gd name="connsiteX65" fmla="*/ 171336 w 313668"/>
                    <a:gd name="connsiteY65" fmla="*/ 134216 h 608274"/>
                    <a:gd name="connsiteX66" fmla="*/ 104087 w 313668"/>
                    <a:gd name="connsiteY66" fmla="*/ 67108 h 608274"/>
                    <a:gd name="connsiteX67" fmla="*/ 171336 w 313668"/>
                    <a:gd name="connsiteY67" fmla="*/ 0 h 60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3668" h="608274">
                      <a:moveTo>
                        <a:pt x="159127" y="411396"/>
                      </a:moveTo>
                      <a:lnTo>
                        <a:pt x="159127" y="577440"/>
                      </a:lnTo>
                      <a:cubicBezTo>
                        <a:pt x="159127" y="594468"/>
                        <a:pt x="145391" y="608274"/>
                        <a:pt x="128336" y="608274"/>
                      </a:cubicBezTo>
                      <a:cubicBezTo>
                        <a:pt x="111282" y="608274"/>
                        <a:pt x="97453" y="594468"/>
                        <a:pt x="97453" y="577440"/>
                      </a:cubicBezTo>
                      <a:lnTo>
                        <a:pt x="97453" y="458706"/>
                      </a:lnTo>
                      <a:close/>
                      <a:moveTo>
                        <a:pt x="128221" y="306395"/>
                      </a:moveTo>
                      <a:lnTo>
                        <a:pt x="168122" y="358410"/>
                      </a:lnTo>
                      <a:cubicBezTo>
                        <a:pt x="170794" y="361816"/>
                        <a:pt x="171900" y="366143"/>
                        <a:pt x="171347" y="370377"/>
                      </a:cubicBezTo>
                      <a:cubicBezTo>
                        <a:pt x="170794" y="374612"/>
                        <a:pt x="168583" y="378479"/>
                        <a:pt x="165173" y="381149"/>
                      </a:cubicBezTo>
                      <a:lnTo>
                        <a:pt x="71917" y="452588"/>
                      </a:lnTo>
                      <a:cubicBezTo>
                        <a:pt x="68968" y="454889"/>
                        <a:pt x="65467" y="455994"/>
                        <a:pt x="62057" y="455994"/>
                      </a:cubicBezTo>
                      <a:cubicBezTo>
                        <a:pt x="57173" y="455994"/>
                        <a:pt x="52289" y="453785"/>
                        <a:pt x="49156" y="449642"/>
                      </a:cubicBezTo>
                      <a:lnTo>
                        <a:pt x="3357" y="390079"/>
                      </a:lnTo>
                      <a:cubicBezTo>
                        <a:pt x="777" y="386672"/>
                        <a:pt x="-421" y="382345"/>
                        <a:pt x="132" y="378019"/>
                      </a:cubicBezTo>
                      <a:cubicBezTo>
                        <a:pt x="685" y="373784"/>
                        <a:pt x="2988" y="369917"/>
                        <a:pt x="6398" y="367339"/>
                      </a:cubicBezTo>
                      <a:lnTo>
                        <a:pt x="9162" y="365130"/>
                      </a:lnTo>
                      <a:cubicBezTo>
                        <a:pt x="11374" y="384279"/>
                        <a:pt x="24367" y="401402"/>
                        <a:pt x="43904" y="407754"/>
                      </a:cubicBezTo>
                      <a:cubicBezTo>
                        <a:pt x="49064" y="409411"/>
                        <a:pt x="54409" y="410240"/>
                        <a:pt x="59661" y="410240"/>
                      </a:cubicBezTo>
                      <a:cubicBezTo>
                        <a:pt x="81040" y="410240"/>
                        <a:pt x="100945" y="396615"/>
                        <a:pt x="107948" y="375165"/>
                      </a:cubicBezTo>
                      <a:lnTo>
                        <a:pt x="126009" y="319836"/>
                      </a:lnTo>
                      <a:cubicBezTo>
                        <a:pt x="127484" y="315325"/>
                        <a:pt x="128037" y="310906"/>
                        <a:pt x="128221" y="306395"/>
                      </a:cubicBezTo>
                      <a:close/>
                      <a:moveTo>
                        <a:pt x="163534" y="163741"/>
                      </a:moveTo>
                      <a:cubicBezTo>
                        <a:pt x="162059" y="163741"/>
                        <a:pt x="160861" y="164938"/>
                        <a:pt x="160861" y="166411"/>
                      </a:cubicBezTo>
                      <a:lnTo>
                        <a:pt x="160861" y="185098"/>
                      </a:lnTo>
                      <a:cubicBezTo>
                        <a:pt x="160861" y="186571"/>
                        <a:pt x="162059" y="187767"/>
                        <a:pt x="163534" y="187767"/>
                      </a:cubicBezTo>
                      <a:lnTo>
                        <a:pt x="179484" y="187767"/>
                      </a:lnTo>
                      <a:cubicBezTo>
                        <a:pt x="180959" y="187767"/>
                        <a:pt x="182157" y="186571"/>
                        <a:pt x="182157" y="185098"/>
                      </a:cubicBezTo>
                      <a:lnTo>
                        <a:pt x="182157" y="166411"/>
                      </a:lnTo>
                      <a:cubicBezTo>
                        <a:pt x="182157" y="164938"/>
                        <a:pt x="180959" y="163741"/>
                        <a:pt x="179484" y="163741"/>
                      </a:cubicBezTo>
                      <a:close/>
                      <a:moveTo>
                        <a:pt x="131358" y="155456"/>
                      </a:moveTo>
                      <a:lnTo>
                        <a:pt x="211383" y="155456"/>
                      </a:lnTo>
                      <a:cubicBezTo>
                        <a:pt x="233694" y="155456"/>
                        <a:pt x="253424" y="169725"/>
                        <a:pt x="260338" y="190989"/>
                      </a:cubicBezTo>
                      <a:lnTo>
                        <a:pt x="312151" y="350060"/>
                      </a:lnTo>
                      <a:cubicBezTo>
                        <a:pt x="317406" y="366078"/>
                        <a:pt x="308556" y="383292"/>
                        <a:pt x="292606" y="388447"/>
                      </a:cubicBezTo>
                      <a:cubicBezTo>
                        <a:pt x="289471" y="389460"/>
                        <a:pt x="286245" y="389920"/>
                        <a:pt x="283110" y="389920"/>
                      </a:cubicBezTo>
                      <a:cubicBezTo>
                        <a:pt x="270295" y="389920"/>
                        <a:pt x="258310" y="381819"/>
                        <a:pt x="254069" y="368931"/>
                      </a:cubicBezTo>
                      <a:lnTo>
                        <a:pt x="245310" y="341867"/>
                      </a:lnTo>
                      <a:lnTo>
                        <a:pt x="245310" y="383108"/>
                      </a:lnTo>
                      <a:lnTo>
                        <a:pt x="245310" y="577436"/>
                      </a:lnTo>
                      <a:cubicBezTo>
                        <a:pt x="245310" y="594466"/>
                        <a:pt x="231481" y="608274"/>
                        <a:pt x="214425" y="608274"/>
                      </a:cubicBezTo>
                      <a:cubicBezTo>
                        <a:pt x="197369" y="608274"/>
                        <a:pt x="183540" y="594466"/>
                        <a:pt x="183540" y="577436"/>
                      </a:cubicBezTo>
                      <a:lnTo>
                        <a:pt x="183540" y="391301"/>
                      </a:lnTo>
                      <a:cubicBezTo>
                        <a:pt x="187873" y="386146"/>
                        <a:pt x="190639" y="379886"/>
                        <a:pt x="191561" y="373074"/>
                      </a:cubicBezTo>
                      <a:cubicBezTo>
                        <a:pt x="192852" y="363316"/>
                        <a:pt x="190271" y="353742"/>
                        <a:pt x="184278" y="346102"/>
                      </a:cubicBezTo>
                      <a:lnTo>
                        <a:pt x="181789" y="342788"/>
                      </a:lnTo>
                      <a:lnTo>
                        <a:pt x="197646" y="323825"/>
                      </a:lnTo>
                      <a:cubicBezTo>
                        <a:pt x="200688" y="320142"/>
                        <a:pt x="201979" y="315355"/>
                        <a:pt x="201242" y="310661"/>
                      </a:cubicBezTo>
                      <a:lnTo>
                        <a:pt x="185015" y="216396"/>
                      </a:lnTo>
                      <a:lnTo>
                        <a:pt x="182526" y="201760"/>
                      </a:lnTo>
                      <a:cubicBezTo>
                        <a:pt x="182250" y="200471"/>
                        <a:pt x="181143" y="199550"/>
                        <a:pt x="179853" y="199550"/>
                      </a:cubicBezTo>
                      <a:lnTo>
                        <a:pt x="162797" y="199550"/>
                      </a:lnTo>
                      <a:cubicBezTo>
                        <a:pt x="161506" y="199550"/>
                        <a:pt x="160400" y="200471"/>
                        <a:pt x="160123" y="201760"/>
                      </a:cubicBezTo>
                      <a:lnTo>
                        <a:pt x="157634" y="216396"/>
                      </a:lnTo>
                      <a:lnTo>
                        <a:pt x="144266" y="293999"/>
                      </a:lnTo>
                      <a:lnTo>
                        <a:pt x="138550" y="286450"/>
                      </a:lnTo>
                      <a:cubicBezTo>
                        <a:pt x="133663" y="280191"/>
                        <a:pt x="127025" y="275864"/>
                        <a:pt x="119650" y="273747"/>
                      </a:cubicBezTo>
                      <a:lnTo>
                        <a:pt x="119189" y="275127"/>
                      </a:lnTo>
                      <a:lnTo>
                        <a:pt x="88580" y="368931"/>
                      </a:lnTo>
                      <a:cubicBezTo>
                        <a:pt x="83418" y="384949"/>
                        <a:pt x="66177" y="393694"/>
                        <a:pt x="50135" y="388447"/>
                      </a:cubicBezTo>
                      <a:cubicBezTo>
                        <a:pt x="34094" y="383200"/>
                        <a:pt x="25335" y="366078"/>
                        <a:pt x="30590" y="350060"/>
                      </a:cubicBezTo>
                      <a:lnTo>
                        <a:pt x="61107" y="256256"/>
                      </a:lnTo>
                      <a:lnTo>
                        <a:pt x="82403" y="190989"/>
                      </a:lnTo>
                      <a:cubicBezTo>
                        <a:pt x="89318" y="169725"/>
                        <a:pt x="108955" y="155456"/>
                        <a:pt x="131358" y="155456"/>
                      </a:cubicBezTo>
                      <a:close/>
                      <a:moveTo>
                        <a:pt x="171336" y="0"/>
                      </a:moveTo>
                      <a:cubicBezTo>
                        <a:pt x="208477" y="0"/>
                        <a:pt x="238585" y="30045"/>
                        <a:pt x="238585" y="67108"/>
                      </a:cubicBezTo>
                      <a:cubicBezTo>
                        <a:pt x="238585" y="104171"/>
                        <a:pt x="208477" y="134216"/>
                        <a:pt x="171336" y="134216"/>
                      </a:cubicBezTo>
                      <a:cubicBezTo>
                        <a:pt x="134195" y="134216"/>
                        <a:pt x="104087" y="104171"/>
                        <a:pt x="104087" y="67108"/>
                      </a:cubicBezTo>
                      <a:cubicBezTo>
                        <a:pt x="104087" y="30045"/>
                        <a:pt x="134195" y="0"/>
                        <a:pt x="171336" y="0"/>
                      </a:cubicBezTo>
                      <a:close/>
                    </a:path>
                  </a:pathLst>
                </a:custGeom>
                <a:solidFill>
                  <a:schemeClr val="accent1"/>
                </a:solidFill>
                <a:ln>
                  <a:noFill/>
                </a:ln>
              </p:spPr>
              <p:txBody>
                <a:bodyPr wrap="square" lIns="91440" tIns="45720" rIns="91440" bIns="45720" anchor="ctr">
                  <a:noAutofit/>
                </a:bodyPr>
                <a:lstStyle/>
                <a:p>
                  <a:pPr algn="ctr"/>
                  <a:endParaRPr/>
                </a:p>
              </p:txBody>
            </p:sp>
            <p:grpSp>
              <p:nvGrpSpPr>
                <p:cNvPr id="42" name="í$ľíḑè">
                  <a:extLst>
                    <a:ext uri="{FF2B5EF4-FFF2-40B4-BE49-F238E27FC236}">
                      <a16:creationId xmlns:a16="http://schemas.microsoft.com/office/drawing/2014/main" id="{E22228F5-ACB7-4556-8BAC-F24E7998CC95}"/>
                    </a:ext>
                  </a:extLst>
                </p:cNvPr>
                <p:cNvGrpSpPr/>
                <p:nvPr/>
              </p:nvGrpSpPr>
              <p:grpSpPr>
                <a:xfrm>
                  <a:off x="1300995" y="1356745"/>
                  <a:ext cx="3252223" cy="1359022"/>
                  <a:chOff x="1712969" y="1356745"/>
                  <a:chExt cx="3252223" cy="1359022"/>
                </a:xfrm>
              </p:grpSpPr>
              <p:sp>
                <p:nvSpPr>
                  <p:cNvPr id="44" name="iṥlïḑe">
                    <a:extLst>
                      <a:ext uri="{FF2B5EF4-FFF2-40B4-BE49-F238E27FC236}">
                        <a16:creationId xmlns:a16="http://schemas.microsoft.com/office/drawing/2014/main" id="{7AE918D5-7FF8-4350-AC62-7ADCF11FF0EA}"/>
                      </a:ext>
                    </a:extLst>
                  </p:cNvPr>
                  <p:cNvSpPr txBox="1"/>
                  <p:nvPr/>
                </p:nvSpPr>
                <p:spPr>
                  <a:xfrm>
                    <a:off x="1712970" y="1356745"/>
                    <a:ext cx="3252218" cy="449700"/>
                  </a:xfrm>
                  <a:prstGeom prst="rect">
                    <a:avLst/>
                  </a:prstGeom>
                  <a:noFill/>
                </p:spPr>
                <p:txBody>
                  <a:bodyPr wrap="square" lIns="91440" tIns="45720" rIns="91440" bIns="45720" anchor="ctr" anchorCtr="0">
                    <a:normAutofit/>
                  </a:bodyPr>
                  <a:lstStyle/>
                  <a:p>
                    <a:r>
                      <a:rPr lang="en-US" altLang="zh-CN" b="1"/>
                      <a:t>Text here</a:t>
                    </a:r>
                    <a:endParaRPr lang="zh-CN" altLang="en-US" b="1" dirty="0"/>
                  </a:p>
                </p:txBody>
              </p:sp>
              <p:sp>
                <p:nvSpPr>
                  <p:cNvPr id="45" name="išlïḍê">
                    <a:extLst>
                      <a:ext uri="{FF2B5EF4-FFF2-40B4-BE49-F238E27FC236}">
                        <a16:creationId xmlns:a16="http://schemas.microsoft.com/office/drawing/2014/main" id="{987CF347-E4F3-42FB-9F14-564DF434EB9B}"/>
                      </a:ext>
                    </a:extLst>
                  </p:cNvPr>
                  <p:cNvSpPr txBox="1"/>
                  <p:nvPr/>
                </p:nvSpPr>
                <p:spPr>
                  <a:xfrm>
                    <a:off x="1712969" y="1806444"/>
                    <a:ext cx="3252223" cy="909323"/>
                  </a:xfrm>
                  <a:prstGeom prst="rect">
                    <a:avLst/>
                  </a:prstGeom>
                  <a:noFill/>
                </p:spPr>
                <p:txBody>
                  <a:bodyPr wrap="square" lIns="91440" tIns="45720" rIns="91440" bIns="45720" anchor="t" anchorCtr="0">
                    <a:normAutofit/>
                  </a:bodyPr>
                  <a:lstStyle/>
                  <a:p>
                    <a:pPr>
                      <a:lnSpc>
                        <a:spcPct val="130000"/>
                      </a:lnSpc>
                    </a:pPr>
                    <a:r>
                      <a:rPr lang="en-US" altLang="zh-CN" sz="1100"/>
                      <a:t>Copy paste fonts. Choose the only option to retain text.</a:t>
                    </a:r>
                  </a:p>
                  <a:p>
                    <a:pPr>
                      <a:lnSpc>
                        <a:spcPct val="130000"/>
                      </a:lnSpc>
                    </a:pPr>
                    <a:r>
                      <a:rPr lang="en-US" altLang="zh-CN" sz="1100"/>
                      <a:t>……</a:t>
                    </a:r>
                    <a:endParaRPr lang="en-US" altLang="zh-CN" sz="1100" dirty="0"/>
                  </a:p>
                </p:txBody>
              </p:sp>
            </p:grpSp>
            <p:sp>
              <p:nvSpPr>
                <p:cNvPr id="43" name="íş1iḑé">
                  <a:extLst>
                    <a:ext uri="{FF2B5EF4-FFF2-40B4-BE49-F238E27FC236}">
                      <a16:creationId xmlns:a16="http://schemas.microsoft.com/office/drawing/2014/main" id="{8CA8CE55-C555-4D61-B654-E0B1AC622CD4}"/>
                    </a:ext>
                  </a:extLst>
                </p:cNvPr>
                <p:cNvSpPr/>
                <p:nvPr/>
              </p:nvSpPr>
              <p:spPr bwMode="auto">
                <a:xfrm>
                  <a:off x="1115278" y="1527274"/>
                  <a:ext cx="140886" cy="140886"/>
                </a:xfrm>
                <a:prstGeom prst="ellipse">
                  <a:avLst/>
                </a:prstGeom>
                <a:solidFill>
                  <a:schemeClr val="accent1"/>
                </a:solidFill>
                <a:ln w="19050">
                  <a:solidFill>
                    <a:schemeClr val="bg1"/>
                  </a:solidFill>
                  <a:round/>
                  <a:headEnd/>
                  <a:tailEnd/>
                </a:ln>
              </p:spPr>
              <p:txBody>
                <a:bodyPr wrap="square" lIns="91440" tIns="45720" rIns="91440" bIns="45720" anchor="ctr">
                  <a:noAutofit/>
                </a:bodyPr>
                <a:lstStyle/>
                <a:p>
                  <a:pPr algn="ctr"/>
                  <a:endParaRPr/>
                </a:p>
              </p:txBody>
            </p:sp>
          </p:grpSp>
          <p:grpSp>
            <p:nvGrpSpPr>
              <p:cNvPr id="29" name="íŝ1îḓe">
                <a:extLst>
                  <a:ext uri="{FF2B5EF4-FFF2-40B4-BE49-F238E27FC236}">
                    <a16:creationId xmlns:a16="http://schemas.microsoft.com/office/drawing/2014/main" id="{874BBC55-1C8D-4B77-8FEA-9FA9EF94E52D}"/>
                  </a:ext>
                </a:extLst>
              </p:cNvPr>
              <p:cNvGrpSpPr/>
              <p:nvPr/>
            </p:nvGrpSpPr>
            <p:grpSpPr>
              <a:xfrm>
                <a:off x="673100" y="2920369"/>
                <a:ext cx="3880118" cy="1359022"/>
                <a:chOff x="673100" y="1356745"/>
                <a:chExt cx="3880118" cy="1359022"/>
              </a:xfrm>
            </p:grpSpPr>
            <p:sp>
              <p:nvSpPr>
                <p:cNvPr id="36" name="iṥḻïdè">
                  <a:extLst>
                    <a:ext uri="{FF2B5EF4-FFF2-40B4-BE49-F238E27FC236}">
                      <a16:creationId xmlns:a16="http://schemas.microsoft.com/office/drawing/2014/main" id="{E44D5258-84A5-4F5D-83EC-3C3F34F6A6C2}"/>
                    </a:ext>
                  </a:extLst>
                </p:cNvPr>
                <p:cNvSpPr/>
                <p:nvPr/>
              </p:nvSpPr>
              <p:spPr bwMode="auto">
                <a:xfrm>
                  <a:off x="673100" y="1359708"/>
                  <a:ext cx="245468" cy="476018"/>
                </a:xfrm>
                <a:custGeom>
                  <a:avLst/>
                  <a:gdLst>
                    <a:gd name="connsiteX0" fmla="*/ 159127 w 313668"/>
                    <a:gd name="connsiteY0" fmla="*/ 411396 h 608274"/>
                    <a:gd name="connsiteX1" fmla="*/ 159127 w 313668"/>
                    <a:gd name="connsiteY1" fmla="*/ 577440 h 608274"/>
                    <a:gd name="connsiteX2" fmla="*/ 128336 w 313668"/>
                    <a:gd name="connsiteY2" fmla="*/ 608274 h 608274"/>
                    <a:gd name="connsiteX3" fmla="*/ 97453 w 313668"/>
                    <a:gd name="connsiteY3" fmla="*/ 577440 h 608274"/>
                    <a:gd name="connsiteX4" fmla="*/ 97453 w 313668"/>
                    <a:gd name="connsiteY4" fmla="*/ 458706 h 608274"/>
                    <a:gd name="connsiteX5" fmla="*/ 128221 w 313668"/>
                    <a:gd name="connsiteY5" fmla="*/ 306395 h 608274"/>
                    <a:gd name="connsiteX6" fmla="*/ 168122 w 313668"/>
                    <a:gd name="connsiteY6" fmla="*/ 358410 h 608274"/>
                    <a:gd name="connsiteX7" fmla="*/ 171347 w 313668"/>
                    <a:gd name="connsiteY7" fmla="*/ 370377 h 608274"/>
                    <a:gd name="connsiteX8" fmla="*/ 165173 w 313668"/>
                    <a:gd name="connsiteY8" fmla="*/ 381149 h 608274"/>
                    <a:gd name="connsiteX9" fmla="*/ 71917 w 313668"/>
                    <a:gd name="connsiteY9" fmla="*/ 452588 h 608274"/>
                    <a:gd name="connsiteX10" fmla="*/ 62057 w 313668"/>
                    <a:gd name="connsiteY10" fmla="*/ 455994 h 608274"/>
                    <a:gd name="connsiteX11" fmla="*/ 49156 w 313668"/>
                    <a:gd name="connsiteY11" fmla="*/ 449642 h 608274"/>
                    <a:gd name="connsiteX12" fmla="*/ 3357 w 313668"/>
                    <a:gd name="connsiteY12" fmla="*/ 390079 h 608274"/>
                    <a:gd name="connsiteX13" fmla="*/ 132 w 313668"/>
                    <a:gd name="connsiteY13" fmla="*/ 378019 h 608274"/>
                    <a:gd name="connsiteX14" fmla="*/ 6398 w 313668"/>
                    <a:gd name="connsiteY14" fmla="*/ 367339 h 608274"/>
                    <a:gd name="connsiteX15" fmla="*/ 9162 w 313668"/>
                    <a:gd name="connsiteY15" fmla="*/ 365130 h 608274"/>
                    <a:gd name="connsiteX16" fmla="*/ 43904 w 313668"/>
                    <a:gd name="connsiteY16" fmla="*/ 407754 h 608274"/>
                    <a:gd name="connsiteX17" fmla="*/ 59661 w 313668"/>
                    <a:gd name="connsiteY17" fmla="*/ 410240 h 608274"/>
                    <a:gd name="connsiteX18" fmla="*/ 107948 w 313668"/>
                    <a:gd name="connsiteY18" fmla="*/ 375165 h 608274"/>
                    <a:gd name="connsiteX19" fmla="*/ 126009 w 313668"/>
                    <a:gd name="connsiteY19" fmla="*/ 319836 h 608274"/>
                    <a:gd name="connsiteX20" fmla="*/ 128221 w 313668"/>
                    <a:gd name="connsiteY20" fmla="*/ 306395 h 608274"/>
                    <a:gd name="connsiteX21" fmla="*/ 163534 w 313668"/>
                    <a:gd name="connsiteY21" fmla="*/ 163741 h 608274"/>
                    <a:gd name="connsiteX22" fmla="*/ 160861 w 313668"/>
                    <a:gd name="connsiteY22" fmla="*/ 166411 h 608274"/>
                    <a:gd name="connsiteX23" fmla="*/ 160861 w 313668"/>
                    <a:gd name="connsiteY23" fmla="*/ 185098 h 608274"/>
                    <a:gd name="connsiteX24" fmla="*/ 163534 w 313668"/>
                    <a:gd name="connsiteY24" fmla="*/ 187767 h 608274"/>
                    <a:gd name="connsiteX25" fmla="*/ 179484 w 313668"/>
                    <a:gd name="connsiteY25" fmla="*/ 187767 h 608274"/>
                    <a:gd name="connsiteX26" fmla="*/ 182157 w 313668"/>
                    <a:gd name="connsiteY26" fmla="*/ 185098 h 608274"/>
                    <a:gd name="connsiteX27" fmla="*/ 182157 w 313668"/>
                    <a:gd name="connsiteY27" fmla="*/ 166411 h 608274"/>
                    <a:gd name="connsiteX28" fmla="*/ 179484 w 313668"/>
                    <a:gd name="connsiteY28" fmla="*/ 163741 h 608274"/>
                    <a:gd name="connsiteX29" fmla="*/ 131358 w 313668"/>
                    <a:gd name="connsiteY29" fmla="*/ 155456 h 608274"/>
                    <a:gd name="connsiteX30" fmla="*/ 211383 w 313668"/>
                    <a:gd name="connsiteY30" fmla="*/ 155456 h 608274"/>
                    <a:gd name="connsiteX31" fmla="*/ 260338 w 313668"/>
                    <a:gd name="connsiteY31" fmla="*/ 190989 h 608274"/>
                    <a:gd name="connsiteX32" fmla="*/ 312151 w 313668"/>
                    <a:gd name="connsiteY32" fmla="*/ 350060 h 608274"/>
                    <a:gd name="connsiteX33" fmla="*/ 292606 w 313668"/>
                    <a:gd name="connsiteY33" fmla="*/ 388447 h 608274"/>
                    <a:gd name="connsiteX34" fmla="*/ 283110 w 313668"/>
                    <a:gd name="connsiteY34" fmla="*/ 389920 h 608274"/>
                    <a:gd name="connsiteX35" fmla="*/ 254069 w 313668"/>
                    <a:gd name="connsiteY35" fmla="*/ 368931 h 608274"/>
                    <a:gd name="connsiteX36" fmla="*/ 245310 w 313668"/>
                    <a:gd name="connsiteY36" fmla="*/ 341867 h 608274"/>
                    <a:gd name="connsiteX37" fmla="*/ 245310 w 313668"/>
                    <a:gd name="connsiteY37" fmla="*/ 383108 h 608274"/>
                    <a:gd name="connsiteX38" fmla="*/ 245310 w 313668"/>
                    <a:gd name="connsiteY38" fmla="*/ 577436 h 608274"/>
                    <a:gd name="connsiteX39" fmla="*/ 214425 w 313668"/>
                    <a:gd name="connsiteY39" fmla="*/ 608274 h 608274"/>
                    <a:gd name="connsiteX40" fmla="*/ 183540 w 313668"/>
                    <a:gd name="connsiteY40" fmla="*/ 577436 h 608274"/>
                    <a:gd name="connsiteX41" fmla="*/ 183540 w 313668"/>
                    <a:gd name="connsiteY41" fmla="*/ 391301 h 608274"/>
                    <a:gd name="connsiteX42" fmla="*/ 191561 w 313668"/>
                    <a:gd name="connsiteY42" fmla="*/ 373074 h 608274"/>
                    <a:gd name="connsiteX43" fmla="*/ 184278 w 313668"/>
                    <a:gd name="connsiteY43" fmla="*/ 346102 h 608274"/>
                    <a:gd name="connsiteX44" fmla="*/ 181789 w 313668"/>
                    <a:gd name="connsiteY44" fmla="*/ 342788 h 608274"/>
                    <a:gd name="connsiteX45" fmla="*/ 197646 w 313668"/>
                    <a:gd name="connsiteY45" fmla="*/ 323825 h 608274"/>
                    <a:gd name="connsiteX46" fmla="*/ 201242 w 313668"/>
                    <a:gd name="connsiteY46" fmla="*/ 310661 h 608274"/>
                    <a:gd name="connsiteX47" fmla="*/ 185015 w 313668"/>
                    <a:gd name="connsiteY47" fmla="*/ 216396 h 608274"/>
                    <a:gd name="connsiteX48" fmla="*/ 182526 w 313668"/>
                    <a:gd name="connsiteY48" fmla="*/ 201760 h 608274"/>
                    <a:gd name="connsiteX49" fmla="*/ 179853 w 313668"/>
                    <a:gd name="connsiteY49" fmla="*/ 199550 h 608274"/>
                    <a:gd name="connsiteX50" fmla="*/ 162797 w 313668"/>
                    <a:gd name="connsiteY50" fmla="*/ 199550 h 608274"/>
                    <a:gd name="connsiteX51" fmla="*/ 160123 w 313668"/>
                    <a:gd name="connsiteY51" fmla="*/ 201760 h 608274"/>
                    <a:gd name="connsiteX52" fmla="*/ 157634 w 313668"/>
                    <a:gd name="connsiteY52" fmla="*/ 216396 h 608274"/>
                    <a:gd name="connsiteX53" fmla="*/ 144266 w 313668"/>
                    <a:gd name="connsiteY53" fmla="*/ 293999 h 608274"/>
                    <a:gd name="connsiteX54" fmla="*/ 138550 w 313668"/>
                    <a:gd name="connsiteY54" fmla="*/ 286450 h 608274"/>
                    <a:gd name="connsiteX55" fmla="*/ 119650 w 313668"/>
                    <a:gd name="connsiteY55" fmla="*/ 273747 h 608274"/>
                    <a:gd name="connsiteX56" fmla="*/ 119189 w 313668"/>
                    <a:gd name="connsiteY56" fmla="*/ 275127 h 608274"/>
                    <a:gd name="connsiteX57" fmla="*/ 88580 w 313668"/>
                    <a:gd name="connsiteY57" fmla="*/ 368931 h 608274"/>
                    <a:gd name="connsiteX58" fmla="*/ 50135 w 313668"/>
                    <a:gd name="connsiteY58" fmla="*/ 388447 h 608274"/>
                    <a:gd name="connsiteX59" fmla="*/ 30590 w 313668"/>
                    <a:gd name="connsiteY59" fmla="*/ 350060 h 608274"/>
                    <a:gd name="connsiteX60" fmla="*/ 61107 w 313668"/>
                    <a:gd name="connsiteY60" fmla="*/ 256256 h 608274"/>
                    <a:gd name="connsiteX61" fmla="*/ 82403 w 313668"/>
                    <a:gd name="connsiteY61" fmla="*/ 190989 h 608274"/>
                    <a:gd name="connsiteX62" fmla="*/ 131358 w 313668"/>
                    <a:gd name="connsiteY62" fmla="*/ 155456 h 608274"/>
                    <a:gd name="connsiteX63" fmla="*/ 171336 w 313668"/>
                    <a:gd name="connsiteY63" fmla="*/ 0 h 608274"/>
                    <a:gd name="connsiteX64" fmla="*/ 238585 w 313668"/>
                    <a:gd name="connsiteY64" fmla="*/ 67108 h 608274"/>
                    <a:gd name="connsiteX65" fmla="*/ 171336 w 313668"/>
                    <a:gd name="connsiteY65" fmla="*/ 134216 h 608274"/>
                    <a:gd name="connsiteX66" fmla="*/ 104087 w 313668"/>
                    <a:gd name="connsiteY66" fmla="*/ 67108 h 608274"/>
                    <a:gd name="connsiteX67" fmla="*/ 171336 w 313668"/>
                    <a:gd name="connsiteY67" fmla="*/ 0 h 60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3668" h="608274">
                      <a:moveTo>
                        <a:pt x="159127" y="411396"/>
                      </a:moveTo>
                      <a:lnTo>
                        <a:pt x="159127" y="577440"/>
                      </a:lnTo>
                      <a:cubicBezTo>
                        <a:pt x="159127" y="594468"/>
                        <a:pt x="145391" y="608274"/>
                        <a:pt x="128336" y="608274"/>
                      </a:cubicBezTo>
                      <a:cubicBezTo>
                        <a:pt x="111282" y="608274"/>
                        <a:pt x="97453" y="594468"/>
                        <a:pt x="97453" y="577440"/>
                      </a:cubicBezTo>
                      <a:lnTo>
                        <a:pt x="97453" y="458706"/>
                      </a:lnTo>
                      <a:close/>
                      <a:moveTo>
                        <a:pt x="128221" y="306395"/>
                      </a:moveTo>
                      <a:lnTo>
                        <a:pt x="168122" y="358410"/>
                      </a:lnTo>
                      <a:cubicBezTo>
                        <a:pt x="170794" y="361816"/>
                        <a:pt x="171900" y="366143"/>
                        <a:pt x="171347" y="370377"/>
                      </a:cubicBezTo>
                      <a:cubicBezTo>
                        <a:pt x="170794" y="374612"/>
                        <a:pt x="168583" y="378479"/>
                        <a:pt x="165173" y="381149"/>
                      </a:cubicBezTo>
                      <a:lnTo>
                        <a:pt x="71917" y="452588"/>
                      </a:lnTo>
                      <a:cubicBezTo>
                        <a:pt x="68968" y="454889"/>
                        <a:pt x="65467" y="455994"/>
                        <a:pt x="62057" y="455994"/>
                      </a:cubicBezTo>
                      <a:cubicBezTo>
                        <a:pt x="57173" y="455994"/>
                        <a:pt x="52289" y="453785"/>
                        <a:pt x="49156" y="449642"/>
                      </a:cubicBezTo>
                      <a:lnTo>
                        <a:pt x="3357" y="390079"/>
                      </a:lnTo>
                      <a:cubicBezTo>
                        <a:pt x="777" y="386672"/>
                        <a:pt x="-421" y="382345"/>
                        <a:pt x="132" y="378019"/>
                      </a:cubicBezTo>
                      <a:cubicBezTo>
                        <a:pt x="685" y="373784"/>
                        <a:pt x="2988" y="369917"/>
                        <a:pt x="6398" y="367339"/>
                      </a:cubicBezTo>
                      <a:lnTo>
                        <a:pt x="9162" y="365130"/>
                      </a:lnTo>
                      <a:cubicBezTo>
                        <a:pt x="11374" y="384279"/>
                        <a:pt x="24367" y="401402"/>
                        <a:pt x="43904" y="407754"/>
                      </a:cubicBezTo>
                      <a:cubicBezTo>
                        <a:pt x="49064" y="409411"/>
                        <a:pt x="54409" y="410240"/>
                        <a:pt x="59661" y="410240"/>
                      </a:cubicBezTo>
                      <a:cubicBezTo>
                        <a:pt x="81040" y="410240"/>
                        <a:pt x="100945" y="396615"/>
                        <a:pt x="107948" y="375165"/>
                      </a:cubicBezTo>
                      <a:lnTo>
                        <a:pt x="126009" y="319836"/>
                      </a:lnTo>
                      <a:cubicBezTo>
                        <a:pt x="127484" y="315325"/>
                        <a:pt x="128037" y="310906"/>
                        <a:pt x="128221" y="306395"/>
                      </a:cubicBezTo>
                      <a:close/>
                      <a:moveTo>
                        <a:pt x="163534" y="163741"/>
                      </a:moveTo>
                      <a:cubicBezTo>
                        <a:pt x="162059" y="163741"/>
                        <a:pt x="160861" y="164938"/>
                        <a:pt x="160861" y="166411"/>
                      </a:cubicBezTo>
                      <a:lnTo>
                        <a:pt x="160861" y="185098"/>
                      </a:lnTo>
                      <a:cubicBezTo>
                        <a:pt x="160861" y="186571"/>
                        <a:pt x="162059" y="187767"/>
                        <a:pt x="163534" y="187767"/>
                      </a:cubicBezTo>
                      <a:lnTo>
                        <a:pt x="179484" y="187767"/>
                      </a:lnTo>
                      <a:cubicBezTo>
                        <a:pt x="180959" y="187767"/>
                        <a:pt x="182157" y="186571"/>
                        <a:pt x="182157" y="185098"/>
                      </a:cubicBezTo>
                      <a:lnTo>
                        <a:pt x="182157" y="166411"/>
                      </a:lnTo>
                      <a:cubicBezTo>
                        <a:pt x="182157" y="164938"/>
                        <a:pt x="180959" y="163741"/>
                        <a:pt x="179484" y="163741"/>
                      </a:cubicBezTo>
                      <a:close/>
                      <a:moveTo>
                        <a:pt x="131358" y="155456"/>
                      </a:moveTo>
                      <a:lnTo>
                        <a:pt x="211383" y="155456"/>
                      </a:lnTo>
                      <a:cubicBezTo>
                        <a:pt x="233694" y="155456"/>
                        <a:pt x="253424" y="169725"/>
                        <a:pt x="260338" y="190989"/>
                      </a:cubicBezTo>
                      <a:lnTo>
                        <a:pt x="312151" y="350060"/>
                      </a:lnTo>
                      <a:cubicBezTo>
                        <a:pt x="317406" y="366078"/>
                        <a:pt x="308556" y="383292"/>
                        <a:pt x="292606" y="388447"/>
                      </a:cubicBezTo>
                      <a:cubicBezTo>
                        <a:pt x="289471" y="389460"/>
                        <a:pt x="286245" y="389920"/>
                        <a:pt x="283110" y="389920"/>
                      </a:cubicBezTo>
                      <a:cubicBezTo>
                        <a:pt x="270295" y="389920"/>
                        <a:pt x="258310" y="381819"/>
                        <a:pt x="254069" y="368931"/>
                      </a:cubicBezTo>
                      <a:lnTo>
                        <a:pt x="245310" y="341867"/>
                      </a:lnTo>
                      <a:lnTo>
                        <a:pt x="245310" y="383108"/>
                      </a:lnTo>
                      <a:lnTo>
                        <a:pt x="245310" y="577436"/>
                      </a:lnTo>
                      <a:cubicBezTo>
                        <a:pt x="245310" y="594466"/>
                        <a:pt x="231481" y="608274"/>
                        <a:pt x="214425" y="608274"/>
                      </a:cubicBezTo>
                      <a:cubicBezTo>
                        <a:pt x="197369" y="608274"/>
                        <a:pt x="183540" y="594466"/>
                        <a:pt x="183540" y="577436"/>
                      </a:cubicBezTo>
                      <a:lnTo>
                        <a:pt x="183540" y="391301"/>
                      </a:lnTo>
                      <a:cubicBezTo>
                        <a:pt x="187873" y="386146"/>
                        <a:pt x="190639" y="379886"/>
                        <a:pt x="191561" y="373074"/>
                      </a:cubicBezTo>
                      <a:cubicBezTo>
                        <a:pt x="192852" y="363316"/>
                        <a:pt x="190271" y="353742"/>
                        <a:pt x="184278" y="346102"/>
                      </a:cubicBezTo>
                      <a:lnTo>
                        <a:pt x="181789" y="342788"/>
                      </a:lnTo>
                      <a:lnTo>
                        <a:pt x="197646" y="323825"/>
                      </a:lnTo>
                      <a:cubicBezTo>
                        <a:pt x="200688" y="320142"/>
                        <a:pt x="201979" y="315355"/>
                        <a:pt x="201242" y="310661"/>
                      </a:cubicBezTo>
                      <a:lnTo>
                        <a:pt x="185015" y="216396"/>
                      </a:lnTo>
                      <a:lnTo>
                        <a:pt x="182526" y="201760"/>
                      </a:lnTo>
                      <a:cubicBezTo>
                        <a:pt x="182250" y="200471"/>
                        <a:pt x="181143" y="199550"/>
                        <a:pt x="179853" y="199550"/>
                      </a:cubicBezTo>
                      <a:lnTo>
                        <a:pt x="162797" y="199550"/>
                      </a:lnTo>
                      <a:cubicBezTo>
                        <a:pt x="161506" y="199550"/>
                        <a:pt x="160400" y="200471"/>
                        <a:pt x="160123" y="201760"/>
                      </a:cubicBezTo>
                      <a:lnTo>
                        <a:pt x="157634" y="216396"/>
                      </a:lnTo>
                      <a:lnTo>
                        <a:pt x="144266" y="293999"/>
                      </a:lnTo>
                      <a:lnTo>
                        <a:pt x="138550" y="286450"/>
                      </a:lnTo>
                      <a:cubicBezTo>
                        <a:pt x="133663" y="280191"/>
                        <a:pt x="127025" y="275864"/>
                        <a:pt x="119650" y="273747"/>
                      </a:cubicBezTo>
                      <a:lnTo>
                        <a:pt x="119189" y="275127"/>
                      </a:lnTo>
                      <a:lnTo>
                        <a:pt x="88580" y="368931"/>
                      </a:lnTo>
                      <a:cubicBezTo>
                        <a:pt x="83418" y="384949"/>
                        <a:pt x="66177" y="393694"/>
                        <a:pt x="50135" y="388447"/>
                      </a:cubicBezTo>
                      <a:cubicBezTo>
                        <a:pt x="34094" y="383200"/>
                        <a:pt x="25335" y="366078"/>
                        <a:pt x="30590" y="350060"/>
                      </a:cubicBezTo>
                      <a:lnTo>
                        <a:pt x="61107" y="256256"/>
                      </a:lnTo>
                      <a:lnTo>
                        <a:pt x="82403" y="190989"/>
                      </a:lnTo>
                      <a:cubicBezTo>
                        <a:pt x="89318" y="169725"/>
                        <a:pt x="108955" y="155456"/>
                        <a:pt x="131358" y="155456"/>
                      </a:cubicBezTo>
                      <a:close/>
                      <a:moveTo>
                        <a:pt x="171336" y="0"/>
                      </a:moveTo>
                      <a:cubicBezTo>
                        <a:pt x="208477" y="0"/>
                        <a:pt x="238585" y="30045"/>
                        <a:pt x="238585" y="67108"/>
                      </a:cubicBezTo>
                      <a:cubicBezTo>
                        <a:pt x="238585" y="104171"/>
                        <a:pt x="208477" y="134216"/>
                        <a:pt x="171336" y="134216"/>
                      </a:cubicBezTo>
                      <a:cubicBezTo>
                        <a:pt x="134195" y="134216"/>
                        <a:pt x="104087" y="104171"/>
                        <a:pt x="104087" y="67108"/>
                      </a:cubicBezTo>
                      <a:cubicBezTo>
                        <a:pt x="104087" y="30045"/>
                        <a:pt x="134195" y="0"/>
                        <a:pt x="171336" y="0"/>
                      </a:cubicBezTo>
                      <a:close/>
                    </a:path>
                  </a:pathLst>
                </a:custGeom>
                <a:solidFill>
                  <a:schemeClr val="accent1"/>
                </a:solidFill>
                <a:ln>
                  <a:noFill/>
                </a:ln>
              </p:spPr>
              <p:txBody>
                <a:bodyPr wrap="square" lIns="91440" tIns="45720" rIns="91440" bIns="45720" anchor="ctr">
                  <a:noAutofit/>
                </a:bodyPr>
                <a:lstStyle/>
                <a:p>
                  <a:pPr algn="ctr"/>
                  <a:endParaRPr/>
                </a:p>
              </p:txBody>
            </p:sp>
            <p:grpSp>
              <p:nvGrpSpPr>
                <p:cNvPr id="37" name="îṥľíḍê">
                  <a:extLst>
                    <a:ext uri="{FF2B5EF4-FFF2-40B4-BE49-F238E27FC236}">
                      <a16:creationId xmlns:a16="http://schemas.microsoft.com/office/drawing/2014/main" id="{92516753-566C-4577-B113-EC76A02DE76E}"/>
                    </a:ext>
                  </a:extLst>
                </p:cNvPr>
                <p:cNvGrpSpPr/>
                <p:nvPr/>
              </p:nvGrpSpPr>
              <p:grpSpPr>
                <a:xfrm>
                  <a:off x="1300995" y="1356745"/>
                  <a:ext cx="3252223" cy="1359022"/>
                  <a:chOff x="1712969" y="1356745"/>
                  <a:chExt cx="3252223" cy="1359022"/>
                </a:xfrm>
              </p:grpSpPr>
              <p:sp>
                <p:nvSpPr>
                  <p:cNvPr id="39" name="íṧlîḍé">
                    <a:extLst>
                      <a:ext uri="{FF2B5EF4-FFF2-40B4-BE49-F238E27FC236}">
                        <a16:creationId xmlns:a16="http://schemas.microsoft.com/office/drawing/2014/main" id="{32F6A703-98D0-4F13-80FB-EABCB6A84524}"/>
                      </a:ext>
                    </a:extLst>
                  </p:cNvPr>
                  <p:cNvSpPr txBox="1"/>
                  <p:nvPr/>
                </p:nvSpPr>
                <p:spPr>
                  <a:xfrm>
                    <a:off x="1712970" y="1356745"/>
                    <a:ext cx="3252218" cy="449700"/>
                  </a:xfrm>
                  <a:prstGeom prst="rect">
                    <a:avLst/>
                  </a:prstGeom>
                  <a:noFill/>
                </p:spPr>
                <p:txBody>
                  <a:bodyPr wrap="square" lIns="91440" tIns="45720" rIns="91440" bIns="45720" anchor="ctr" anchorCtr="0">
                    <a:normAutofit/>
                  </a:bodyPr>
                  <a:lstStyle/>
                  <a:p>
                    <a:r>
                      <a:rPr lang="en-US" altLang="zh-CN" b="1"/>
                      <a:t>Text here</a:t>
                    </a:r>
                    <a:endParaRPr lang="zh-CN" altLang="en-US" b="1" dirty="0"/>
                  </a:p>
                </p:txBody>
              </p:sp>
              <p:sp>
                <p:nvSpPr>
                  <p:cNvPr id="40" name="íṥļiḋé">
                    <a:extLst>
                      <a:ext uri="{FF2B5EF4-FFF2-40B4-BE49-F238E27FC236}">
                        <a16:creationId xmlns:a16="http://schemas.microsoft.com/office/drawing/2014/main" id="{462670E4-FF19-40FD-A0F6-416F093EE77A}"/>
                      </a:ext>
                    </a:extLst>
                  </p:cNvPr>
                  <p:cNvSpPr txBox="1"/>
                  <p:nvPr/>
                </p:nvSpPr>
                <p:spPr>
                  <a:xfrm>
                    <a:off x="1712969" y="1806444"/>
                    <a:ext cx="3252223" cy="909323"/>
                  </a:xfrm>
                  <a:prstGeom prst="rect">
                    <a:avLst/>
                  </a:prstGeom>
                  <a:noFill/>
                </p:spPr>
                <p:txBody>
                  <a:bodyPr wrap="square" lIns="91440" tIns="45720" rIns="91440" bIns="45720" anchor="t" anchorCtr="0">
                    <a:normAutofit/>
                  </a:bodyPr>
                  <a:lstStyle/>
                  <a:p>
                    <a:pPr>
                      <a:lnSpc>
                        <a:spcPct val="130000"/>
                      </a:lnSpc>
                    </a:pPr>
                    <a:r>
                      <a:rPr lang="en-US" altLang="zh-CN" sz="1100"/>
                      <a:t>Copy paste fonts. Choose the only option to retain text.</a:t>
                    </a:r>
                  </a:p>
                  <a:p>
                    <a:pPr>
                      <a:lnSpc>
                        <a:spcPct val="130000"/>
                      </a:lnSpc>
                    </a:pPr>
                    <a:r>
                      <a:rPr lang="en-US" altLang="zh-CN" sz="1100"/>
                      <a:t>……</a:t>
                    </a:r>
                    <a:endParaRPr lang="en-US" altLang="zh-CN" sz="1100" dirty="0"/>
                  </a:p>
                </p:txBody>
              </p:sp>
            </p:grpSp>
            <p:sp>
              <p:nvSpPr>
                <p:cNvPr id="38" name="íšḷíḑê">
                  <a:extLst>
                    <a:ext uri="{FF2B5EF4-FFF2-40B4-BE49-F238E27FC236}">
                      <a16:creationId xmlns:a16="http://schemas.microsoft.com/office/drawing/2014/main" id="{1C08E9B9-5BDF-42D5-9D5D-44764078FC45}"/>
                    </a:ext>
                  </a:extLst>
                </p:cNvPr>
                <p:cNvSpPr/>
                <p:nvPr/>
              </p:nvSpPr>
              <p:spPr bwMode="auto">
                <a:xfrm>
                  <a:off x="1115278" y="1527274"/>
                  <a:ext cx="140886" cy="140886"/>
                </a:xfrm>
                <a:prstGeom prst="ellipse">
                  <a:avLst/>
                </a:prstGeom>
                <a:solidFill>
                  <a:schemeClr val="accent1"/>
                </a:solidFill>
                <a:ln w="19050">
                  <a:solidFill>
                    <a:schemeClr val="bg1"/>
                  </a:solidFill>
                  <a:round/>
                  <a:headEnd/>
                  <a:tailEnd/>
                </a:ln>
              </p:spPr>
              <p:txBody>
                <a:bodyPr wrap="square" lIns="91440" tIns="45720" rIns="91440" bIns="45720" anchor="ctr">
                  <a:noAutofit/>
                </a:bodyPr>
                <a:lstStyle/>
                <a:p>
                  <a:pPr algn="ctr"/>
                  <a:endParaRPr/>
                </a:p>
              </p:txBody>
            </p:sp>
          </p:grpSp>
          <p:grpSp>
            <p:nvGrpSpPr>
              <p:cNvPr id="30" name="iṥlîḋê">
                <a:extLst>
                  <a:ext uri="{FF2B5EF4-FFF2-40B4-BE49-F238E27FC236}">
                    <a16:creationId xmlns:a16="http://schemas.microsoft.com/office/drawing/2014/main" id="{E9DCB37E-6D9E-43E3-B8AB-91BFB809F557}"/>
                  </a:ext>
                </a:extLst>
              </p:cNvPr>
              <p:cNvGrpSpPr/>
              <p:nvPr/>
            </p:nvGrpSpPr>
            <p:grpSpPr>
              <a:xfrm>
                <a:off x="673100" y="4483993"/>
                <a:ext cx="3880118" cy="1359022"/>
                <a:chOff x="673100" y="1356745"/>
                <a:chExt cx="3880118" cy="1359022"/>
              </a:xfrm>
            </p:grpSpPr>
            <p:sp>
              <p:nvSpPr>
                <p:cNvPr id="31" name="îṩļiḋe">
                  <a:extLst>
                    <a:ext uri="{FF2B5EF4-FFF2-40B4-BE49-F238E27FC236}">
                      <a16:creationId xmlns:a16="http://schemas.microsoft.com/office/drawing/2014/main" id="{AB2F99B5-288F-4F6A-A8D1-56478799CAD4}"/>
                    </a:ext>
                  </a:extLst>
                </p:cNvPr>
                <p:cNvSpPr/>
                <p:nvPr/>
              </p:nvSpPr>
              <p:spPr bwMode="auto">
                <a:xfrm>
                  <a:off x="673100" y="1359708"/>
                  <a:ext cx="245468" cy="476018"/>
                </a:xfrm>
                <a:custGeom>
                  <a:avLst/>
                  <a:gdLst>
                    <a:gd name="connsiteX0" fmla="*/ 159127 w 313668"/>
                    <a:gd name="connsiteY0" fmla="*/ 411396 h 608274"/>
                    <a:gd name="connsiteX1" fmla="*/ 159127 w 313668"/>
                    <a:gd name="connsiteY1" fmla="*/ 577440 h 608274"/>
                    <a:gd name="connsiteX2" fmla="*/ 128336 w 313668"/>
                    <a:gd name="connsiteY2" fmla="*/ 608274 h 608274"/>
                    <a:gd name="connsiteX3" fmla="*/ 97453 w 313668"/>
                    <a:gd name="connsiteY3" fmla="*/ 577440 h 608274"/>
                    <a:gd name="connsiteX4" fmla="*/ 97453 w 313668"/>
                    <a:gd name="connsiteY4" fmla="*/ 458706 h 608274"/>
                    <a:gd name="connsiteX5" fmla="*/ 128221 w 313668"/>
                    <a:gd name="connsiteY5" fmla="*/ 306395 h 608274"/>
                    <a:gd name="connsiteX6" fmla="*/ 168122 w 313668"/>
                    <a:gd name="connsiteY6" fmla="*/ 358410 h 608274"/>
                    <a:gd name="connsiteX7" fmla="*/ 171347 w 313668"/>
                    <a:gd name="connsiteY7" fmla="*/ 370377 h 608274"/>
                    <a:gd name="connsiteX8" fmla="*/ 165173 w 313668"/>
                    <a:gd name="connsiteY8" fmla="*/ 381149 h 608274"/>
                    <a:gd name="connsiteX9" fmla="*/ 71917 w 313668"/>
                    <a:gd name="connsiteY9" fmla="*/ 452588 h 608274"/>
                    <a:gd name="connsiteX10" fmla="*/ 62057 w 313668"/>
                    <a:gd name="connsiteY10" fmla="*/ 455994 h 608274"/>
                    <a:gd name="connsiteX11" fmla="*/ 49156 w 313668"/>
                    <a:gd name="connsiteY11" fmla="*/ 449642 h 608274"/>
                    <a:gd name="connsiteX12" fmla="*/ 3357 w 313668"/>
                    <a:gd name="connsiteY12" fmla="*/ 390079 h 608274"/>
                    <a:gd name="connsiteX13" fmla="*/ 132 w 313668"/>
                    <a:gd name="connsiteY13" fmla="*/ 378019 h 608274"/>
                    <a:gd name="connsiteX14" fmla="*/ 6398 w 313668"/>
                    <a:gd name="connsiteY14" fmla="*/ 367339 h 608274"/>
                    <a:gd name="connsiteX15" fmla="*/ 9162 w 313668"/>
                    <a:gd name="connsiteY15" fmla="*/ 365130 h 608274"/>
                    <a:gd name="connsiteX16" fmla="*/ 43904 w 313668"/>
                    <a:gd name="connsiteY16" fmla="*/ 407754 h 608274"/>
                    <a:gd name="connsiteX17" fmla="*/ 59661 w 313668"/>
                    <a:gd name="connsiteY17" fmla="*/ 410240 h 608274"/>
                    <a:gd name="connsiteX18" fmla="*/ 107948 w 313668"/>
                    <a:gd name="connsiteY18" fmla="*/ 375165 h 608274"/>
                    <a:gd name="connsiteX19" fmla="*/ 126009 w 313668"/>
                    <a:gd name="connsiteY19" fmla="*/ 319836 h 608274"/>
                    <a:gd name="connsiteX20" fmla="*/ 128221 w 313668"/>
                    <a:gd name="connsiteY20" fmla="*/ 306395 h 608274"/>
                    <a:gd name="connsiteX21" fmla="*/ 163534 w 313668"/>
                    <a:gd name="connsiteY21" fmla="*/ 163741 h 608274"/>
                    <a:gd name="connsiteX22" fmla="*/ 160861 w 313668"/>
                    <a:gd name="connsiteY22" fmla="*/ 166411 h 608274"/>
                    <a:gd name="connsiteX23" fmla="*/ 160861 w 313668"/>
                    <a:gd name="connsiteY23" fmla="*/ 185098 h 608274"/>
                    <a:gd name="connsiteX24" fmla="*/ 163534 w 313668"/>
                    <a:gd name="connsiteY24" fmla="*/ 187767 h 608274"/>
                    <a:gd name="connsiteX25" fmla="*/ 179484 w 313668"/>
                    <a:gd name="connsiteY25" fmla="*/ 187767 h 608274"/>
                    <a:gd name="connsiteX26" fmla="*/ 182157 w 313668"/>
                    <a:gd name="connsiteY26" fmla="*/ 185098 h 608274"/>
                    <a:gd name="connsiteX27" fmla="*/ 182157 w 313668"/>
                    <a:gd name="connsiteY27" fmla="*/ 166411 h 608274"/>
                    <a:gd name="connsiteX28" fmla="*/ 179484 w 313668"/>
                    <a:gd name="connsiteY28" fmla="*/ 163741 h 608274"/>
                    <a:gd name="connsiteX29" fmla="*/ 131358 w 313668"/>
                    <a:gd name="connsiteY29" fmla="*/ 155456 h 608274"/>
                    <a:gd name="connsiteX30" fmla="*/ 211383 w 313668"/>
                    <a:gd name="connsiteY30" fmla="*/ 155456 h 608274"/>
                    <a:gd name="connsiteX31" fmla="*/ 260338 w 313668"/>
                    <a:gd name="connsiteY31" fmla="*/ 190989 h 608274"/>
                    <a:gd name="connsiteX32" fmla="*/ 312151 w 313668"/>
                    <a:gd name="connsiteY32" fmla="*/ 350060 h 608274"/>
                    <a:gd name="connsiteX33" fmla="*/ 292606 w 313668"/>
                    <a:gd name="connsiteY33" fmla="*/ 388447 h 608274"/>
                    <a:gd name="connsiteX34" fmla="*/ 283110 w 313668"/>
                    <a:gd name="connsiteY34" fmla="*/ 389920 h 608274"/>
                    <a:gd name="connsiteX35" fmla="*/ 254069 w 313668"/>
                    <a:gd name="connsiteY35" fmla="*/ 368931 h 608274"/>
                    <a:gd name="connsiteX36" fmla="*/ 245310 w 313668"/>
                    <a:gd name="connsiteY36" fmla="*/ 341867 h 608274"/>
                    <a:gd name="connsiteX37" fmla="*/ 245310 w 313668"/>
                    <a:gd name="connsiteY37" fmla="*/ 383108 h 608274"/>
                    <a:gd name="connsiteX38" fmla="*/ 245310 w 313668"/>
                    <a:gd name="connsiteY38" fmla="*/ 577436 h 608274"/>
                    <a:gd name="connsiteX39" fmla="*/ 214425 w 313668"/>
                    <a:gd name="connsiteY39" fmla="*/ 608274 h 608274"/>
                    <a:gd name="connsiteX40" fmla="*/ 183540 w 313668"/>
                    <a:gd name="connsiteY40" fmla="*/ 577436 h 608274"/>
                    <a:gd name="connsiteX41" fmla="*/ 183540 w 313668"/>
                    <a:gd name="connsiteY41" fmla="*/ 391301 h 608274"/>
                    <a:gd name="connsiteX42" fmla="*/ 191561 w 313668"/>
                    <a:gd name="connsiteY42" fmla="*/ 373074 h 608274"/>
                    <a:gd name="connsiteX43" fmla="*/ 184278 w 313668"/>
                    <a:gd name="connsiteY43" fmla="*/ 346102 h 608274"/>
                    <a:gd name="connsiteX44" fmla="*/ 181789 w 313668"/>
                    <a:gd name="connsiteY44" fmla="*/ 342788 h 608274"/>
                    <a:gd name="connsiteX45" fmla="*/ 197646 w 313668"/>
                    <a:gd name="connsiteY45" fmla="*/ 323825 h 608274"/>
                    <a:gd name="connsiteX46" fmla="*/ 201242 w 313668"/>
                    <a:gd name="connsiteY46" fmla="*/ 310661 h 608274"/>
                    <a:gd name="connsiteX47" fmla="*/ 185015 w 313668"/>
                    <a:gd name="connsiteY47" fmla="*/ 216396 h 608274"/>
                    <a:gd name="connsiteX48" fmla="*/ 182526 w 313668"/>
                    <a:gd name="connsiteY48" fmla="*/ 201760 h 608274"/>
                    <a:gd name="connsiteX49" fmla="*/ 179853 w 313668"/>
                    <a:gd name="connsiteY49" fmla="*/ 199550 h 608274"/>
                    <a:gd name="connsiteX50" fmla="*/ 162797 w 313668"/>
                    <a:gd name="connsiteY50" fmla="*/ 199550 h 608274"/>
                    <a:gd name="connsiteX51" fmla="*/ 160123 w 313668"/>
                    <a:gd name="connsiteY51" fmla="*/ 201760 h 608274"/>
                    <a:gd name="connsiteX52" fmla="*/ 157634 w 313668"/>
                    <a:gd name="connsiteY52" fmla="*/ 216396 h 608274"/>
                    <a:gd name="connsiteX53" fmla="*/ 144266 w 313668"/>
                    <a:gd name="connsiteY53" fmla="*/ 293999 h 608274"/>
                    <a:gd name="connsiteX54" fmla="*/ 138550 w 313668"/>
                    <a:gd name="connsiteY54" fmla="*/ 286450 h 608274"/>
                    <a:gd name="connsiteX55" fmla="*/ 119650 w 313668"/>
                    <a:gd name="connsiteY55" fmla="*/ 273747 h 608274"/>
                    <a:gd name="connsiteX56" fmla="*/ 119189 w 313668"/>
                    <a:gd name="connsiteY56" fmla="*/ 275127 h 608274"/>
                    <a:gd name="connsiteX57" fmla="*/ 88580 w 313668"/>
                    <a:gd name="connsiteY57" fmla="*/ 368931 h 608274"/>
                    <a:gd name="connsiteX58" fmla="*/ 50135 w 313668"/>
                    <a:gd name="connsiteY58" fmla="*/ 388447 h 608274"/>
                    <a:gd name="connsiteX59" fmla="*/ 30590 w 313668"/>
                    <a:gd name="connsiteY59" fmla="*/ 350060 h 608274"/>
                    <a:gd name="connsiteX60" fmla="*/ 61107 w 313668"/>
                    <a:gd name="connsiteY60" fmla="*/ 256256 h 608274"/>
                    <a:gd name="connsiteX61" fmla="*/ 82403 w 313668"/>
                    <a:gd name="connsiteY61" fmla="*/ 190989 h 608274"/>
                    <a:gd name="connsiteX62" fmla="*/ 131358 w 313668"/>
                    <a:gd name="connsiteY62" fmla="*/ 155456 h 608274"/>
                    <a:gd name="connsiteX63" fmla="*/ 171336 w 313668"/>
                    <a:gd name="connsiteY63" fmla="*/ 0 h 608274"/>
                    <a:gd name="connsiteX64" fmla="*/ 238585 w 313668"/>
                    <a:gd name="connsiteY64" fmla="*/ 67108 h 608274"/>
                    <a:gd name="connsiteX65" fmla="*/ 171336 w 313668"/>
                    <a:gd name="connsiteY65" fmla="*/ 134216 h 608274"/>
                    <a:gd name="connsiteX66" fmla="*/ 104087 w 313668"/>
                    <a:gd name="connsiteY66" fmla="*/ 67108 h 608274"/>
                    <a:gd name="connsiteX67" fmla="*/ 171336 w 313668"/>
                    <a:gd name="connsiteY67" fmla="*/ 0 h 60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3668" h="608274">
                      <a:moveTo>
                        <a:pt x="159127" y="411396"/>
                      </a:moveTo>
                      <a:lnTo>
                        <a:pt x="159127" y="577440"/>
                      </a:lnTo>
                      <a:cubicBezTo>
                        <a:pt x="159127" y="594468"/>
                        <a:pt x="145391" y="608274"/>
                        <a:pt x="128336" y="608274"/>
                      </a:cubicBezTo>
                      <a:cubicBezTo>
                        <a:pt x="111282" y="608274"/>
                        <a:pt x="97453" y="594468"/>
                        <a:pt x="97453" y="577440"/>
                      </a:cubicBezTo>
                      <a:lnTo>
                        <a:pt x="97453" y="458706"/>
                      </a:lnTo>
                      <a:close/>
                      <a:moveTo>
                        <a:pt x="128221" y="306395"/>
                      </a:moveTo>
                      <a:lnTo>
                        <a:pt x="168122" y="358410"/>
                      </a:lnTo>
                      <a:cubicBezTo>
                        <a:pt x="170794" y="361816"/>
                        <a:pt x="171900" y="366143"/>
                        <a:pt x="171347" y="370377"/>
                      </a:cubicBezTo>
                      <a:cubicBezTo>
                        <a:pt x="170794" y="374612"/>
                        <a:pt x="168583" y="378479"/>
                        <a:pt x="165173" y="381149"/>
                      </a:cubicBezTo>
                      <a:lnTo>
                        <a:pt x="71917" y="452588"/>
                      </a:lnTo>
                      <a:cubicBezTo>
                        <a:pt x="68968" y="454889"/>
                        <a:pt x="65467" y="455994"/>
                        <a:pt x="62057" y="455994"/>
                      </a:cubicBezTo>
                      <a:cubicBezTo>
                        <a:pt x="57173" y="455994"/>
                        <a:pt x="52289" y="453785"/>
                        <a:pt x="49156" y="449642"/>
                      </a:cubicBezTo>
                      <a:lnTo>
                        <a:pt x="3357" y="390079"/>
                      </a:lnTo>
                      <a:cubicBezTo>
                        <a:pt x="777" y="386672"/>
                        <a:pt x="-421" y="382345"/>
                        <a:pt x="132" y="378019"/>
                      </a:cubicBezTo>
                      <a:cubicBezTo>
                        <a:pt x="685" y="373784"/>
                        <a:pt x="2988" y="369917"/>
                        <a:pt x="6398" y="367339"/>
                      </a:cubicBezTo>
                      <a:lnTo>
                        <a:pt x="9162" y="365130"/>
                      </a:lnTo>
                      <a:cubicBezTo>
                        <a:pt x="11374" y="384279"/>
                        <a:pt x="24367" y="401402"/>
                        <a:pt x="43904" y="407754"/>
                      </a:cubicBezTo>
                      <a:cubicBezTo>
                        <a:pt x="49064" y="409411"/>
                        <a:pt x="54409" y="410240"/>
                        <a:pt x="59661" y="410240"/>
                      </a:cubicBezTo>
                      <a:cubicBezTo>
                        <a:pt x="81040" y="410240"/>
                        <a:pt x="100945" y="396615"/>
                        <a:pt x="107948" y="375165"/>
                      </a:cubicBezTo>
                      <a:lnTo>
                        <a:pt x="126009" y="319836"/>
                      </a:lnTo>
                      <a:cubicBezTo>
                        <a:pt x="127484" y="315325"/>
                        <a:pt x="128037" y="310906"/>
                        <a:pt x="128221" y="306395"/>
                      </a:cubicBezTo>
                      <a:close/>
                      <a:moveTo>
                        <a:pt x="163534" y="163741"/>
                      </a:moveTo>
                      <a:cubicBezTo>
                        <a:pt x="162059" y="163741"/>
                        <a:pt x="160861" y="164938"/>
                        <a:pt x="160861" y="166411"/>
                      </a:cubicBezTo>
                      <a:lnTo>
                        <a:pt x="160861" y="185098"/>
                      </a:lnTo>
                      <a:cubicBezTo>
                        <a:pt x="160861" y="186571"/>
                        <a:pt x="162059" y="187767"/>
                        <a:pt x="163534" y="187767"/>
                      </a:cubicBezTo>
                      <a:lnTo>
                        <a:pt x="179484" y="187767"/>
                      </a:lnTo>
                      <a:cubicBezTo>
                        <a:pt x="180959" y="187767"/>
                        <a:pt x="182157" y="186571"/>
                        <a:pt x="182157" y="185098"/>
                      </a:cubicBezTo>
                      <a:lnTo>
                        <a:pt x="182157" y="166411"/>
                      </a:lnTo>
                      <a:cubicBezTo>
                        <a:pt x="182157" y="164938"/>
                        <a:pt x="180959" y="163741"/>
                        <a:pt x="179484" y="163741"/>
                      </a:cubicBezTo>
                      <a:close/>
                      <a:moveTo>
                        <a:pt x="131358" y="155456"/>
                      </a:moveTo>
                      <a:lnTo>
                        <a:pt x="211383" y="155456"/>
                      </a:lnTo>
                      <a:cubicBezTo>
                        <a:pt x="233694" y="155456"/>
                        <a:pt x="253424" y="169725"/>
                        <a:pt x="260338" y="190989"/>
                      </a:cubicBezTo>
                      <a:lnTo>
                        <a:pt x="312151" y="350060"/>
                      </a:lnTo>
                      <a:cubicBezTo>
                        <a:pt x="317406" y="366078"/>
                        <a:pt x="308556" y="383292"/>
                        <a:pt x="292606" y="388447"/>
                      </a:cubicBezTo>
                      <a:cubicBezTo>
                        <a:pt x="289471" y="389460"/>
                        <a:pt x="286245" y="389920"/>
                        <a:pt x="283110" y="389920"/>
                      </a:cubicBezTo>
                      <a:cubicBezTo>
                        <a:pt x="270295" y="389920"/>
                        <a:pt x="258310" y="381819"/>
                        <a:pt x="254069" y="368931"/>
                      </a:cubicBezTo>
                      <a:lnTo>
                        <a:pt x="245310" y="341867"/>
                      </a:lnTo>
                      <a:lnTo>
                        <a:pt x="245310" y="383108"/>
                      </a:lnTo>
                      <a:lnTo>
                        <a:pt x="245310" y="577436"/>
                      </a:lnTo>
                      <a:cubicBezTo>
                        <a:pt x="245310" y="594466"/>
                        <a:pt x="231481" y="608274"/>
                        <a:pt x="214425" y="608274"/>
                      </a:cubicBezTo>
                      <a:cubicBezTo>
                        <a:pt x="197369" y="608274"/>
                        <a:pt x="183540" y="594466"/>
                        <a:pt x="183540" y="577436"/>
                      </a:cubicBezTo>
                      <a:lnTo>
                        <a:pt x="183540" y="391301"/>
                      </a:lnTo>
                      <a:cubicBezTo>
                        <a:pt x="187873" y="386146"/>
                        <a:pt x="190639" y="379886"/>
                        <a:pt x="191561" y="373074"/>
                      </a:cubicBezTo>
                      <a:cubicBezTo>
                        <a:pt x="192852" y="363316"/>
                        <a:pt x="190271" y="353742"/>
                        <a:pt x="184278" y="346102"/>
                      </a:cubicBezTo>
                      <a:lnTo>
                        <a:pt x="181789" y="342788"/>
                      </a:lnTo>
                      <a:lnTo>
                        <a:pt x="197646" y="323825"/>
                      </a:lnTo>
                      <a:cubicBezTo>
                        <a:pt x="200688" y="320142"/>
                        <a:pt x="201979" y="315355"/>
                        <a:pt x="201242" y="310661"/>
                      </a:cubicBezTo>
                      <a:lnTo>
                        <a:pt x="185015" y="216396"/>
                      </a:lnTo>
                      <a:lnTo>
                        <a:pt x="182526" y="201760"/>
                      </a:lnTo>
                      <a:cubicBezTo>
                        <a:pt x="182250" y="200471"/>
                        <a:pt x="181143" y="199550"/>
                        <a:pt x="179853" y="199550"/>
                      </a:cubicBezTo>
                      <a:lnTo>
                        <a:pt x="162797" y="199550"/>
                      </a:lnTo>
                      <a:cubicBezTo>
                        <a:pt x="161506" y="199550"/>
                        <a:pt x="160400" y="200471"/>
                        <a:pt x="160123" y="201760"/>
                      </a:cubicBezTo>
                      <a:lnTo>
                        <a:pt x="157634" y="216396"/>
                      </a:lnTo>
                      <a:lnTo>
                        <a:pt x="144266" y="293999"/>
                      </a:lnTo>
                      <a:lnTo>
                        <a:pt x="138550" y="286450"/>
                      </a:lnTo>
                      <a:cubicBezTo>
                        <a:pt x="133663" y="280191"/>
                        <a:pt x="127025" y="275864"/>
                        <a:pt x="119650" y="273747"/>
                      </a:cubicBezTo>
                      <a:lnTo>
                        <a:pt x="119189" y="275127"/>
                      </a:lnTo>
                      <a:lnTo>
                        <a:pt x="88580" y="368931"/>
                      </a:lnTo>
                      <a:cubicBezTo>
                        <a:pt x="83418" y="384949"/>
                        <a:pt x="66177" y="393694"/>
                        <a:pt x="50135" y="388447"/>
                      </a:cubicBezTo>
                      <a:cubicBezTo>
                        <a:pt x="34094" y="383200"/>
                        <a:pt x="25335" y="366078"/>
                        <a:pt x="30590" y="350060"/>
                      </a:cubicBezTo>
                      <a:lnTo>
                        <a:pt x="61107" y="256256"/>
                      </a:lnTo>
                      <a:lnTo>
                        <a:pt x="82403" y="190989"/>
                      </a:lnTo>
                      <a:cubicBezTo>
                        <a:pt x="89318" y="169725"/>
                        <a:pt x="108955" y="155456"/>
                        <a:pt x="131358" y="155456"/>
                      </a:cubicBezTo>
                      <a:close/>
                      <a:moveTo>
                        <a:pt x="171336" y="0"/>
                      </a:moveTo>
                      <a:cubicBezTo>
                        <a:pt x="208477" y="0"/>
                        <a:pt x="238585" y="30045"/>
                        <a:pt x="238585" y="67108"/>
                      </a:cubicBezTo>
                      <a:cubicBezTo>
                        <a:pt x="238585" y="104171"/>
                        <a:pt x="208477" y="134216"/>
                        <a:pt x="171336" y="134216"/>
                      </a:cubicBezTo>
                      <a:cubicBezTo>
                        <a:pt x="134195" y="134216"/>
                        <a:pt x="104087" y="104171"/>
                        <a:pt x="104087" y="67108"/>
                      </a:cubicBezTo>
                      <a:cubicBezTo>
                        <a:pt x="104087" y="30045"/>
                        <a:pt x="134195" y="0"/>
                        <a:pt x="171336" y="0"/>
                      </a:cubicBezTo>
                      <a:close/>
                    </a:path>
                  </a:pathLst>
                </a:custGeom>
                <a:solidFill>
                  <a:schemeClr val="accent1"/>
                </a:solidFill>
                <a:ln>
                  <a:noFill/>
                </a:ln>
              </p:spPr>
              <p:txBody>
                <a:bodyPr wrap="square" lIns="91440" tIns="45720" rIns="91440" bIns="45720" anchor="ctr">
                  <a:noAutofit/>
                </a:bodyPr>
                <a:lstStyle/>
                <a:p>
                  <a:pPr algn="ctr"/>
                  <a:endParaRPr/>
                </a:p>
              </p:txBody>
            </p:sp>
            <p:grpSp>
              <p:nvGrpSpPr>
                <p:cNvPr id="32" name="îŝļîďè">
                  <a:extLst>
                    <a:ext uri="{FF2B5EF4-FFF2-40B4-BE49-F238E27FC236}">
                      <a16:creationId xmlns:a16="http://schemas.microsoft.com/office/drawing/2014/main" id="{F0D635FB-2A81-458A-8721-56FCD546374E}"/>
                    </a:ext>
                  </a:extLst>
                </p:cNvPr>
                <p:cNvGrpSpPr/>
                <p:nvPr/>
              </p:nvGrpSpPr>
              <p:grpSpPr>
                <a:xfrm>
                  <a:off x="1300995" y="1356745"/>
                  <a:ext cx="3252223" cy="1359022"/>
                  <a:chOff x="1712969" y="1356745"/>
                  <a:chExt cx="3252223" cy="1359022"/>
                </a:xfrm>
              </p:grpSpPr>
              <p:sp>
                <p:nvSpPr>
                  <p:cNvPr id="34" name="ïṧḻîďè">
                    <a:extLst>
                      <a:ext uri="{FF2B5EF4-FFF2-40B4-BE49-F238E27FC236}">
                        <a16:creationId xmlns:a16="http://schemas.microsoft.com/office/drawing/2014/main" id="{9E088BDB-709C-429F-A31C-EFBEE3620073}"/>
                      </a:ext>
                    </a:extLst>
                  </p:cNvPr>
                  <p:cNvSpPr txBox="1"/>
                  <p:nvPr/>
                </p:nvSpPr>
                <p:spPr>
                  <a:xfrm>
                    <a:off x="1712970" y="1356745"/>
                    <a:ext cx="3252218" cy="449700"/>
                  </a:xfrm>
                  <a:prstGeom prst="rect">
                    <a:avLst/>
                  </a:prstGeom>
                  <a:noFill/>
                </p:spPr>
                <p:txBody>
                  <a:bodyPr wrap="square" lIns="91440" tIns="45720" rIns="91440" bIns="45720" anchor="ctr" anchorCtr="0">
                    <a:normAutofit/>
                  </a:bodyPr>
                  <a:lstStyle/>
                  <a:p>
                    <a:r>
                      <a:rPr lang="en-US" altLang="zh-CN" b="1"/>
                      <a:t>Text here</a:t>
                    </a:r>
                    <a:endParaRPr lang="zh-CN" altLang="en-US" b="1" dirty="0"/>
                  </a:p>
                </p:txBody>
              </p:sp>
              <p:sp>
                <p:nvSpPr>
                  <p:cNvPr id="35" name="î$ļïḓé">
                    <a:extLst>
                      <a:ext uri="{FF2B5EF4-FFF2-40B4-BE49-F238E27FC236}">
                        <a16:creationId xmlns:a16="http://schemas.microsoft.com/office/drawing/2014/main" id="{3D741902-280B-49B2-9D06-7E1E4CDFE22E}"/>
                      </a:ext>
                    </a:extLst>
                  </p:cNvPr>
                  <p:cNvSpPr txBox="1"/>
                  <p:nvPr/>
                </p:nvSpPr>
                <p:spPr>
                  <a:xfrm>
                    <a:off x="1712969" y="1806444"/>
                    <a:ext cx="3252223" cy="909323"/>
                  </a:xfrm>
                  <a:prstGeom prst="rect">
                    <a:avLst/>
                  </a:prstGeom>
                  <a:noFill/>
                </p:spPr>
                <p:txBody>
                  <a:bodyPr wrap="square" lIns="91440" tIns="45720" rIns="91440" bIns="45720" anchor="t" anchorCtr="0">
                    <a:normAutofit/>
                  </a:bodyPr>
                  <a:lstStyle/>
                  <a:p>
                    <a:pPr>
                      <a:lnSpc>
                        <a:spcPct val="130000"/>
                      </a:lnSpc>
                    </a:pPr>
                    <a:r>
                      <a:rPr lang="en-US" altLang="zh-CN" sz="1100"/>
                      <a:t>Copy paste fonts. Choose the only option to retain text.</a:t>
                    </a:r>
                  </a:p>
                  <a:p>
                    <a:pPr>
                      <a:lnSpc>
                        <a:spcPct val="130000"/>
                      </a:lnSpc>
                    </a:pPr>
                    <a:r>
                      <a:rPr lang="en-US" altLang="zh-CN" sz="1100"/>
                      <a:t>……</a:t>
                    </a:r>
                    <a:endParaRPr lang="en-US" altLang="zh-CN" sz="1100" dirty="0"/>
                  </a:p>
                </p:txBody>
              </p:sp>
            </p:grpSp>
            <p:sp>
              <p:nvSpPr>
                <p:cNvPr id="33" name="iṩļîḍê">
                  <a:extLst>
                    <a:ext uri="{FF2B5EF4-FFF2-40B4-BE49-F238E27FC236}">
                      <a16:creationId xmlns:a16="http://schemas.microsoft.com/office/drawing/2014/main" id="{2142D58C-44DC-4E3E-B65A-6A42BD24487B}"/>
                    </a:ext>
                  </a:extLst>
                </p:cNvPr>
                <p:cNvSpPr/>
                <p:nvPr/>
              </p:nvSpPr>
              <p:spPr bwMode="auto">
                <a:xfrm>
                  <a:off x="1115278" y="1527274"/>
                  <a:ext cx="140886" cy="140886"/>
                </a:xfrm>
                <a:prstGeom prst="ellipse">
                  <a:avLst/>
                </a:prstGeom>
                <a:solidFill>
                  <a:schemeClr val="accent1"/>
                </a:solidFill>
                <a:ln w="19050">
                  <a:solidFill>
                    <a:schemeClr val="bg1"/>
                  </a:solidFill>
                  <a:round/>
                  <a:headEnd/>
                  <a:tailEnd/>
                </a:ln>
              </p:spPr>
              <p:txBody>
                <a:bodyPr wrap="square" lIns="91440" tIns="45720" rIns="91440" bIns="45720" anchor="ctr">
                  <a:noAutofit/>
                </a:bodyPr>
                <a:lstStyle/>
                <a:p>
                  <a:pPr algn="ctr"/>
                  <a:endParaRPr/>
                </a:p>
              </p:txBody>
            </p:sp>
          </p:grpSp>
        </p:grpSp>
        <p:grpSp>
          <p:nvGrpSpPr>
            <p:cNvPr id="7" name="ïšḻiḑê">
              <a:extLst>
                <a:ext uri="{FF2B5EF4-FFF2-40B4-BE49-F238E27FC236}">
                  <a16:creationId xmlns:a16="http://schemas.microsoft.com/office/drawing/2014/main" id="{C44D12BB-8ED0-452B-AEC6-A0B9706F4339}"/>
                </a:ext>
              </a:extLst>
            </p:cNvPr>
            <p:cNvGrpSpPr/>
            <p:nvPr/>
          </p:nvGrpSpPr>
          <p:grpSpPr>
            <a:xfrm>
              <a:off x="6533381" y="0"/>
              <a:ext cx="3880118" cy="5843015"/>
              <a:chOff x="673100" y="0"/>
              <a:chExt cx="3880118" cy="5843015"/>
            </a:xfrm>
          </p:grpSpPr>
          <p:cxnSp>
            <p:nvCxnSpPr>
              <p:cNvPr id="8" name="直接连接符 7">
                <a:extLst>
                  <a:ext uri="{FF2B5EF4-FFF2-40B4-BE49-F238E27FC236}">
                    <a16:creationId xmlns:a16="http://schemas.microsoft.com/office/drawing/2014/main" id="{35CD2F0A-BBF2-4C56-9AD5-6C62E2C6701B}"/>
                  </a:ext>
                </a:extLst>
              </p:cNvPr>
              <p:cNvCxnSpPr>
                <a:cxnSpLocks/>
                <a:endCxn id="14" idx="0"/>
              </p:cNvCxnSpPr>
              <p:nvPr/>
            </p:nvCxnSpPr>
            <p:spPr>
              <a:xfrm>
                <a:off x="1185721" y="0"/>
                <a:ext cx="0" cy="4654522"/>
              </a:xfrm>
              <a:prstGeom prst="line">
                <a:avLst/>
              </a:prstGeom>
              <a:ln w="57150" cap="rnd">
                <a:solidFill>
                  <a:schemeClr val="bg1">
                    <a:lumMod val="9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grpSp>
            <p:nvGrpSpPr>
              <p:cNvPr id="9" name="íSļiḋê">
                <a:extLst>
                  <a:ext uri="{FF2B5EF4-FFF2-40B4-BE49-F238E27FC236}">
                    <a16:creationId xmlns:a16="http://schemas.microsoft.com/office/drawing/2014/main" id="{CC80E8BF-BF64-420C-885B-CC718EAA61B2}"/>
                  </a:ext>
                </a:extLst>
              </p:cNvPr>
              <p:cNvGrpSpPr/>
              <p:nvPr/>
            </p:nvGrpSpPr>
            <p:grpSpPr>
              <a:xfrm>
                <a:off x="673100" y="1356745"/>
                <a:ext cx="3880118" cy="1359022"/>
                <a:chOff x="673100" y="1356745"/>
                <a:chExt cx="3880118" cy="1359022"/>
              </a:xfrm>
            </p:grpSpPr>
            <p:sp>
              <p:nvSpPr>
                <p:cNvPr id="22" name="í$ḷíďé">
                  <a:extLst>
                    <a:ext uri="{FF2B5EF4-FFF2-40B4-BE49-F238E27FC236}">
                      <a16:creationId xmlns:a16="http://schemas.microsoft.com/office/drawing/2014/main" id="{F0E7E782-233A-425C-BA75-6AECEC6C20EB}"/>
                    </a:ext>
                  </a:extLst>
                </p:cNvPr>
                <p:cNvSpPr/>
                <p:nvPr/>
              </p:nvSpPr>
              <p:spPr bwMode="auto">
                <a:xfrm>
                  <a:off x="673100" y="1359708"/>
                  <a:ext cx="245468" cy="476018"/>
                </a:xfrm>
                <a:custGeom>
                  <a:avLst/>
                  <a:gdLst>
                    <a:gd name="connsiteX0" fmla="*/ 159127 w 313668"/>
                    <a:gd name="connsiteY0" fmla="*/ 411396 h 608274"/>
                    <a:gd name="connsiteX1" fmla="*/ 159127 w 313668"/>
                    <a:gd name="connsiteY1" fmla="*/ 577440 h 608274"/>
                    <a:gd name="connsiteX2" fmla="*/ 128336 w 313668"/>
                    <a:gd name="connsiteY2" fmla="*/ 608274 h 608274"/>
                    <a:gd name="connsiteX3" fmla="*/ 97453 w 313668"/>
                    <a:gd name="connsiteY3" fmla="*/ 577440 h 608274"/>
                    <a:gd name="connsiteX4" fmla="*/ 97453 w 313668"/>
                    <a:gd name="connsiteY4" fmla="*/ 458706 h 608274"/>
                    <a:gd name="connsiteX5" fmla="*/ 128221 w 313668"/>
                    <a:gd name="connsiteY5" fmla="*/ 306395 h 608274"/>
                    <a:gd name="connsiteX6" fmla="*/ 168122 w 313668"/>
                    <a:gd name="connsiteY6" fmla="*/ 358410 h 608274"/>
                    <a:gd name="connsiteX7" fmla="*/ 171347 w 313668"/>
                    <a:gd name="connsiteY7" fmla="*/ 370377 h 608274"/>
                    <a:gd name="connsiteX8" fmla="*/ 165173 w 313668"/>
                    <a:gd name="connsiteY8" fmla="*/ 381149 h 608274"/>
                    <a:gd name="connsiteX9" fmla="*/ 71917 w 313668"/>
                    <a:gd name="connsiteY9" fmla="*/ 452588 h 608274"/>
                    <a:gd name="connsiteX10" fmla="*/ 62057 w 313668"/>
                    <a:gd name="connsiteY10" fmla="*/ 455994 h 608274"/>
                    <a:gd name="connsiteX11" fmla="*/ 49156 w 313668"/>
                    <a:gd name="connsiteY11" fmla="*/ 449642 h 608274"/>
                    <a:gd name="connsiteX12" fmla="*/ 3357 w 313668"/>
                    <a:gd name="connsiteY12" fmla="*/ 390079 h 608274"/>
                    <a:gd name="connsiteX13" fmla="*/ 132 w 313668"/>
                    <a:gd name="connsiteY13" fmla="*/ 378019 h 608274"/>
                    <a:gd name="connsiteX14" fmla="*/ 6398 w 313668"/>
                    <a:gd name="connsiteY14" fmla="*/ 367339 h 608274"/>
                    <a:gd name="connsiteX15" fmla="*/ 9162 w 313668"/>
                    <a:gd name="connsiteY15" fmla="*/ 365130 h 608274"/>
                    <a:gd name="connsiteX16" fmla="*/ 43904 w 313668"/>
                    <a:gd name="connsiteY16" fmla="*/ 407754 h 608274"/>
                    <a:gd name="connsiteX17" fmla="*/ 59661 w 313668"/>
                    <a:gd name="connsiteY17" fmla="*/ 410240 h 608274"/>
                    <a:gd name="connsiteX18" fmla="*/ 107948 w 313668"/>
                    <a:gd name="connsiteY18" fmla="*/ 375165 h 608274"/>
                    <a:gd name="connsiteX19" fmla="*/ 126009 w 313668"/>
                    <a:gd name="connsiteY19" fmla="*/ 319836 h 608274"/>
                    <a:gd name="connsiteX20" fmla="*/ 128221 w 313668"/>
                    <a:gd name="connsiteY20" fmla="*/ 306395 h 608274"/>
                    <a:gd name="connsiteX21" fmla="*/ 163534 w 313668"/>
                    <a:gd name="connsiteY21" fmla="*/ 163741 h 608274"/>
                    <a:gd name="connsiteX22" fmla="*/ 160861 w 313668"/>
                    <a:gd name="connsiteY22" fmla="*/ 166411 h 608274"/>
                    <a:gd name="connsiteX23" fmla="*/ 160861 w 313668"/>
                    <a:gd name="connsiteY23" fmla="*/ 185098 h 608274"/>
                    <a:gd name="connsiteX24" fmla="*/ 163534 w 313668"/>
                    <a:gd name="connsiteY24" fmla="*/ 187767 h 608274"/>
                    <a:gd name="connsiteX25" fmla="*/ 179484 w 313668"/>
                    <a:gd name="connsiteY25" fmla="*/ 187767 h 608274"/>
                    <a:gd name="connsiteX26" fmla="*/ 182157 w 313668"/>
                    <a:gd name="connsiteY26" fmla="*/ 185098 h 608274"/>
                    <a:gd name="connsiteX27" fmla="*/ 182157 w 313668"/>
                    <a:gd name="connsiteY27" fmla="*/ 166411 h 608274"/>
                    <a:gd name="connsiteX28" fmla="*/ 179484 w 313668"/>
                    <a:gd name="connsiteY28" fmla="*/ 163741 h 608274"/>
                    <a:gd name="connsiteX29" fmla="*/ 131358 w 313668"/>
                    <a:gd name="connsiteY29" fmla="*/ 155456 h 608274"/>
                    <a:gd name="connsiteX30" fmla="*/ 211383 w 313668"/>
                    <a:gd name="connsiteY30" fmla="*/ 155456 h 608274"/>
                    <a:gd name="connsiteX31" fmla="*/ 260338 w 313668"/>
                    <a:gd name="connsiteY31" fmla="*/ 190989 h 608274"/>
                    <a:gd name="connsiteX32" fmla="*/ 312151 w 313668"/>
                    <a:gd name="connsiteY32" fmla="*/ 350060 h 608274"/>
                    <a:gd name="connsiteX33" fmla="*/ 292606 w 313668"/>
                    <a:gd name="connsiteY33" fmla="*/ 388447 h 608274"/>
                    <a:gd name="connsiteX34" fmla="*/ 283110 w 313668"/>
                    <a:gd name="connsiteY34" fmla="*/ 389920 h 608274"/>
                    <a:gd name="connsiteX35" fmla="*/ 254069 w 313668"/>
                    <a:gd name="connsiteY35" fmla="*/ 368931 h 608274"/>
                    <a:gd name="connsiteX36" fmla="*/ 245310 w 313668"/>
                    <a:gd name="connsiteY36" fmla="*/ 341867 h 608274"/>
                    <a:gd name="connsiteX37" fmla="*/ 245310 w 313668"/>
                    <a:gd name="connsiteY37" fmla="*/ 383108 h 608274"/>
                    <a:gd name="connsiteX38" fmla="*/ 245310 w 313668"/>
                    <a:gd name="connsiteY38" fmla="*/ 577436 h 608274"/>
                    <a:gd name="connsiteX39" fmla="*/ 214425 w 313668"/>
                    <a:gd name="connsiteY39" fmla="*/ 608274 h 608274"/>
                    <a:gd name="connsiteX40" fmla="*/ 183540 w 313668"/>
                    <a:gd name="connsiteY40" fmla="*/ 577436 h 608274"/>
                    <a:gd name="connsiteX41" fmla="*/ 183540 w 313668"/>
                    <a:gd name="connsiteY41" fmla="*/ 391301 h 608274"/>
                    <a:gd name="connsiteX42" fmla="*/ 191561 w 313668"/>
                    <a:gd name="connsiteY42" fmla="*/ 373074 h 608274"/>
                    <a:gd name="connsiteX43" fmla="*/ 184278 w 313668"/>
                    <a:gd name="connsiteY43" fmla="*/ 346102 h 608274"/>
                    <a:gd name="connsiteX44" fmla="*/ 181789 w 313668"/>
                    <a:gd name="connsiteY44" fmla="*/ 342788 h 608274"/>
                    <a:gd name="connsiteX45" fmla="*/ 197646 w 313668"/>
                    <a:gd name="connsiteY45" fmla="*/ 323825 h 608274"/>
                    <a:gd name="connsiteX46" fmla="*/ 201242 w 313668"/>
                    <a:gd name="connsiteY46" fmla="*/ 310661 h 608274"/>
                    <a:gd name="connsiteX47" fmla="*/ 185015 w 313668"/>
                    <a:gd name="connsiteY47" fmla="*/ 216396 h 608274"/>
                    <a:gd name="connsiteX48" fmla="*/ 182526 w 313668"/>
                    <a:gd name="connsiteY48" fmla="*/ 201760 h 608274"/>
                    <a:gd name="connsiteX49" fmla="*/ 179853 w 313668"/>
                    <a:gd name="connsiteY49" fmla="*/ 199550 h 608274"/>
                    <a:gd name="connsiteX50" fmla="*/ 162797 w 313668"/>
                    <a:gd name="connsiteY50" fmla="*/ 199550 h 608274"/>
                    <a:gd name="connsiteX51" fmla="*/ 160123 w 313668"/>
                    <a:gd name="connsiteY51" fmla="*/ 201760 h 608274"/>
                    <a:gd name="connsiteX52" fmla="*/ 157634 w 313668"/>
                    <a:gd name="connsiteY52" fmla="*/ 216396 h 608274"/>
                    <a:gd name="connsiteX53" fmla="*/ 144266 w 313668"/>
                    <a:gd name="connsiteY53" fmla="*/ 293999 h 608274"/>
                    <a:gd name="connsiteX54" fmla="*/ 138550 w 313668"/>
                    <a:gd name="connsiteY54" fmla="*/ 286450 h 608274"/>
                    <a:gd name="connsiteX55" fmla="*/ 119650 w 313668"/>
                    <a:gd name="connsiteY55" fmla="*/ 273747 h 608274"/>
                    <a:gd name="connsiteX56" fmla="*/ 119189 w 313668"/>
                    <a:gd name="connsiteY56" fmla="*/ 275127 h 608274"/>
                    <a:gd name="connsiteX57" fmla="*/ 88580 w 313668"/>
                    <a:gd name="connsiteY57" fmla="*/ 368931 h 608274"/>
                    <a:gd name="connsiteX58" fmla="*/ 50135 w 313668"/>
                    <a:gd name="connsiteY58" fmla="*/ 388447 h 608274"/>
                    <a:gd name="connsiteX59" fmla="*/ 30590 w 313668"/>
                    <a:gd name="connsiteY59" fmla="*/ 350060 h 608274"/>
                    <a:gd name="connsiteX60" fmla="*/ 61107 w 313668"/>
                    <a:gd name="connsiteY60" fmla="*/ 256256 h 608274"/>
                    <a:gd name="connsiteX61" fmla="*/ 82403 w 313668"/>
                    <a:gd name="connsiteY61" fmla="*/ 190989 h 608274"/>
                    <a:gd name="connsiteX62" fmla="*/ 131358 w 313668"/>
                    <a:gd name="connsiteY62" fmla="*/ 155456 h 608274"/>
                    <a:gd name="connsiteX63" fmla="*/ 171336 w 313668"/>
                    <a:gd name="connsiteY63" fmla="*/ 0 h 608274"/>
                    <a:gd name="connsiteX64" fmla="*/ 238585 w 313668"/>
                    <a:gd name="connsiteY64" fmla="*/ 67108 h 608274"/>
                    <a:gd name="connsiteX65" fmla="*/ 171336 w 313668"/>
                    <a:gd name="connsiteY65" fmla="*/ 134216 h 608274"/>
                    <a:gd name="connsiteX66" fmla="*/ 104087 w 313668"/>
                    <a:gd name="connsiteY66" fmla="*/ 67108 h 608274"/>
                    <a:gd name="connsiteX67" fmla="*/ 171336 w 313668"/>
                    <a:gd name="connsiteY67" fmla="*/ 0 h 60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3668" h="608274">
                      <a:moveTo>
                        <a:pt x="159127" y="411396"/>
                      </a:moveTo>
                      <a:lnTo>
                        <a:pt x="159127" y="577440"/>
                      </a:lnTo>
                      <a:cubicBezTo>
                        <a:pt x="159127" y="594468"/>
                        <a:pt x="145391" y="608274"/>
                        <a:pt x="128336" y="608274"/>
                      </a:cubicBezTo>
                      <a:cubicBezTo>
                        <a:pt x="111282" y="608274"/>
                        <a:pt x="97453" y="594468"/>
                        <a:pt x="97453" y="577440"/>
                      </a:cubicBezTo>
                      <a:lnTo>
                        <a:pt x="97453" y="458706"/>
                      </a:lnTo>
                      <a:close/>
                      <a:moveTo>
                        <a:pt x="128221" y="306395"/>
                      </a:moveTo>
                      <a:lnTo>
                        <a:pt x="168122" y="358410"/>
                      </a:lnTo>
                      <a:cubicBezTo>
                        <a:pt x="170794" y="361816"/>
                        <a:pt x="171900" y="366143"/>
                        <a:pt x="171347" y="370377"/>
                      </a:cubicBezTo>
                      <a:cubicBezTo>
                        <a:pt x="170794" y="374612"/>
                        <a:pt x="168583" y="378479"/>
                        <a:pt x="165173" y="381149"/>
                      </a:cubicBezTo>
                      <a:lnTo>
                        <a:pt x="71917" y="452588"/>
                      </a:lnTo>
                      <a:cubicBezTo>
                        <a:pt x="68968" y="454889"/>
                        <a:pt x="65467" y="455994"/>
                        <a:pt x="62057" y="455994"/>
                      </a:cubicBezTo>
                      <a:cubicBezTo>
                        <a:pt x="57173" y="455994"/>
                        <a:pt x="52289" y="453785"/>
                        <a:pt x="49156" y="449642"/>
                      </a:cubicBezTo>
                      <a:lnTo>
                        <a:pt x="3357" y="390079"/>
                      </a:lnTo>
                      <a:cubicBezTo>
                        <a:pt x="777" y="386672"/>
                        <a:pt x="-421" y="382345"/>
                        <a:pt x="132" y="378019"/>
                      </a:cubicBezTo>
                      <a:cubicBezTo>
                        <a:pt x="685" y="373784"/>
                        <a:pt x="2988" y="369917"/>
                        <a:pt x="6398" y="367339"/>
                      </a:cubicBezTo>
                      <a:lnTo>
                        <a:pt x="9162" y="365130"/>
                      </a:lnTo>
                      <a:cubicBezTo>
                        <a:pt x="11374" y="384279"/>
                        <a:pt x="24367" y="401402"/>
                        <a:pt x="43904" y="407754"/>
                      </a:cubicBezTo>
                      <a:cubicBezTo>
                        <a:pt x="49064" y="409411"/>
                        <a:pt x="54409" y="410240"/>
                        <a:pt x="59661" y="410240"/>
                      </a:cubicBezTo>
                      <a:cubicBezTo>
                        <a:pt x="81040" y="410240"/>
                        <a:pt x="100945" y="396615"/>
                        <a:pt x="107948" y="375165"/>
                      </a:cubicBezTo>
                      <a:lnTo>
                        <a:pt x="126009" y="319836"/>
                      </a:lnTo>
                      <a:cubicBezTo>
                        <a:pt x="127484" y="315325"/>
                        <a:pt x="128037" y="310906"/>
                        <a:pt x="128221" y="306395"/>
                      </a:cubicBezTo>
                      <a:close/>
                      <a:moveTo>
                        <a:pt x="163534" y="163741"/>
                      </a:moveTo>
                      <a:cubicBezTo>
                        <a:pt x="162059" y="163741"/>
                        <a:pt x="160861" y="164938"/>
                        <a:pt x="160861" y="166411"/>
                      </a:cubicBezTo>
                      <a:lnTo>
                        <a:pt x="160861" y="185098"/>
                      </a:lnTo>
                      <a:cubicBezTo>
                        <a:pt x="160861" y="186571"/>
                        <a:pt x="162059" y="187767"/>
                        <a:pt x="163534" y="187767"/>
                      </a:cubicBezTo>
                      <a:lnTo>
                        <a:pt x="179484" y="187767"/>
                      </a:lnTo>
                      <a:cubicBezTo>
                        <a:pt x="180959" y="187767"/>
                        <a:pt x="182157" y="186571"/>
                        <a:pt x="182157" y="185098"/>
                      </a:cubicBezTo>
                      <a:lnTo>
                        <a:pt x="182157" y="166411"/>
                      </a:lnTo>
                      <a:cubicBezTo>
                        <a:pt x="182157" y="164938"/>
                        <a:pt x="180959" y="163741"/>
                        <a:pt x="179484" y="163741"/>
                      </a:cubicBezTo>
                      <a:close/>
                      <a:moveTo>
                        <a:pt x="131358" y="155456"/>
                      </a:moveTo>
                      <a:lnTo>
                        <a:pt x="211383" y="155456"/>
                      </a:lnTo>
                      <a:cubicBezTo>
                        <a:pt x="233694" y="155456"/>
                        <a:pt x="253424" y="169725"/>
                        <a:pt x="260338" y="190989"/>
                      </a:cubicBezTo>
                      <a:lnTo>
                        <a:pt x="312151" y="350060"/>
                      </a:lnTo>
                      <a:cubicBezTo>
                        <a:pt x="317406" y="366078"/>
                        <a:pt x="308556" y="383292"/>
                        <a:pt x="292606" y="388447"/>
                      </a:cubicBezTo>
                      <a:cubicBezTo>
                        <a:pt x="289471" y="389460"/>
                        <a:pt x="286245" y="389920"/>
                        <a:pt x="283110" y="389920"/>
                      </a:cubicBezTo>
                      <a:cubicBezTo>
                        <a:pt x="270295" y="389920"/>
                        <a:pt x="258310" y="381819"/>
                        <a:pt x="254069" y="368931"/>
                      </a:cubicBezTo>
                      <a:lnTo>
                        <a:pt x="245310" y="341867"/>
                      </a:lnTo>
                      <a:lnTo>
                        <a:pt x="245310" y="383108"/>
                      </a:lnTo>
                      <a:lnTo>
                        <a:pt x="245310" y="577436"/>
                      </a:lnTo>
                      <a:cubicBezTo>
                        <a:pt x="245310" y="594466"/>
                        <a:pt x="231481" y="608274"/>
                        <a:pt x="214425" y="608274"/>
                      </a:cubicBezTo>
                      <a:cubicBezTo>
                        <a:pt x="197369" y="608274"/>
                        <a:pt x="183540" y="594466"/>
                        <a:pt x="183540" y="577436"/>
                      </a:cubicBezTo>
                      <a:lnTo>
                        <a:pt x="183540" y="391301"/>
                      </a:lnTo>
                      <a:cubicBezTo>
                        <a:pt x="187873" y="386146"/>
                        <a:pt x="190639" y="379886"/>
                        <a:pt x="191561" y="373074"/>
                      </a:cubicBezTo>
                      <a:cubicBezTo>
                        <a:pt x="192852" y="363316"/>
                        <a:pt x="190271" y="353742"/>
                        <a:pt x="184278" y="346102"/>
                      </a:cubicBezTo>
                      <a:lnTo>
                        <a:pt x="181789" y="342788"/>
                      </a:lnTo>
                      <a:lnTo>
                        <a:pt x="197646" y="323825"/>
                      </a:lnTo>
                      <a:cubicBezTo>
                        <a:pt x="200688" y="320142"/>
                        <a:pt x="201979" y="315355"/>
                        <a:pt x="201242" y="310661"/>
                      </a:cubicBezTo>
                      <a:lnTo>
                        <a:pt x="185015" y="216396"/>
                      </a:lnTo>
                      <a:lnTo>
                        <a:pt x="182526" y="201760"/>
                      </a:lnTo>
                      <a:cubicBezTo>
                        <a:pt x="182250" y="200471"/>
                        <a:pt x="181143" y="199550"/>
                        <a:pt x="179853" y="199550"/>
                      </a:cubicBezTo>
                      <a:lnTo>
                        <a:pt x="162797" y="199550"/>
                      </a:lnTo>
                      <a:cubicBezTo>
                        <a:pt x="161506" y="199550"/>
                        <a:pt x="160400" y="200471"/>
                        <a:pt x="160123" y="201760"/>
                      </a:cubicBezTo>
                      <a:lnTo>
                        <a:pt x="157634" y="216396"/>
                      </a:lnTo>
                      <a:lnTo>
                        <a:pt x="144266" y="293999"/>
                      </a:lnTo>
                      <a:lnTo>
                        <a:pt x="138550" y="286450"/>
                      </a:lnTo>
                      <a:cubicBezTo>
                        <a:pt x="133663" y="280191"/>
                        <a:pt x="127025" y="275864"/>
                        <a:pt x="119650" y="273747"/>
                      </a:cubicBezTo>
                      <a:lnTo>
                        <a:pt x="119189" y="275127"/>
                      </a:lnTo>
                      <a:lnTo>
                        <a:pt x="88580" y="368931"/>
                      </a:lnTo>
                      <a:cubicBezTo>
                        <a:pt x="83418" y="384949"/>
                        <a:pt x="66177" y="393694"/>
                        <a:pt x="50135" y="388447"/>
                      </a:cubicBezTo>
                      <a:cubicBezTo>
                        <a:pt x="34094" y="383200"/>
                        <a:pt x="25335" y="366078"/>
                        <a:pt x="30590" y="350060"/>
                      </a:cubicBezTo>
                      <a:lnTo>
                        <a:pt x="61107" y="256256"/>
                      </a:lnTo>
                      <a:lnTo>
                        <a:pt x="82403" y="190989"/>
                      </a:lnTo>
                      <a:cubicBezTo>
                        <a:pt x="89318" y="169725"/>
                        <a:pt x="108955" y="155456"/>
                        <a:pt x="131358" y="155456"/>
                      </a:cubicBezTo>
                      <a:close/>
                      <a:moveTo>
                        <a:pt x="171336" y="0"/>
                      </a:moveTo>
                      <a:cubicBezTo>
                        <a:pt x="208477" y="0"/>
                        <a:pt x="238585" y="30045"/>
                        <a:pt x="238585" y="67108"/>
                      </a:cubicBezTo>
                      <a:cubicBezTo>
                        <a:pt x="238585" y="104171"/>
                        <a:pt x="208477" y="134216"/>
                        <a:pt x="171336" y="134216"/>
                      </a:cubicBezTo>
                      <a:cubicBezTo>
                        <a:pt x="134195" y="134216"/>
                        <a:pt x="104087" y="104171"/>
                        <a:pt x="104087" y="67108"/>
                      </a:cubicBezTo>
                      <a:cubicBezTo>
                        <a:pt x="104087" y="30045"/>
                        <a:pt x="134195" y="0"/>
                        <a:pt x="171336" y="0"/>
                      </a:cubicBezTo>
                      <a:close/>
                    </a:path>
                  </a:pathLst>
                </a:custGeom>
                <a:solidFill>
                  <a:schemeClr val="accent2"/>
                </a:solidFill>
                <a:ln>
                  <a:noFill/>
                </a:ln>
              </p:spPr>
              <p:txBody>
                <a:bodyPr wrap="square" lIns="91440" tIns="45720" rIns="91440" bIns="45720" anchor="ctr">
                  <a:noAutofit/>
                </a:bodyPr>
                <a:lstStyle/>
                <a:p>
                  <a:pPr algn="ctr"/>
                  <a:endParaRPr/>
                </a:p>
              </p:txBody>
            </p:sp>
            <p:grpSp>
              <p:nvGrpSpPr>
                <p:cNvPr id="23" name="is1ïḓe">
                  <a:extLst>
                    <a:ext uri="{FF2B5EF4-FFF2-40B4-BE49-F238E27FC236}">
                      <a16:creationId xmlns:a16="http://schemas.microsoft.com/office/drawing/2014/main" id="{DFF0B60F-143E-4530-AD32-8CAF829AF3D6}"/>
                    </a:ext>
                  </a:extLst>
                </p:cNvPr>
                <p:cNvGrpSpPr/>
                <p:nvPr/>
              </p:nvGrpSpPr>
              <p:grpSpPr>
                <a:xfrm>
                  <a:off x="1300995" y="1356745"/>
                  <a:ext cx="3252223" cy="1359022"/>
                  <a:chOff x="1712969" y="1356745"/>
                  <a:chExt cx="3252223" cy="1359022"/>
                </a:xfrm>
              </p:grpSpPr>
              <p:sp>
                <p:nvSpPr>
                  <p:cNvPr id="25" name="ïŝḻidé">
                    <a:extLst>
                      <a:ext uri="{FF2B5EF4-FFF2-40B4-BE49-F238E27FC236}">
                        <a16:creationId xmlns:a16="http://schemas.microsoft.com/office/drawing/2014/main" id="{AED0BC5C-FEDE-46CD-9AF4-16AE79A8D87C}"/>
                      </a:ext>
                    </a:extLst>
                  </p:cNvPr>
                  <p:cNvSpPr txBox="1"/>
                  <p:nvPr/>
                </p:nvSpPr>
                <p:spPr>
                  <a:xfrm>
                    <a:off x="1712970" y="1356745"/>
                    <a:ext cx="3252218" cy="449700"/>
                  </a:xfrm>
                  <a:prstGeom prst="rect">
                    <a:avLst/>
                  </a:prstGeom>
                  <a:noFill/>
                </p:spPr>
                <p:txBody>
                  <a:bodyPr wrap="square" lIns="91440" tIns="45720" rIns="91440" bIns="45720" anchor="ctr" anchorCtr="0">
                    <a:normAutofit/>
                  </a:bodyPr>
                  <a:lstStyle/>
                  <a:p>
                    <a:r>
                      <a:rPr lang="en-US" altLang="zh-CN" b="1"/>
                      <a:t>Text here</a:t>
                    </a:r>
                    <a:endParaRPr lang="zh-CN" altLang="en-US" b="1" dirty="0"/>
                  </a:p>
                </p:txBody>
              </p:sp>
              <p:sp>
                <p:nvSpPr>
                  <p:cNvPr id="26" name="ï$ļiḑé">
                    <a:extLst>
                      <a:ext uri="{FF2B5EF4-FFF2-40B4-BE49-F238E27FC236}">
                        <a16:creationId xmlns:a16="http://schemas.microsoft.com/office/drawing/2014/main" id="{BCF8D547-D39B-42D4-96BC-2608820C0FDC}"/>
                      </a:ext>
                    </a:extLst>
                  </p:cNvPr>
                  <p:cNvSpPr txBox="1"/>
                  <p:nvPr/>
                </p:nvSpPr>
                <p:spPr>
                  <a:xfrm>
                    <a:off x="1712969" y="1806444"/>
                    <a:ext cx="3252223" cy="909323"/>
                  </a:xfrm>
                  <a:prstGeom prst="rect">
                    <a:avLst/>
                  </a:prstGeom>
                  <a:noFill/>
                </p:spPr>
                <p:txBody>
                  <a:bodyPr wrap="square" lIns="91440" tIns="45720" rIns="91440" bIns="45720" anchor="t" anchorCtr="0">
                    <a:normAutofit/>
                  </a:bodyPr>
                  <a:lstStyle/>
                  <a:p>
                    <a:pPr>
                      <a:lnSpc>
                        <a:spcPct val="130000"/>
                      </a:lnSpc>
                    </a:pPr>
                    <a:r>
                      <a:rPr lang="en-US" altLang="zh-CN" sz="1100"/>
                      <a:t>Copy paste fonts. Choose the only option to retain text.</a:t>
                    </a:r>
                  </a:p>
                  <a:p>
                    <a:pPr>
                      <a:lnSpc>
                        <a:spcPct val="130000"/>
                      </a:lnSpc>
                    </a:pPr>
                    <a:r>
                      <a:rPr lang="en-US" altLang="zh-CN" sz="1100"/>
                      <a:t>……</a:t>
                    </a:r>
                    <a:endParaRPr lang="en-US" altLang="zh-CN" sz="1100" dirty="0"/>
                  </a:p>
                </p:txBody>
              </p:sp>
            </p:grpSp>
            <p:sp>
              <p:nvSpPr>
                <p:cNvPr id="24" name="ïṧļiḑe">
                  <a:extLst>
                    <a:ext uri="{FF2B5EF4-FFF2-40B4-BE49-F238E27FC236}">
                      <a16:creationId xmlns:a16="http://schemas.microsoft.com/office/drawing/2014/main" id="{82E94A68-F0B7-4B72-9398-BD89E24C021C}"/>
                    </a:ext>
                  </a:extLst>
                </p:cNvPr>
                <p:cNvSpPr/>
                <p:nvPr/>
              </p:nvSpPr>
              <p:spPr bwMode="auto">
                <a:xfrm>
                  <a:off x="1115278" y="1527274"/>
                  <a:ext cx="140886" cy="140886"/>
                </a:xfrm>
                <a:prstGeom prst="ellipse">
                  <a:avLst/>
                </a:prstGeom>
                <a:solidFill>
                  <a:schemeClr val="accent2"/>
                </a:solidFill>
                <a:ln w="19050">
                  <a:solidFill>
                    <a:schemeClr val="bg1"/>
                  </a:solidFill>
                  <a:round/>
                  <a:headEnd/>
                  <a:tailEnd/>
                </a:ln>
              </p:spPr>
              <p:txBody>
                <a:bodyPr wrap="square" lIns="91440" tIns="45720" rIns="91440" bIns="45720" anchor="ctr">
                  <a:noAutofit/>
                </a:bodyPr>
                <a:lstStyle/>
                <a:p>
                  <a:pPr algn="ctr"/>
                  <a:endParaRPr/>
                </a:p>
              </p:txBody>
            </p:sp>
          </p:grpSp>
          <p:grpSp>
            <p:nvGrpSpPr>
              <p:cNvPr id="10" name="ïṥļîḑè">
                <a:extLst>
                  <a:ext uri="{FF2B5EF4-FFF2-40B4-BE49-F238E27FC236}">
                    <a16:creationId xmlns:a16="http://schemas.microsoft.com/office/drawing/2014/main" id="{C2997EC2-E479-4760-9371-3155DE7342C6}"/>
                  </a:ext>
                </a:extLst>
              </p:cNvPr>
              <p:cNvGrpSpPr/>
              <p:nvPr/>
            </p:nvGrpSpPr>
            <p:grpSpPr>
              <a:xfrm>
                <a:off x="673100" y="2920369"/>
                <a:ext cx="3880118" cy="1359022"/>
                <a:chOff x="673100" y="1356745"/>
                <a:chExt cx="3880118" cy="1359022"/>
              </a:xfrm>
            </p:grpSpPr>
            <p:sp>
              <p:nvSpPr>
                <p:cNvPr id="17" name="iṥ1iḋe">
                  <a:extLst>
                    <a:ext uri="{FF2B5EF4-FFF2-40B4-BE49-F238E27FC236}">
                      <a16:creationId xmlns:a16="http://schemas.microsoft.com/office/drawing/2014/main" id="{12048288-15BE-4762-84F2-FEB7D937799A}"/>
                    </a:ext>
                  </a:extLst>
                </p:cNvPr>
                <p:cNvSpPr/>
                <p:nvPr/>
              </p:nvSpPr>
              <p:spPr bwMode="auto">
                <a:xfrm>
                  <a:off x="673100" y="1359708"/>
                  <a:ext cx="245468" cy="476018"/>
                </a:xfrm>
                <a:custGeom>
                  <a:avLst/>
                  <a:gdLst>
                    <a:gd name="connsiteX0" fmla="*/ 159127 w 313668"/>
                    <a:gd name="connsiteY0" fmla="*/ 411396 h 608274"/>
                    <a:gd name="connsiteX1" fmla="*/ 159127 w 313668"/>
                    <a:gd name="connsiteY1" fmla="*/ 577440 h 608274"/>
                    <a:gd name="connsiteX2" fmla="*/ 128336 w 313668"/>
                    <a:gd name="connsiteY2" fmla="*/ 608274 h 608274"/>
                    <a:gd name="connsiteX3" fmla="*/ 97453 w 313668"/>
                    <a:gd name="connsiteY3" fmla="*/ 577440 h 608274"/>
                    <a:gd name="connsiteX4" fmla="*/ 97453 w 313668"/>
                    <a:gd name="connsiteY4" fmla="*/ 458706 h 608274"/>
                    <a:gd name="connsiteX5" fmla="*/ 128221 w 313668"/>
                    <a:gd name="connsiteY5" fmla="*/ 306395 h 608274"/>
                    <a:gd name="connsiteX6" fmla="*/ 168122 w 313668"/>
                    <a:gd name="connsiteY6" fmla="*/ 358410 h 608274"/>
                    <a:gd name="connsiteX7" fmla="*/ 171347 w 313668"/>
                    <a:gd name="connsiteY7" fmla="*/ 370377 h 608274"/>
                    <a:gd name="connsiteX8" fmla="*/ 165173 w 313668"/>
                    <a:gd name="connsiteY8" fmla="*/ 381149 h 608274"/>
                    <a:gd name="connsiteX9" fmla="*/ 71917 w 313668"/>
                    <a:gd name="connsiteY9" fmla="*/ 452588 h 608274"/>
                    <a:gd name="connsiteX10" fmla="*/ 62057 w 313668"/>
                    <a:gd name="connsiteY10" fmla="*/ 455994 h 608274"/>
                    <a:gd name="connsiteX11" fmla="*/ 49156 w 313668"/>
                    <a:gd name="connsiteY11" fmla="*/ 449642 h 608274"/>
                    <a:gd name="connsiteX12" fmla="*/ 3357 w 313668"/>
                    <a:gd name="connsiteY12" fmla="*/ 390079 h 608274"/>
                    <a:gd name="connsiteX13" fmla="*/ 132 w 313668"/>
                    <a:gd name="connsiteY13" fmla="*/ 378019 h 608274"/>
                    <a:gd name="connsiteX14" fmla="*/ 6398 w 313668"/>
                    <a:gd name="connsiteY14" fmla="*/ 367339 h 608274"/>
                    <a:gd name="connsiteX15" fmla="*/ 9162 w 313668"/>
                    <a:gd name="connsiteY15" fmla="*/ 365130 h 608274"/>
                    <a:gd name="connsiteX16" fmla="*/ 43904 w 313668"/>
                    <a:gd name="connsiteY16" fmla="*/ 407754 h 608274"/>
                    <a:gd name="connsiteX17" fmla="*/ 59661 w 313668"/>
                    <a:gd name="connsiteY17" fmla="*/ 410240 h 608274"/>
                    <a:gd name="connsiteX18" fmla="*/ 107948 w 313668"/>
                    <a:gd name="connsiteY18" fmla="*/ 375165 h 608274"/>
                    <a:gd name="connsiteX19" fmla="*/ 126009 w 313668"/>
                    <a:gd name="connsiteY19" fmla="*/ 319836 h 608274"/>
                    <a:gd name="connsiteX20" fmla="*/ 128221 w 313668"/>
                    <a:gd name="connsiteY20" fmla="*/ 306395 h 608274"/>
                    <a:gd name="connsiteX21" fmla="*/ 163534 w 313668"/>
                    <a:gd name="connsiteY21" fmla="*/ 163741 h 608274"/>
                    <a:gd name="connsiteX22" fmla="*/ 160861 w 313668"/>
                    <a:gd name="connsiteY22" fmla="*/ 166411 h 608274"/>
                    <a:gd name="connsiteX23" fmla="*/ 160861 w 313668"/>
                    <a:gd name="connsiteY23" fmla="*/ 185098 h 608274"/>
                    <a:gd name="connsiteX24" fmla="*/ 163534 w 313668"/>
                    <a:gd name="connsiteY24" fmla="*/ 187767 h 608274"/>
                    <a:gd name="connsiteX25" fmla="*/ 179484 w 313668"/>
                    <a:gd name="connsiteY25" fmla="*/ 187767 h 608274"/>
                    <a:gd name="connsiteX26" fmla="*/ 182157 w 313668"/>
                    <a:gd name="connsiteY26" fmla="*/ 185098 h 608274"/>
                    <a:gd name="connsiteX27" fmla="*/ 182157 w 313668"/>
                    <a:gd name="connsiteY27" fmla="*/ 166411 h 608274"/>
                    <a:gd name="connsiteX28" fmla="*/ 179484 w 313668"/>
                    <a:gd name="connsiteY28" fmla="*/ 163741 h 608274"/>
                    <a:gd name="connsiteX29" fmla="*/ 131358 w 313668"/>
                    <a:gd name="connsiteY29" fmla="*/ 155456 h 608274"/>
                    <a:gd name="connsiteX30" fmla="*/ 211383 w 313668"/>
                    <a:gd name="connsiteY30" fmla="*/ 155456 h 608274"/>
                    <a:gd name="connsiteX31" fmla="*/ 260338 w 313668"/>
                    <a:gd name="connsiteY31" fmla="*/ 190989 h 608274"/>
                    <a:gd name="connsiteX32" fmla="*/ 312151 w 313668"/>
                    <a:gd name="connsiteY32" fmla="*/ 350060 h 608274"/>
                    <a:gd name="connsiteX33" fmla="*/ 292606 w 313668"/>
                    <a:gd name="connsiteY33" fmla="*/ 388447 h 608274"/>
                    <a:gd name="connsiteX34" fmla="*/ 283110 w 313668"/>
                    <a:gd name="connsiteY34" fmla="*/ 389920 h 608274"/>
                    <a:gd name="connsiteX35" fmla="*/ 254069 w 313668"/>
                    <a:gd name="connsiteY35" fmla="*/ 368931 h 608274"/>
                    <a:gd name="connsiteX36" fmla="*/ 245310 w 313668"/>
                    <a:gd name="connsiteY36" fmla="*/ 341867 h 608274"/>
                    <a:gd name="connsiteX37" fmla="*/ 245310 w 313668"/>
                    <a:gd name="connsiteY37" fmla="*/ 383108 h 608274"/>
                    <a:gd name="connsiteX38" fmla="*/ 245310 w 313668"/>
                    <a:gd name="connsiteY38" fmla="*/ 577436 h 608274"/>
                    <a:gd name="connsiteX39" fmla="*/ 214425 w 313668"/>
                    <a:gd name="connsiteY39" fmla="*/ 608274 h 608274"/>
                    <a:gd name="connsiteX40" fmla="*/ 183540 w 313668"/>
                    <a:gd name="connsiteY40" fmla="*/ 577436 h 608274"/>
                    <a:gd name="connsiteX41" fmla="*/ 183540 w 313668"/>
                    <a:gd name="connsiteY41" fmla="*/ 391301 h 608274"/>
                    <a:gd name="connsiteX42" fmla="*/ 191561 w 313668"/>
                    <a:gd name="connsiteY42" fmla="*/ 373074 h 608274"/>
                    <a:gd name="connsiteX43" fmla="*/ 184278 w 313668"/>
                    <a:gd name="connsiteY43" fmla="*/ 346102 h 608274"/>
                    <a:gd name="connsiteX44" fmla="*/ 181789 w 313668"/>
                    <a:gd name="connsiteY44" fmla="*/ 342788 h 608274"/>
                    <a:gd name="connsiteX45" fmla="*/ 197646 w 313668"/>
                    <a:gd name="connsiteY45" fmla="*/ 323825 h 608274"/>
                    <a:gd name="connsiteX46" fmla="*/ 201242 w 313668"/>
                    <a:gd name="connsiteY46" fmla="*/ 310661 h 608274"/>
                    <a:gd name="connsiteX47" fmla="*/ 185015 w 313668"/>
                    <a:gd name="connsiteY47" fmla="*/ 216396 h 608274"/>
                    <a:gd name="connsiteX48" fmla="*/ 182526 w 313668"/>
                    <a:gd name="connsiteY48" fmla="*/ 201760 h 608274"/>
                    <a:gd name="connsiteX49" fmla="*/ 179853 w 313668"/>
                    <a:gd name="connsiteY49" fmla="*/ 199550 h 608274"/>
                    <a:gd name="connsiteX50" fmla="*/ 162797 w 313668"/>
                    <a:gd name="connsiteY50" fmla="*/ 199550 h 608274"/>
                    <a:gd name="connsiteX51" fmla="*/ 160123 w 313668"/>
                    <a:gd name="connsiteY51" fmla="*/ 201760 h 608274"/>
                    <a:gd name="connsiteX52" fmla="*/ 157634 w 313668"/>
                    <a:gd name="connsiteY52" fmla="*/ 216396 h 608274"/>
                    <a:gd name="connsiteX53" fmla="*/ 144266 w 313668"/>
                    <a:gd name="connsiteY53" fmla="*/ 293999 h 608274"/>
                    <a:gd name="connsiteX54" fmla="*/ 138550 w 313668"/>
                    <a:gd name="connsiteY54" fmla="*/ 286450 h 608274"/>
                    <a:gd name="connsiteX55" fmla="*/ 119650 w 313668"/>
                    <a:gd name="connsiteY55" fmla="*/ 273747 h 608274"/>
                    <a:gd name="connsiteX56" fmla="*/ 119189 w 313668"/>
                    <a:gd name="connsiteY56" fmla="*/ 275127 h 608274"/>
                    <a:gd name="connsiteX57" fmla="*/ 88580 w 313668"/>
                    <a:gd name="connsiteY57" fmla="*/ 368931 h 608274"/>
                    <a:gd name="connsiteX58" fmla="*/ 50135 w 313668"/>
                    <a:gd name="connsiteY58" fmla="*/ 388447 h 608274"/>
                    <a:gd name="connsiteX59" fmla="*/ 30590 w 313668"/>
                    <a:gd name="connsiteY59" fmla="*/ 350060 h 608274"/>
                    <a:gd name="connsiteX60" fmla="*/ 61107 w 313668"/>
                    <a:gd name="connsiteY60" fmla="*/ 256256 h 608274"/>
                    <a:gd name="connsiteX61" fmla="*/ 82403 w 313668"/>
                    <a:gd name="connsiteY61" fmla="*/ 190989 h 608274"/>
                    <a:gd name="connsiteX62" fmla="*/ 131358 w 313668"/>
                    <a:gd name="connsiteY62" fmla="*/ 155456 h 608274"/>
                    <a:gd name="connsiteX63" fmla="*/ 171336 w 313668"/>
                    <a:gd name="connsiteY63" fmla="*/ 0 h 608274"/>
                    <a:gd name="connsiteX64" fmla="*/ 238585 w 313668"/>
                    <a:gd name="connsiteY64" fmla="*/ 67108 h 608274"/>
                    <a:gd name="connsiteX65" fmla="*/ 171336 w 313668"/>
                    <a:gd name="connsiteY65" fmla="*/ 134216 h 608274"/>
                    <a:gd name="connsiteX66" fmla="*/ 104087 w 313668"/>
                    <a:gd name="connsiteY66" fmla="*/ 67108 h 608274"/>
                    <a:gd name="connsiteX67" fmla="*/ 171336 w 313668"/>
                    <a:gd name="connsiteY67" fmla="*/ 0 h 60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3668" h="608274">
                      <a:moveTo>
                        <a:pt x="159127" y="411396"/>
                      </a:moveTo>
                      <a:lnTo>
                        <a:pt x="159127" y="577440"/>
                      </a:lnTo>
                      <a:cubicBezTo>
                        <a:pt x="159127" y="594468"/>
                        <a:pt x="145391" y="608274"/>
                        <a:pt x="128336" y="608274"/>
                      </a:cubicBezTo>
                      <a:cubicBezTo>
                        <a:pt x="111282" y="608274"/>
                        <a:pt x="97453" y="594468"/>
                        <a:pt x="97453" y="577440"/>
                      </a:cubicBezTo>
                      <a:lnTo>
                        <a:pt x="97453" y="458706"/>
                      </a:lnTo>
                      <a:close/>
                      <a:moveTo>
                        <a:pt x="128221" y="306395"/>
                      </a:moveTo>
                      <a:lnTo>
                        <a:pt x="168122" y="358410"/>
                      </a:lnTo>
                      <a:cubicBezTo>
                        <a:pt x="170794" y="361816"/>
                        <a:pt x="171900" y="366143"/>
                        <a:pt x="171347" y="370377"/>
                      </a:cubicBezTo>
                      <a:cubicBezTo>
                        <a:pt x="170794" y="374612"/>
                        <a:pt x="168583" y="378479"/>
                        <a:pt x="165173" y="381149"/>
                      </a:cubicBezTo>
                      <a:lnTo>
                        <a:pt x="71917" y="452588"/>
                      </a:lnTo>
                      <a:cubicBezTo>
                        <a:pt x="68968" y="454889"/>
                        <a:pt x="65467" y="455994"/>
                        <a:pt x="62057" y="455994"/>
                      </a:cubicBezTo>
                      <a:cubicBezTo>
                        <a:pt x="57173" y="455994"/>
                        <a:pt x="52289" y="453785"/>
                        <a:pt x="49156" y="449642"/>
                      </a:cubicBezTo>
                      <a:lnTo>
                        <a:pt x="3357" y="390079"/>
                      </a:lnTo>
                      <a:cubicBezTo>
                        <a:pt x="777" y="386672"/>
                        <a:pt x="-421" y="382345"/>
                        <a:pt x="132" y="378019"/>
                      </a:cubicBezTo>
                      <a:cubicBezTo>
                        <a:pt x="685" y="373784"/>
                        <a:pt x="2988" y="369917"/>
                        <a:pt x="6398" y="367339"/>
                      </a:cubicBezTo>
                      <a:lnTo>
                        <a:pt x="9162" y="365130"/>
                      </a:lnTo>
                      <a:cubicBezTo>
                        <a:pt x="11374" y="384279"/>
                        <a:pt x="24367" y="401402"/>
                        <a:pt x="43904" y="407754"/>
                      </a:cubicBezTo>
                      <a:cubicBezTo>
                        <a:pt x="49064" y="409411"/>
                        <a:pt x="54409" y="410240"/>
                        <a:pt x="59661" y="410240"/>
                      </a:cubicBezTo>
                      <a:cubicBezTo>
                        <a:pt x="81040" y="410240"/>
                        <a:pt x="100945" y="396615"/>
                        <a:pt x="107948" y="375165"/>
                      </a:cubicBezTo>
                      <a:lnTo>
                        <a:pt x="126009" y="319836"/>
                      </a:lnTo>
                      <a:cubicBezTo>
                        <a:pt x="127484" y="315325"/>
                        <a:pt x="128037" y="310906"/>
                        <a:pt x="128221" y="306395"/>
                      </a:cubicBezTo>
                      <a:close/>
                      <a:moveTo>
                        <a:pt x="163534" y="163741"/>
                      </a:moveTo>
                      <a:cubicBezTo>
                        <a:pt x="162059" y="163741"/>
                        <a:pt x="160861" y="164938"/>
                        <a:pt x="160861" y="166411"/>
                      </a:cubicBezTo>
                      <a:lnTo>
                        <a:pt x="160861" y="185098"/>
                      </a:lnTo>
                      <a:cubicBezTo>
                        <a:pt x="160861" y="186571"/>
                        <a:pt x="162059" y="187767"/>
                        <a:pt x="163534" y="187767"/>
                      </a:cubicBezTo>
                      <a:lnTo>
                        <a:pt x="179484" y="187767"/>
                      </a:lnTo>
                      <a:cubicBezTo>
                        <a:pt x="180959" y="187767"/>
                        <a:pt x="182157" y="186571"/>
                        <a:pt x="182157" y="185098"/>
                      </a:cubicBezTo>
                      <a:lnTo>
                        <a:pt x="182157" y="166411"/>
                      </a:lnTo>
                      <a:cubicBezTo>
                        <a:pt x="182157" y="164938"/>
                        <a:pt x="180959" y="163741"/>
                        <a:pt x="179484" y="163741"/>
                      </a:cubicBezTo>
                      <a:close/>
                      <a:moveTo>
                        <a:pt x="131358" y="155456"/>
                      </a:moveTo>
                      <a:lnTo>
                        <a:pt x="211383" y="155456"/>
                      </a:lnTo>
                      <a:cubicBezTo>
                        <a:pt x="233694" y="155456"/>
                        <a:pt x="253424" y="169725"/>
                        <a:pt x="260338" y="190989"/>
                      </a:cubicBezTo>
                      <a:lnTo>
                        <a:pt x="312151" y="350060"/>
                      </a:lnTo>
                      <a:cubicBezTo>
                        <a:pt x="317406" y="366078"/>
                        <a:pt x="308556" y="383292"/>
                        <a:pt x="292606" y="388447"/>
                      </a:cubicBezTo>
                      <a:cubicBezTo>
                        <a:pt x="289471" y="389460"/>
                        <a:pt x="286245" y="389920"/>
                        <a:pt x="283110" y="389920"/>
                      </a:cubicBezTo>
                      <a:cubicBezTo>
                        <a:pt x="270295" y="389920"/>
                        <a:pt x="258310" y="381819"/>
                        <a:pt x="254069" y="368931"/>
                      </a:cubicBezTo>
                      <a:lnTo>
                        <a:pt x="245310" y="341867"/>
                      </a:lnTo>
                      <a:lnTo>
                        <a:pt x="245310" y="383108"/>
                      </a:lnTo>
                      <a:lnTo>
                        <a:pt x="245310" y="577436"/>
                      </a:lnTo>
                      <a:cubicBezTo>
                        <a:pt x="245310" y="594466"/>
                        <a:pt x="231481" y="608274"/>
                        <a:pt x="214425" y="608274"/>
                      </a:cubicBezTo>
                      <a:cubicBezTo>
                        <a:pt x="197369" y="608274"/>
                        <a:pt x="183540" y="594466"/>
                        <a:pt x="183540" y="577436"/>
                      </a:cubicBezTo>
                      <a:lnTo>
                        <a:pt x="183540" y="391301"/>
                      </a:lnTo>
                      <a:cubicBezTo>
                        <a:pt x="187873" y="386146"/>
                        <a:pt x="190639" y="379886"/>
                        <a:pt x="191561" y="373074"/>
                      </a:cubicBezTo>
                      <a:cubicBezTo>
                        <a:pt x="192852" y="363316"/>
                        <a:pt x="190271" y="353742"/>
                        <a:pt x="184278" y="346102"/>
                      </a:cubicBezTo>
                      <a:lnTo>
                        <a:pt x="181789" y="342788"/>
                      </a:lnTo>
                      <a:lnTo>
                        <a:pt x="197646" y="323825"/>
                      </a:lnTo>
                      <a:cubicBezTo>
                        <a:pt x="200688" y="320142"/>
                        <a:pt x="201979" y="315355"/>
                        <a:pt x="201242" y="310661"/>
                      </a:cubicBezTo>
                      <a:lnTo>
                        <a:pt x="185015" y="216396"/>
                      </a:lnTo>
                      <a:lnTo>
                        <a:pt x="182526" y="201760"/>
                      </a:lnTo>
                      <a:cubicBezTo>
                        <a:pt x="182250" y="200471"/>
                        <a:pt x="181143" y="199550"/>
                        <a:pt x="179853" y="199550"/>
                      </a:cubicBezTo>
                      <a:lnTo>
                        <a:pt x="162797" y="199550"/>
                      </a:lnTo>
                      <a:cubicBezTo>
                        <a:pt x="161506" y="199550"/>
                        <a:pt x="160400" y="200471"/>
                        <a:pt x="160123" y="201760"/>
                      </a:cubicBezTo>
                      <a:lnTo>
                        <a:pt x="157634" y="216396"/>
                      </a:lnTo>
                      <a:lnTo>
                        <a:pt x="144266" y="293999"/>
                      </a:lnTo>
                      <a:lnTo>
                        <a:pt x="138550" y="286450"/>
                      </a:lnTo>
                      <a:cubicBezTo>
                        <a:pt x="133663" y="280191"/>
                        <a:pt x="127025" y="275864"/>
                        <a:pt x="119650" y="273747"/>
                      </a:cubicBezTo>
                      <a:lnTo>
                        <a:pt x="119189" y="275127"/>
                      </a:lnTo>
                      <a:lnTo>
                        <a:pt x="88580" y="368931"/>
                      </a:lnTo>
                      <a:cubicBezTo>
                        <a:pt x="83418" y="384949"/>
                        <a:pt x="66177" y="393694"/>
                        <a:pt x="50135" y="388447"/>
                      </a:cubicBezTo>
                      <a:cubicBezTo>
                        <a:pt x="34094" y="383200"/>
                        <a:pt x="25335" y="366078"/>
                        <a:pt x="30590" y="350060"/>
                      </a:cubicBezTo>
                      <a:lnTo>
                        <a:pt x="61107" y="256256"/>
                      </a:lnTo>
                      <a:lnTo>
                        <a:pt x="82403" y="190989"/>
                      </a:lnTo>
                      <a:cubicBezTo>
                        <a:pt x="89318" y="169725"/>
                        <a:pt x="108955" y="155456"/>
                        <a:pt x="131358" y="155456"/>
                      </a:cubicBezTo>
                      <a:close/>
                      <a:moveTo>
                        <a:pt x="171336" y="0"/>
                      </a:moveTo>
                      <a:cubicBezTo>
                        <a:pt x="208477" y="0"/>
                        <a:pt x="238585" y="30045"/>
                        <a:pt x="238585" y="67108"/>
                      </a:cubicBezTo>
                      <a:cubicBezTo>
                        <a:pt x="238585" y="104171"/>
                        <a:pt x="208477" y="134216"/>
                        <a:pt x="171336" y="134216"/>
                      </a:cubicBezTo>
                      <a:cubicBezTo>
                        <a:pt x="134195" y="134216"/>
                        <a:pt x="104087" y="104171"/>
                        <a:pt x="104087" y="67108"/>
                      </a:cubicBezTo>
                      <a:cubicBezTo>
                        <a:pt x="104087" y="30045"/>
                        <a:pt x="134195" y="0"/>
                        <a:pt x="171336" y="0"/>
                      </a:cubicBezTo>
                      <a:close/>
                    </a:path>
                  </a:pathLst>
                </a:custGeom>
                <a:solidFill>
                  <a:schemeClr val="accent2"/>
                </a:solidFill>
                <a:ln>
                  <a:noFill/>
                </a:ln>
              </p:spPr>
              <p:txBody>
                <a:bodyPr wrap="square" lIns="91440" tIns="45720" rIns="91440" bIns="45720" anchor="ctr">
                  <a:noAutofit/>
                </a:bodyPr>
                <a:lstStyle/>
                <a:p>
                  <a:pPr algn="ctr"/>
                  <a:endParaRPr/>
                </a:p>
              </p:txBody>
            </p:sp>
            <p:grpSp>
              <p:nvGrpSpPr>
                <p:cNvPr id="18" name="iŝḻîḓê">
                  <a:extLst>
                    <a:ext uri="{FF2B5EF4-FFF2-40B4-BE49-F238E27FC236}">
                      <a16:creationId xmlns:a16="http://schemas.microsoft.com/office/drawing/2014/main" id="{456F2151-58D6-44FA-9EF3-CDC81C80FE02}"/>
                    </a:ext>
                  </a:extLst>
                </p:cNvPr>
                <p:cNvGrpSpPr/>
                <p:nvPr/>
              </p:nvGrpSpPr>
              <p:grpSpPr>
                <a:xfrm>
                  <a:off x="1300995" y="1356745"/>
                  <a:ext cx="3252223" cy="1359022"/>
                  <a:chOff x="1712969" y="1356745"/>
                  <a:chExt cx="3252223" cy="1359022"/>
                </a:xfrm>
              </p:grpSpPr>
              <p:sp>
                <p:nvSpPr>
                  <p:cNvPr id="20" name="is1îḓê">
                    <a:extLst>
                      <a:ext uri="{FF2B5EF4-FFF2-40B4-BE49-F238E27FC236}">
                        <a16:creationId xmlns:a16="http://schemas.microsoft.com/office/drawing/2014/main" id="{06754649-4137-4098-A793-2DA7E8B42AC9}"/>
                      </a:ext>
                    </a:extLst>
                  </p:cNvPr>
                  <p:cNvSpPr txBox="1"/>
                  <p:nvPr/>
                </p:nvSpPr>
                <p:spPr>
                  <a:xfrm>
                    <a:off x="1712970" y="1356745"/>
                    <a:ext cx="3252218" cy="449700"/>
                  </a:xfrm>
                  <a:prstGeom prst="rect">
                    <a:avLst/>
                  </a:prstGeom>
                  <a:noFill/>
                </p:spPr>
                <p:txBody>
                  <a:bodyPr wrap="square" lIns="91440" tIns="45720" rIns="91440" bIns="45720" anchor="ctr" anchorCtr="0">
                    <a:normAutofit/>
                  </a:bodyPr>
                  <a:lstStyle/>
                  <a:p>
                    <a:r>
                      <a:rPr lang="en-US" altLang="zh-CN" b="1"/>
                      <a:t>Text here</a:t>
                    </a:r>
                    <a:endParaRPr lang="zh-CN" altLang="en-US" b="1" dirty="0"/>
                  </a:p>
                </p:txBody>
              </p:sp>
              <p:sp>
                <p:nvSpPr>
                  <p:cNvPr id="21" name="íṩḻiďe">
                    <a:extLst>
                      <a:ext uri="{FF2B5EF4-FFF2-40B4-BE49-F238E27FC236}">
                        <a16:creationId xmlns:a16="http://schemas.microsoft.com/office/drawing/2014/main" id="{62A15E7B-B23A-43B3-91DF-38EB08ED4D2A}"/>
                      </a:ext>
                    </a:extLst>
                  </p:cNvPr>
                  <p:cNvSpPr txBox="1"/>
                  <p:nvPr/>
                </p:nvSpPr>
                <p:spPr>
                  <a:xfrm>
                    <a:off x="1712969" y="1806444"/>
                    <a:ext cx="3252223" cy="909323"/>
                  </a:xfrm>
                  <a:prstGeom prst="rect">
                    <a:avLst/>
                  </a:prstGeom>
                  <a:noFill/>
                </p:spPr>
                <p:txBody>
                  <a:bodyPr wrap="square" lIns="91440" tIns="45720" rIns="91440" bIns="45720" anchor="t" anchorCtr="0">
                    <a:normAutofit/>
                  </a:bodyPr>
                  <a:lstStyle/>
                  <a:p>
                    <a:pPr>
                      <a:lnSpc>
                        <a:spcPct val="130000"/>
                      </a:lnSpc>
                    </a:pPr>
                    <a:r>
                      <a:rPr lang="en-US" altLang="zh-CN" sz="1100"/>
                      <a:t>Copy paste fonts. Choose the only option to retain text.</a:t>
                    </a:r>
                  </a:p>
                  <a:p>
                    <a:pPr>
                      <a:lnSpc>
                        <a:spcPct val="130000"/>
                      </a:lnSpc>
                    </a:pPr>
                    <a:r>
                      <a:rPr lang="en-US" altLang="zh-CN" sz="1100"/>
                      <a:t>……</a:t>
                    </a:r>
                    <a:endParaRPr lang="en-US" altLang="zh-CN" sz="1100" dirty="0"/>
                  </a:p>
                </p:txBody>
              </p:sp>
            </p:grpSp>
            <p:sp>
              <p:nvSpPr>
                <p:cNvPr id="19" name="íṡlïdé">
                  <a:extLst>
                    <a:ext uri="{FF2B5EF4-FFF2-40B4-BE49-F238E27FC236}">
                      <a16:creationId xmlns:a16="http://schemas.microsoft.com/office/drawing/2014/main" id="{A856D35F-2747-4D46-8FB6-23D7A702B41D}"/>
                    </a:ext>
                  </a:extLst>
                </p:cNvPr>
                <p:cNvSpPr/>
                <p:nvPr/>
              </p:nvSpPr>
              <p:spPr bwMode="auto">
                <a:xfrm>
                  <a:off x="1115278" y="1527274"/>
                  <a:ext cx="140886" cy="140886"/>
                </a:xfrm>
                <a:prstGeom prst="ellipse">
                  <a:avLst/>
                </a:prstGeom>
                <a:solidFill>
                  <a:schemeClr val="accent2"/>
                </a:solidFill>
                <a:ln w="19050">
                  <a:solidFill>
                    <a:schemeClr val="bg1"/>
                  </a:solidFill>
                  <a:round/>
                  <a:headEnd/>
                  <a:tailEnd/>
                </a:ln>
              </p:spPr>
              <p:txBody>
                <a:bodyPr wrap="square" lIns="91440" tIns="45720" rIns="91440" bIns="45720" anchor="ctr">
                  <a:noAutofit/>
                </a:bodyPr>
                <a:lstStyle/>
                <a:p>
                  <a:pPr algn="ctr"/>
                  <a:endParaRPr/>
                </a:p>
              </p:txBody>
            </p:sp>
          </p:grpSp>
          <p:grpSp>
            <p:nvGrpSpPr>
              <p:cNvPr id="11" name="ïŝḷîḓê">
                <a:extLst>
                  <a:ext uri="{FF2B5EF4-FFF2-40B4-BE49-F238E27FC236}">
                    <a16:creationId xmlns:a16="http://schemas.microsoft.com/office/drawing/2014/main" id="{5585F532-6AA4-4FCA-88F6-54EC763F09BA}"/>
                  </a:ext>
                </a:extLst>
              </p:cNvPr>
              <p:cNvGrpSpPr/>
              <p:nvPr/>
            </p:nvGrpSpPr>
            <p:grpSpPr>
              <a:xfrm>
                <a:off x="673100" y="4483993"/>
                <a:ext cx="3880118" cy="1359022"/>
                <a:chOff x="673100" y="1356745"/>
                <a:chExt cx="3880118" cy="1359022"/>
              </a:xfrm>
            </p:grpSpPr>
            <p:sp>
              <p:nvSpPr>
                <p:cNvPr id="12" name="işḷïḓé">
                  <a:extLst>
                    <a:ext uri="{FF2B5EF4-FFF2-40B4-BE49-F238E27FC236}">
                      <a16:creationId xmlns:a16="http://schemas.microsoft.com/office/drawing/2014/main" id="{62FE2E92-355E-4C09-AC0B-29DBBAF8708E}"/>
                    </a:ext>
                  </a:extLst>
                </p:cNvPr>
                <p:cNvSpPr/>
                <p:nvPr/>
              </p:nvSpPr>
              <p:spPr bwMode="auto">
                <a:xfrm>
                  <a:off x="673100" y="1359708"/>
                  <a:ext cx="245468" cy="476018"/>
                </a:xfrm>
                <a:custGeom>
                  <a:avLst/>
                  <a:gdLst>
                    <a:gd name="connsiteX0" fmla="*/ 159127 w 313668"/>
                    <a:gd name="connsiteY0" fmla="*/ 411396 h 608274"/>
                    <a:gd name="connsiteX1" fmla="*/ 159127 w 313668"/>
                    <a:gd name="connsiteY1" fmla="*/ 577440 h 608274"/>
                    <a:gd name="connsiteX2" fmla="*/ 128336 w 313668"/>
                    <a:gd name="connsiteY2" fmla="*/ 608274 h 608274"/>
                    <a:gd name="connsiteX3" fmla="*/ 97453 w 313668"/>
                    <a:gd name="connsiteY3" fmla="*/ 577440 h 608274"/>
                    <a:gd name="connsiteX4" fmla="*/ 97453 w 313668"/>
                    <a:gd name="connsiteY4" fmla="*/ 458706 h 608274"/>
                    <a:gd name="connsiteX5" fmla="*/ 128221 w 313668"/>
                    <a:gd name="connsiteY5" fmla="*/ 306395 h 608274"/>
                    <a:gd name="connsiteX6" fmla="*/ 168122 w 313668"/>
                    <a:gd name="connsiteY6" fmla="*/ 358410 h 608274"/>
                    <a:gd name="connsiteX7" fmla="*/ 171347 w 313668"/>
                    <a:gd name="connsiteY7" fmla="*/ 370377 h 608274"/>
                    <a:gd name="connsiteX8" fmla="*/ 165173 w 313668"/>
                    <a:gd name="connsiteY8" fmla="*/ 381149 h 608274"/>
                    <a:gd name="connsiteX9" fmla="*/ 71917 w 313668"/>
                    <a:gd name="connsiteY9" fmla="*/ 452588 h 608274"/>
                    <a:gd name="connsiteX10" fmla="*/ 62057 w 313668"/>
                    <a:gd name="connsiteY10" fmla="*/ 455994 h 608274"/>
                    <a:gd name="connsiteX11" fmla="*/ 49156 w 313668"/>
                    <a:gd name="connsiteY11" fmla="*/ 449642 h 608274"/>
                    <a:gd name="connsiteX12" fmla="*/ 3357 w 313668"/>
                    <a:gd name="connsiteY12" fmla="*/ 390079 h 608274"/>
                    <a:gd name="connsiteX13" fmla="*/ 132 w 313668"/>
                    <a:gd name="connsiteY13" fmla="*/ 378019 h 608274"/>
                    <a:gd name="connsiteX14" fmla="*/ 6398 w 313668"/>
                    <a:gd name="connsiteY14" fmla="*/ 367339 h 608274"/>
                    <a:gd name="connsiteX15" fmla="*/ 9162 w 313668"/>
                    <a:gd name="connsiteY15" fmla="*/ 365130 h 608274"/>
                    <a:gd name="connsiteX16" fmla="*/ 43904 w 313668"/>
                    <a:gd name="connsiteY16" fmla="*/ 407754 h 608274"/>
                    <a:gd name="connsiteX17" fmla="*/ 59661 w 313668"/>
                    <a:gd name="connsiteY17" fmla="*/ 410240 h 608274"/>
                    <a:gd name="connsiteX18" fmla="*/ 107948 w 313668"/>
                    <a:gd name="connsiteY18" fmla="*/ 375165 h 608274"/>
                    <a:gd name="connsiteX19" fmla="*/ 126009 w 313668"/>
                    <a:gd name="connsiteY19" fmla="*/ 319836 h 608274"/>
                    <a:gd name="connsiteX20" fmla="*/ 128221 w 313668"/>
                    <a:gd name="connsiteY20" fmla="*/ 306395 h 608274"/>
                    <a:gd name="connsiteX21" fmla="*/ 163534 w 313668"/>
                    <a:gd name="connsiteY21" fmla="*/ 163741 h 608274"/>
                    <a:gd name="connsiteX22" fmla="*/ 160861 w 313668"/>
                    <a:gd name="connsiteY22" fmla="*/ 166411 h 608274"/>
                    <a:gd name="connsiteX23" fmla="*/ 160861 w 313668"/>
                    <a:gd name="connsiteY23" fmla="*/ 185098 h 608274"/>
                    <a:gd name="connsiteX24" fmla="*/ 163534 w 313668"/>
                    <a:gd name="connsiteY24" fmla="*/ 187767 h 608274"/>
                    <a:gd name="connsiteX25" fmla="*/ 179484 w 313668"/>
                    <a:gd name="connsiteY25" fmla="*/ 187767 h 608274"/>
                    <a:gd name="connsiteX26" fmla="*/ 182157 w 313668"/>
                    <a:gd name="connsiteY26" fmla="*/ 185098 h 608274"/>
                    <a:gd name="connsiteX27" fmla="*/ 182157 w 313668"/>
                    <a:gd name="connsiteY27" fmla="*/ 166411 h 608274"/>
                    <a:gd name="connsiteX28" fmla="*/ 179484 w 313668"/>
                    <a:gd name="connsiteY28" fmla="*/ 163741 h 608274"/>
                    <a:gd name="connsiteX29" fmla="*/ 131358 w 313668"/>
                    <a:gd name="connsiteY29" fmla="*/ 155456 h 608274"/>
                    <a:gd name="connsiteX30" fmla="*/ 211383 w 313668"/>
                    <a:gd name="connsiteY30" fmla="*/ 155456 h 608274"/>
                    <a:gd name="connsiteX31" fmla="*/ 260338 w 313668"/>
                    <a:gd name="connsiteY31" fmla="*/ 190989 h 608274"/>
                    <a:gd name="connsiteX32" fmla="*/ 312151 w 313668"/>
                    <a:gd name="connsiteY32" fmla="*/ 350060 h 608274"/>
                    <a:gd name="connsiteX33" fmla="*/ 292606 w 313668"/>
                    <a:gd name="connsiteY33" fmla="*/ 388447 h 608274"/>
                    <a:gd name="connsiteX34" fmla="*/ 283110 w 313668"/>
                    <a:gd name="connsiteY34" fmla="*/ 389920 h 608274"/>
                    <a:gd name="connsiteX35" fmla="*/ 254069 w 313668"/>
                    <a:gd name="connsiteY35" fmla="*/ 368931 h 608274"/>
                    <a:gd name="connsiteX36" fmla="*/ 245310 w 313668"/>
                    <a:gd name="connsiteY36" fmla="*/ 341867 h 608274"/>
                    <a:gd name="connsiteX37" fmla="*/ 245310 w 313668"/>
                    <a:gd name="connsiteY37" fmla="*/ 383108 h 608274"/>
                    <a:gd name="connsiteX38" fmla="*/ 245310 w 313668"/>
                    <a:gd name="connsiteY38" fmla="*/ 577436 h 608274"/>
                    <a:gd name="connsiteX39" fmla="*/ 214425 w 313668"/>
                    <a:gd name="connsiteY39" fmla="*/ 608274 h 608274"/>
                    <a:gd name="connsiteX40" fmla="*/ 183540 w 313668"/>
                    <a:gd name="connsiteY40" fmla="*/ 577436 h 608274"/>
                    <a:gd name="connsiteX41" fmla="*/ 183540 w 313668"/>
                    <a:gd name="connsiteY41" fmla="*/ 391301 h 608274"/>
                    <a:gd name="connsiteX42" fmla="*/ 191561 w 313668"/>
                    <a:gd name="connsiteY42" fmla="*/ 373074 h 608274"/>
                    <a:gd name="connsiteX43" fmla="*/ 184278 w 313668"/>
                    <a:gd name="connsiteY43" fmla="*/ 346102 h 608274"/>
                    <a:gd name="connsiteX44" fmla="*/ 181789 w 313668"/>
                    <a:gd name="connsiteY44" fmla="*/ 342788 h 608274"/>
                    <a:gd name="connsiteX45" fmla="*/ 197646 w 313668"/>
                    <a:gd name="connsiteY45" fmla="*/ 323825 h 608274"/>
                    <a:gd name="connsiteX46" fmla="*/ 201242 w 313668"/>
                    <a:gd name="connsiteY46" fmla="*/ 310661 h 608274"/>
                    <a:gd name="connsiteX47" fmla="*/ 185015 w 313668"/>
                    <a:gd name="connsiteY47" fmla="*/ 216396 h 608274"/>
                    <a:gd name="connsiteX48" fmla="*/ 182526 w 313668"/>
                    <a:gd name="connsiteY48" fmla="*/ 201760 h 608274"/>
                    <a:gd name="connsiteX49" fmla="*/ 179853 w 313668"/>
                    <a:gd name="connsiteY49" fmla="*/ 199550 h 608274"/>
                    <a:gd name="connsiteX50" fmla="*/ 162797 w 313668"/>
                    <a:gd name="connsiteY50" fmla="*/ 199550 h 608274"/>
                    <a:gd name="connsiteX51" fmla="*/ 160123 w 313668"/>
                    <a:gd name="connsiteY51" fmla="*/ 201760 h 608274"/>
                    <a:gd name="connsiteX52" fmla="*/ 157634 w 313668"/>
                    <a:gd name="connsiteY52" fmla="*/ 216396 h 608274"/>
                    <a:gd name="connsiteX53" fmla="*/ 144266 w 313668"/>
                    <a:gd name="connsiteY53" fmla="*/ 293999 h 608274"/>
                    <a:gd name="connsiteX54" fmla="*/ 138550 w 313668"/>
                    <a:gd name="connsiteY54" fmla="*/ 286450 h 608274"/>
                    <a:gd name="connsiteX55" fmla="*/ 119650 w 313668"/>
                    <a:gd name="connsiteY55" fmla="*/ 273747 h 608274"/>
                    <a:gd name="connsiteX56" fmla="*/ 119189 w 313668"/>
                    <a:gd name="connsiteY56" fmla="*/ 275127 h 608274"/>
                    <a:gd name="connsiteX57" fmla="*/ 88580 w 313668"/>
                    <a:gd name="connsiteY57" fmla="*/ 368931 h 608274"/>
                    <a:gd name="connsiteX58" fmla="*/ 50135 w 313668"/>
                    <a:gd name="connsiteY58" fmla="*/ 388447 h 608274"/>
                    <a:gd name="connsiteX59" fmla="*/ 30590 w 313668"/>
                    <a:gd name="connsiteY59" fmla="*/ 350060 h 608274"/>
                    <a:gd name="connsiteX60" fmla="*/ 61107 w 313668"/>
                    <a:gd name="connsiteY60" fmla="*/ 256256 h 608274"/>
                    <a:gd name="connsiteX61" fmla="*/ 82403 w 313668"/>
                    <a:gd name="connsiteY61" fmla="*/ 190989 h 608274"/>
                    <a:gd name="connsiteX62" fmla="*/ 131358 w 313668"/>
                    <a:gd name="connsiteY62" fmla="*/ 155456 h 608274"/>
                    <a:gd name="connsiteX63" fmla="*/ 171336 w 313668"/>
                    <a:gd name="connsiteY63" fmla="*/ 0 h 608274"/>
                    <a:gd name="connsiteX64" fmla="*/ 238585 w 313668"/>
                    <a:gd name="connsiteY64" fmla="*/ 67108 h 608274"/>
                    <a:gd name="connsiteX65" fmla="*/ 171336 w 313668"/>
                    <a:gd name="connsiteY65" fmla="*/ 134216 h 608274"/>
                    <a:gd name="connsiteX66" fmla="*/ 104087 w 313668"/>
                    <a:gd name="connsiteY66" fmla="*/ 67108 h 608274"/>
                    <a:gd name="connsiteX67" fmla="*/ 171336 w 313668"/>
                    <a:gd name="connsiteY67" fmla="*/ 0 h 6082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13668" h="608274">
                      <a:moveTo>
                        <a:pt x="159127" y="411396"/>
                      </a:moveTo>
                      <a:lnTo>
                        <a:pt x="159127" y="577440"/>
                      </a:lnTo>
                      <a:cubicBezTo>
                        <a:pt x="159127" y="594468"/>
                        <a:pt x="145391" y="608274"/>
                        <a:pt x="128336" y="608274"/>
                      </a:cubicBezTo>
                      <a:cubicBezTo>
                        <a:pt x="111282" y="608274"/>
                        <a:pt x="97453" y="594468"/>
                        <a:pt x="97453" y="577440"/>
                      </a:cubicBezTo>
                      <a:lnTo>
                        <a:pt x="97453" y="458706"/>
                      </a:lnTo>
                      <a:close/>
                      <a:moveTo>
                        <a:pt x="128221" y="306395"/>
                      </a:moveTo>
                      <a:lnTo>
                        <a:pt x="168122" y="358410"/>
                      </a:lnTo>
                      <a:cubicBezTo>
                        <a:pt x="170794" y="361816"/>
                        <a:pt x="171900" y="366143"/>
                        <a:pt x="171347" y="370377"/>
                      </a:cubicBezTo>
                      <a:cubicBezTo>
                        <a:pt x="170794" y="374612"/>
                        <a:pt x="168583" y="378479"/>
                        <a:pt x="165173" y="381149"/>
                      </a:cubicBezTo>
                      <a:lnTo>
                        <a:pt x="71917" y="452588"/>
                      </a:lnTo>
                      <a:cubicBezTo>
                        <a:pt x="68968" y="454889"/>
                        <a:pt x="65467" y="455994"/>
                        <a:pt x="62057" y="455994"/>
                      </a:cubicBezTo>
                      <a:cubicBezTo>
                        <a:pt x="57173" y="455994"/>
                        <a:pt x="52289" y="453785"/>
                        <a:pt x="49156" y="449642"/>
                      </a:cubicBezTo>
                      <a:lnTo>
                        <a:pt x="3357" y="390079"/>
                      </a:lnTo>
                      <a:cubicBezTo>
                        <a:pt x="777" y="386672"/>
                        <a:pt x="-421" y="382345"/>
                        <a:pt x="132" y="378019"/>
                      </a:cubicBezTo>
                      <a:cubicBezTo>
                        <a:pt x="685" y="373784"/>
                        <a:pt x="2988" y="369917"/>
                        <a:pt x="6398" y="367339"/>
                      </a:cubicBezTo>
                      <a:lnTo>
                        <a:pt x="9162" y="365130"/>
                      </a:lnTo>
                      <a:cubicBezTo>
                        <a:pt x="11374" y="384279"/>
                        <a:pt x="24367" y="401402"/>
                        <a:pt x="43904" y="407754"/>
                      </a:cubicBezTo>
                      <a:cubicBezTo>
                        <a:pt x="49064" y="409411"/>
                        <a:pt x="54409" y="410240"/>
                        <a:pt x="59661" y="410240"/>
                      </a:cubicBezTo>
                      <a:cubicBezTo>
                        <a:pt x="81040" y="410240"/>
                        <a:pt x="100945" y="396615"/>
                        <a:pt x="107948" y="375165"/>
                      </a:cubicBezTo>
                      <a:lnTo>
                        <a:pt x="126009" y="319836"/>
                      </a:lnTo>
                      <a:cubicBezTo>
                        <a:pt x="127484" y="315325"/>
                        <a:pt x="128037" y="310906"/>
                        <a:pt x="128221" y="306395"/>
                      </a:cubicBezTo>
                      <a:close/>
                      <a:moveTo>
                        <a:pt x="163534" y="163741"/>
                      </a:moveTo>
                      <a:cubicBezTo>
                        <a:pt x="162059" y="163741"/>
                        <a:pt x="160861" y="164938"/>
                        <a:pt x="160861" y="166411"/>
                      </a:cubicBezTo>
                      <a:lnTo>
                        <a:pt x="160861" y="185098"/>
                      </a:lnTo>
                      <a:cubicBezTo>
                        <a:pt x="160861" y="186571"/>
                        <a:pt x="162059" y="187767"/>
                        <a:pt x="163534" y="187767"/>
                      </a:cubicBezTo>
                      <a:lnTo>
                        <a:pt x="179484" y="187767"/>
                      </a:lnTo>
                      <a:cubicBezTo>
                        <a:pt x="180959" y="187767"/>
                        <a:pt x="182157" y="186571"/>
                        <a:pt x="182157" y="185098"/>
                      </a:cubicBezTo>
                      <a:lnTo>
                        <a:pt x="182157" y="166411"/>
                      </a:lnTo>
                      <a:cubicBezTo>
                        <a:pt x="182157" y="164938"/>
                        <a:pt x="180959" y="163741"/>
                        <a:pt x="179484" y="163741"/>
                      </a:cubicBezTo>
                      <a:close/>
                      <a:moveTo>
                        <a:pt x="131358" y="155456"/>
                      </a:moveTo>
                      <a:lnTo>
                        <a:pt x="211383" y="155456"/>
                      </a:lnTo>
                      <a:cubicBezTo>
                        <a:pt x="233694" y="155456"/>
                        <a:pt x="253424" y="169725"/>
                        <a:pt x="260338" y="190989"/>
                      </a:cubicBezTo>
                      <a:lnTo>
                        <a:pt x="312151" y="350060"/>
                      </a:lnTo>
                      <a:cubicBezTo>
                        <a:pt x="317406" y="366078"/>
                        <a:pt x="308556" y="383292"/>
                        <a:pt x="292606" y="388447"/>
                      </a:cubicBezTo>
                      <a:cubicBezTo>
                        <a:pt x="289471" y="389460"/>
                        <a:pt x="286245" y="389920"/>
                        <a:pt x="283110" y="389920"/>
                      </a:cubicBezTo>
                      <a:cubicBezTo>
                        <a:pt x="270295" y="389920"/>
                        <a:pt x="258310" y="381819"/>
                        <a:pt x="254069" y="368931"/>
                      </a:cubicBezTo>
                      <a:lnTo>
                        <a:pt x="245310" y="341867"/>
                      </a:lnTo>
                      <a:lnTo>
                        <a:pt x="245310" y="383108"/>
                      </a:lnTo>
                      <a:lnTo>
                        <a:pt x="245310" y="577436"/>
                      </a:lnTo>
                      <a:cubicBezTo>
                        <a:pt x="245310" y="594466"/>
                        <a:pt x="231481" y="608274"/>
                        <a:pt x="214425" y="608274"/>
                      </a:cubicBezTo>
                      <a:cubicBezTo>
                        <a:pt x="197369" y="608274"/>
                        <a:pt x="183540" y="594466"/>
                        <a:pt x="183540" y="577436"/>
                      </a:cubicBezTo>
                      <a:lnTo>
                        <a:pt x="183540" y="391301"/>
                      </a:lnTo>
                      <a:cubicBezTo>
                        <a:pt x="187873" y="386146"/>
                        <a:pt x="190639" y="379886"/>
                        <a:pt x="191561" y="373074"/>
                      </a:cubicBezTo>
                      <a:cubicBezTo>
                        <a:pt x="192852" y="363316"/>
                        <a:pt x="190271" y="353742"/>
                        <a:pt x="184278" y="346102"/>
                      </a:cubicBezTo>
                      <a:lnTo>
                        <a:pt x="181789" y="342788"/>
                      </a:lnTo>
                      <a:lnTo>
                        <a:pt x="197646" y="323825"/>
                      </a:lnTo>
                      <a:cubicBezTo>
                        <a:pt x="200688" y="320142"/>
                        <a:pt x="201979" y="315355"/>
                        <a:pt x="201242" y="310661"/>
                      </a:cubicBezTo>
                      <a:lnTo>
                        <a:pt x="185015" y="216396"/>
                      </a:lnTo>
                      <a:lnTo>
                        <a:pt x="182526" y="201760"/>
                      </a:lnTo>
                      <a:cubicBezTo>
                        <a:pt x="182250" y="200471"/>
                        <a:pt x="181143" y="199550"/>
                        <a:pt x="179853" y="199550"/>
                      </a:cubicBezTo>
                      <a:lnTo>
                        <a:pt x="162797" y="199550"/>
                      </a:lnTo>
                      <a:cubicBezTo>
                        <a:pt x="161506" y="199550"/>
                        <a:pt x="160400" y="200471"/>
                        <a:pt x="160123" y="201760"/>
                      </a:cubicBezTo>
                      <a:lnTo>
                        <a:pt x="157634" y="216396"/>
                      </a:lnTo>
                      <a:lnTo>
                        <a:pt x="144266" y="293999"/>
                      </a:lnTo>
                      <a:lnTo>
                        <a:pt x="138550" y="286450"/>
                      </a:lnTo>
                      <a:cubicBezTo>
                        <a:pt x="133663" y="280191"/>
                        <a:pt x="127025" y="275864"/>
                        <a:pt x="119650" y="273747"/>
                      </a:cubicBezTo>
                      <a:lnTo>
                        <a:pt x="119189" y="275127"/>
                      </a:lnTo>
                      <a:lnTo>
                        <a:pt x="88580" y="368931"/>
                      </a:lnTo>
                      <a:cubicBezTo>
                        <a:pt x="83418" y="384949"/>
                        <a:pt x="66177" y="393694"/>
                        <a:pt x="50135" y="388447"/>
                      </a:cubicBezTo>
                      <a:cubicBezTo>
                        <a:pt x="34094" y="383200"/>
                        <a:pt x="25335" y="366078"/>
                        <a:pt x="30590" y="350060"/>
                      </a:cubicBezTo>
                      <a:lnTo>
                        <a:pt x="61107" y="256256"/>
                      </a:lnTo>
                      <a:lnTo>
                        <a:pt x="82403" y="190989"/>
                      </a:lnTo>
                      <a:cubicBezTo>
                        <a:pt x="89318" y="169725"/>
                        <a:pt x="108955" y="155456"/>
                        <a:pt x="131358" y="155456"/>
                      </a:cubicBezTo>
                      <a:close/>
                      <a:moveTo>
                        <a:pt x="171336" y="0"/>
                      </a:moveTo>
                      <a:cubicBezTo>
                        <a:pt x="208477" y="0"/>
                        <a:pt x="238585" y="30045"/>
                        <a:pt x="238585" y="67108"/>
                      </a:cubicBezTo>
                      <a:cubicBezTo>
                        <a:pt x="238585" y="104171"/>
                        <a:pt x="208477" y="134216"/>
                        <a:pt x="171336" y="134216"/>
                      </a:cubicBezTo>
                      <a:cubicBezTo>
                        <a:pt x="134195" y="134216"/>
                        <a:pt x="104087" y="104171"/>
                        <a:pt x="104087" y="67108"/>
                      </a:cubicBezTo>
                      <a:cubicBezTo>
                        <a:pt x="104087" y="30045"/>
                        <a:pt x="134195" y="0"/>
                        <a:pt x="171336" y="0"/>
                      </a:cubicBezTo>
                      <a:close/>
                    </a:path>
                  </a:pathLst>
                </a:custGeom>
                <a:solidFill>
                  <a:schemeClr val="accent2"/>
                </a:solidFill>
                <a:ln>
                  <a:noFill/>
                </a:ln>
              </p:spPr>
              <p:txBody>
                <a:bodyPr wrap="square" lIns="91440" tIns="45720" rIns="91440" bIns="45720" anchor="ctr">
                  <a:noAutofit/>
                </a:bodyPr>
                <a:lstStyle/>
                <a:p>
                  <a:pPr algn="ctr"/>
                  <a:endParaRPr/>
                </a:p>
              </p:txBody>
            </p:sp>
            <p:grpSp>
              <p:nvGrpSpPr>
                <p:cNvPr id="13" name="iṣḻîďè">
                  <a:extLst>
                    <a:ext uri="{FF2B5EF4-FFF2-40B4-BE49-F238E27FC236}">
                      <a16:creationId xmlns:a16="http://schemas.microsoft.com/office/drawing/2014/main" id="{13DCC11E-AF01-4CAF-AEC5-2F3F3E768E2C}"/>
                    </a:ext>
                  </a:extLst>
                </p:cNvPr>
                <p:cNvGrpSpPr/>
                <p:nvPr/>
              </p:nvGrpSpPr>
              <p:grpSpPr>
                <a:xfrm>
                  <a:off x="1300995" y="1356745"/>
                  <a:ext cx="3252223" cy="1359022"/>
                  <a:chOff x="1712969" y="1356745"/>
                  <a:chExt cx="3252223" cy="1359022"/>
                </a:xfrm>
              </p:grpSpPr>
              <p:sp>
                <p:nvSpPr>
                  <p:cNvPr id="15" name="i$ḷîḍè">
                    <a:extLst>
                      <a:ext uri="{FF2B5EF4-FFF2-40B4-BE49-F238E27FC236}">
                        <a16:creationId xmlns:a16="http://schemas.microsoft.com/office/drawing/2014/main" id="{9D071349-11BE-47F5-8B08-221B554D0E2F}"/>
                      </a:ext>
                    </a:extLst>
                  </p:cNvPr>
                  <p:cNvSpPr txBox="1"/>
                  <p:nvPr/>
                </p:nvSpPr>
                <p:spPr>
                  <a:xfrm>
                    <a:off x="1712970" y="1356745"/>
                    <a:ext cx="3252218" cy="449700"/>
                  </a:xfrm>
                  <a:prstGeom prst="rect">
                    <a:avLst/>
                  </a:prstGeom>
                  <a:noFill/>
                </p:spPr>
                <p:txBody>
                  <a:bodyPr wrap="square" lIns="91440" tIns="45720" rIns="91440" bIns="45720" anchor="ctr" anchorCtr="0">
                    <a:normAutofit/>
                  </a:bodyPr>
                  <a:lstStyle/>
                  <a:p>
                    <a:r>
                      <a:rPr lang="en-US" altLang="zh-CN" b="1"/>
                      <a:t>Text here</a:t>
                    </a:r>
                    <a:endParaRPr lang="zh-CN" altLang="en-US" b="1" dirty="0"/>
                  </a:p>
                </p:txBody>
              </p:sp>
              <p:sp>
                <p:nvSpPr>
                  <p:cNvPr id="16" name="îṧľïďê">
                    <a:extLst>
                      <a:ext uri="{FF2B5EF4-FFF2-40B4-BE49-F238E27FC236}">
                        <a16:creationId xmlns:a16="http://schemas.microsoft.com/office/drawing/2014/main" id="{8CB50B97-156F-4301-95B9-3D9FC57F7D93}"/>
                      </a:ext>
                    </a:extLst>
                  </p:cNvPr>
                  <p:cNvSpPr txBox="1"/>
                  <p:nvPr/>
                </p:nvSpPr>
                <p:spPr>
                  <a:xfrm>
                    <a:off x="1712969" y="1806444"/>
                    <a:ext cx="3252223" cy="909323"/>
                  </a:xfrm>
                  <a:prstGeom prst="rect">
                    <a:avLst/>
                  </a:prstGeom>
                  <a:noFill/>
                </p:spPr>
                <p:txBody>
                  <a:bodyPr wrap="square" lIns="91440" tIns="45720" rIns="91440" bIns="45720" anchor="t" anchorCtr="0">
                    <a:normAutofit/>
                  </a:bodyPr>
                  <a:lstStyle/>
                  <a:p>
                    <a:pPr>
                      <a:lnSpc>
                        <a:spcPct val="130000"/>
                      </a:lnSpc>
                    </a:pPr>
                    <a:r>
                      <a:rPr lang="en-US" altLang="zh-CN" sz="1100"/>
                      <a:t>Copy paste fonts. Choose the only option to retain text.</a:t>
                    </a:r>
                  </a:p>
                  <a:p>
                    <a:pPr>
                      <a:lnSpc>
                        <a:spcPct val="130000"/>
                      </a:lnSpc>
                    </a:pPr>
                    <a:r>
                      <a:rPr lang="en-US" altLang="zh-CN" sz="1100"/>
                      <a:t>……</a:t>
                    </a:r>
                    <a:endParaRPr lang="en-US" altLang="zh-CN" sz="1100" dirty="0"/>
                  </a:p>
                </p:txBody>
              </p:sp>
            </p:grpSp>
            <p:sp>
              <p:nvSpPr>
                <p:cNvPr id="14" name="îSľîḓe">
                  <a:extLst>
                    <a:ext uri="{FF2B5EF4-FFF2-40B4-BE49-F238E27FC236}">
                      <a16:creationId xmlns:a16="http://schemas.microsoft.com/office/drawing/2014/main" id="{333119E5-89AE-490F-A23B-0828C2CFC886}"/>
                    </a:ext>
                  </a:extLst>
                </p:cNvPr>
                <p:cNvSpPr/>
                <p:nvPr/>
              </p:nvSpPr>
              <p:spPr bwMode="auto">
                <a:xfrm>
                  <a:off x="1115278" y="1527274"/>
                  <a:ext cx="140886" cy="140886"/>
                </a:xfrm>
                <a:prstGeom prst="ellipse">
                  <a:avLst/>
                </a:prstGeom>
                <a:solidFill>
                  <a:schemeClr val="accent2"/>
                </a:solidFill>
                <a:ln w="19050">
                  <a:solidFill>
                    <a:schemeClr val="bg1"/>
                  </a:solidFill>
                  <a:round/>
                  <a:headEnd/>
                  <a:tailEnd/>
                </a:ln>
              </p:spPr>
              <p:txBody>
                <a:bodyPr wrap="square" lIns="91440" tIns="45720" rIns="91440" bIns="45720" anchor="ctr">
                  <a:noAutofit/>
                </a:bodyPr>
                <a:lstStyle/>
                <a:p>
                  <a:pPr algn="ctr"/>
                  <a:endParaRPr/>
                </a:p>
              </p:txBody>
            </p:sp>
          </p:grpSp>
        </p:grpSp>
      </p:grpSp>
    </p:spTree>
    <p:extLst>
      <p:ext uri="{BB962C8B-B14F-4D97-AF65-F5344CB8AC3E}">
        <p14:creationId xmlns:p14="http://schemas.microsoft.com/office/powerpoint/2010/main" val="305245353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A6A819F1-33AF-45D7-8BF6-2B0A9769CAD4}"/>
              </a:ext>
            </a:extLst>
          </p:cNvPr>
          <p:cNvGraphicFramePr>
            <a:graphicFrameLocks noChangeAspect="1"/>
          </p:cNvGraphicFramePr>
          <p:nvPr>
            <p:extLst>
              <p:ext uri="{D42A27DB-BD31-4B8C-83A1-F6EECF244321}">
                <p14:modId xmlns:p14="http://schemas.microsoft.com/office/powerpoint/2010/main" val="1096986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5" name="think-cell Slide" r:id="rId4" imgW="347" imgH="348" progId="TCLayout.ActiveDocument.1">
                  <p:embed/>
                </p:oleObj>
              </mc:Choice>
              <mc:Fallback>
                <p:oleObj name="think-cell Slide" r:id="rId4" imgW="347" imgH="348" progId="TCLayout.ActiveDocument.1">
                  <p:embed/>
                  <p:pic>
                    <p:nvPicPr>
                      <p:cNvPr id="3" name="对象 2" hidden="1">
                        <a:extLst>
                          <a:ext uri="{FF2B5EF4-FFF2-40B4-BE49-F238E27FC236}">
                            <a16:creationId xmlns:a16="http://schemas.microsoft.com/office/drawing/2014/main" id="{A6A819F1-33AF-45D7-8BF6-2B0A9769CAD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矩形 1" hidden="1">
            <a:extLst>
              <a:ext uri="{FF2B5EF4-FFF2-40B4-BE49-F238E27FC236}">
                <a16:creationId xmlns:a16="http://schemas.microsoft.com/office/drawing/2014/main" id="{FF51F16D-1BAD-46EE-A6F4-B8B94C9DF628}"/>
              </a:ext>
            </a:extLst>
          </p:cNvPr>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altLang="zh-CN" sz="2400" dirty="0">
              <a:latin typeface="Arial" panose="020B0604020202020204" pitchFamily="34" charset="0"/>
              <a:ea typeface="微软雅黑" panose="020B0503020204020204" pitchFamily="34" charset="-122"/>
              <a:cs typeface="+mj-cs"/>
              <a:sym typeface="Arial" panose="020B0604020202020204" pitchFamily="34" charset="0"/>
            </a:endParaRPr>
          </a:p>
        </p:txBody>
      </p:sp>
      <p:sp>
        <p:nvSpPr>
          <p:cNvPr id="5" name="标题 4"/>
          <p:cNvSpPr>
            <a:spLocks noGrp="1"/>
          </p:cNvSpPr>
          <p:nvPr>
            <p:ph type="ctrTitle"/>
          </p:nvPr>
        </p:nvSpPr>
        <p:spPr/>
        <p:txBody>
          <a:bodyPr/>
          <a:lstStyle/>
          <a:p>
            <a:r>
              <a:rPr lang="en-US" altLang="zh-CN" sz="8000" spc="-150" dirty="0"/>
              <a:t>Th</a:t>
            </a:r>
            <a:r>
              <a:rPr lang="en-US" altLang="zh-CN" sz="8000" spc="-150" dirty="0">
                <a:solidFill>
                  <a:schemeClr val="accent2"/>
                </a:solidFill>
              </a:rPr>
              <a:t>a</a:t>
            </a:r>
            <a:r>
              <a:rPr lang="en-US" altLang="zh-CN" sz="8000" spc="-150" dirty="0"/>
              <a:t>nks</a:t>
            </a:r>
            <a:br>
              <a:rPr lang="en-US" altLang="zh-CN" sz="2800" dirty="0"/>
            </a:br>
            <a:r>
              <a:rPr lang="en-US" altLang="zh-CN" sz="2800" dirty="0"/>
              <a:t>And Your Slogan Here</a:t>
            </a:r>
            <a:endParaRPr lang="zh-CN" altLang="en-US" dirty="0"/>
          </a:p>
        </p:txBody>
      </p:sp>
      <p:sp>
        <p:nvSpPr>
          <p:cNvPr id="7" name="文本占位符 6"/>
          <p:cNvSpPr>
            <a:spLocks noGrp="1"/>
          </p:cNvSpPr>
          <p:nvPr>
            <p:ph type="body" sz="quarter" idx="18"/>
          </p:nvPr>
        </p:nvSpPr>
        <p:spPr/>
        <p:txBody>
          <a:bodyPr/>
          <a:lstStyle/>
          <a:p>
            <a:r>
              <a:rPr lang="en-US" altLang="zh-CN" dirty="0">
                <a:hlinkClick r:id="rId6"/>
              </a:rPr>
              <a:t>iSlide-PowerPoint.com</a:t>
            </a:r>
            <a:endParaRPr lang="en-US" altLang="en-US" dirty="0"/>
          </a:p>
        </p:txBody>
      </p:sp>
      <p:sp>
        <p:nvSpPr>
          <p:cNvPr id="6" name="文本占位符 5"/>
          <p:cNvSpPr>
            <a:spLocks noGrp="1"/>
          </p:cNvSpPr>
          <p:nvPr>
            <p:ph type="body" sz="quarter" idx="10"/>
          </p:nvPr>
        </p:nvSpPr>
        <p:spPr/>
        <p:txBody>
          <a:bodyPr/>
          <a:lstStyle/>
          <a:p>
            <a:r>
              <a:rPr lang="en-US" altLang="zh-CN" dirty="0"/>
              <a:t>Silvia van de Berg / Management Assistant</a:t>
            </a:r>
          </a:p>
        </p:txBody>
      </p:sp>
      <p:cxnSp>
        <p:nvCxnSpPr>
          <p:cNvPr id="8" name="直接箭头连接符 7">
            <a:extLst>
              <a:ext uri="{FF2B5EF4-FFF2-40B4-BE49-F238E27FC236}">
                <a16:creationId xmlns:a16="http://schemas.microsoft.com/office/drawing/2014/main" id="{3F698A73-1C25-407A-9633-D189EF0D0428}"/>
              </a:ext>
            </a:extLst>
          </p:cNvPr>
          <p:cNvCxnSpPr>
            <a:cxnSpLocks/>
          </p:cNvCxnSpPr>
          <p:nvPr/>
        </p:nvCxnSpPr>
        <p:spPr>
          <a:xfrm>
            <a:off x="5886011" y="3429000"/>
            <a:ext cx="419977" cy="0"/>
          </a:xfrm>
          <a:prstGeom prst="straightConnector1">
            <a:avLst/>
          </a:prstGeom>
          <a:ln w="63500" cap="sq">
            <a:solidFill>
              <a:schemeClr val="accent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904303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6" name="组合 15"/>
          <p:cNvGrpSpPr/>
          <p:nvPr/>
        </p:nvGrpSpPr>
        <p:grpSpPr>
          <a:xfrm>
            <a:off x="1022814" y="2128462"/>
            <a:ext cx="4460537" cy="691252"/>
            <a:chOff x="1101012" y="2911151"/>
            <a:chExt cx="9573211" cy="1483567"/>
          </a:xfrm>
        </p:grpSpPr>
        <p:sp>
          <p:nvSpPr>
            <p:cNvPr id="2" name="椭圆 1"/>
            <p:cNvSpPr/>
            <p:nvPr/>
          </p:nvSpPr>
          <p:spPr>
            <a:xfrm>
              <a:off x="5551715" y="3069771"/>
              <a:ext cx="643813" cy="64381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7" name="椭圆 6"/>
            <p:cNvSpPr/>
            <p:nvPr/>
          </p:nvSpPr>
          <p:spPr>
            <a:xfrm>
              <a:off x="6447454" y="3069771"/>
              <a:ext cx="643813" cy="643813"/>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8" name="椭圆 7"/>
            <p:cNvSpPr/>
            <p:nvPr/>
          </p:nvSpPr>
          <p:spPr>
            <a:xfrm>
              <a:off x="7343193" y="3069771"/>
              <a:ext cx="643813" cy="643813"/>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9" name="椭圆 8"/>
            <p:cNvSpPr/>
            <p:nvPr/>
          </p:nvSpPr>
          <p:spPr>
            <a:xfrm>
              <a:off x="8238932" y="3069771"/>
              <a:ext cx="643813" cy="643813"/>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0" name="椭圆 9"/>
            <p:cNvSpPr/>
            <p:nvPr/>
          </p:nvSpPr>
          <p:spPr>
            <a:xfrm>
              <a:off x="9134671" y="3069771"/>
              <a:ext cx="643813" cy="64381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1" name="椭圆 10"/>
            <p:cNvSpPr/>
            <p:nvPr/>
          </p:nvSpPr>
          <p:spPr>
            <a:xfrm>
              <a:off x="10030410" y="3069771"/>
              <a:ext cx="643813" cy="643813"/>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2" name="椭圆 11"/>
            <p:cNvSpPr/>
            <p:nvPr/>
          </p:nvSpPr>
          <p:spPr>
            <a:xfrm>
              <a:off x="1101012" y="3069771"/>
              <a:ext cx="643813" cy="643813"/>
            </a:xfrm>
            <a:prstGeom prst="ellipse">
              <a:avLst/>
            </a:prstGeom>
            <a:solidFill>
              <a:schemeClr val="bg1"/>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3" name="椭圆 12"/>
            <p:cNvSpPr/>
            <p:nvPr/>
          </p:nvSpPr>
          <p:spPr>
            <a:xfrm>
              <a:off x="1996751" y="3069771"/>
              <a:ext cx="643813" cy="643813"/>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4" name="椭圆 13"/>
            <p:cNvSpPr/>
            <p:nvPr/>
          </p:nvSpPr>
          <p:spPr>
            <a:xfrm>
              <a:off x="2892490" y="3069771"/>
              <a:ext cx="643813" cy="643813"/>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sp>
          <p:nvSpPr>
            <p:cNvPr id="15" name="椭圆 14"/>
            <p:cNvSpPr/>
            <p:nvPr/>
          </p:nvSpPr>
          <p:spPr>
            <a:xfrm>
              <a:off x="3788229" y="3069771"/>
              <a:ext cx="643813" cy="64381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400"/>
            </a:p>
          </p:txBody>
        </p:sp>
        <p:cxnSp>
          <p:nvCxnSpPr>
            <p:cNvPr id="4" name="直接连接符 3"/>
            <p:cNvCxnSpPr/>
            <p:nvPr/>
          </p:nvCxnSpPr>
          <p:spPr>
            <a:xfrm>
              <a:off x="4982546" y="2911151"/>
              <a:ext cx="0" cy="1483567"/>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18" name="文本框 17"/>
          <p:cNvSpPr txBox="1"/>
          <p:nvPr/>
        </p:nvSpPr>
        <p:spPr>
          <a:xfrm>
            <a:off x="660400" y="1512849"/>
            <a:ext cx="5852173" cy="276999"/>
          </a:xfrm>
          <a:prstGeom prst="rect">
            <a:avLst/>
          </a:prstGeom>
          <a:noFill/>
        </p:spPr>
        <p:txBody>
          <a:bodyPr wrap="square" rtlCol="0">
            <a:spAutoFit/>
          </a:bodyPr>
          <a:lstStyle/>
          <a:p>
            <a:r>
              <a:rPr lang="en-US" altLang="zh-CN" sz="1200" dirty="0"/>
              <a:t>THEME COLORS</a:t>
            </a:r>
            <a:endParaRPr lang="zh-CN" altLang="en-US" sz="1200" dirty="0"/>
          </a:p>
        </p:txBody>
      </p:sp>
      <p:cxnSp>
        <p:nvCxnSpPr>
          <p:cNvPr id="20" name="直接连接符 19"/>
          <p:cNvCxnSpPr/>
          <p:nvPr/>
        </p:nvCxnSpPr>
        <p:spPr>
          <a:xfrm>
            <a:off x="669931" y="1843079"/>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1" name="文本框 20"/>
          <p:cNvSpPr txBox="1"/>
          <p:nvPr/>
        </p:nvSpPr>
        <p:spPr>
          <a:xfrm>
            <a:off x="669929" y="2689501"/>
            <a:ext cx="2161443" cy="215444"/>
          </a:xfrm>
          <a:prstGeom prst="rect">
            <a:avLst/>
          </a:prstGeom>
          <a:noFill/>
        </p:spPr>
        <p:txBody>
          <a:bodyPr wrap="square" rtlCol="0">
            <a:spAutoFit/>
          </a:bodyPr>
          <a:lstStyle>
            <a:defPPr>
              <a:defRPr lang="zh-CN"/>
            </a:defPPr>
            <a:lvl1pPr algn="ctr">
              <a:defRPr sz="800"/>
            </a:lvl1pPr>
          </a:lstStyle>
          <a:p>
            <a:r>
              <a:rPr lang="en-US" altLang="zh-CN" dirty="0"/>
              <a:t>Text/Background</a:t>
            </a:r>
            <a:endParaRPr lang="zh-CN" altLang="en-US" dirty="0"/>
          </a:p>
        </p:txBody>
      </p:sp>
      <p:sp>
        <p:nvSpPr>
          <p:cNvPr id="22" name="文本框 21"/>
          <p:cNvSpPr txBox="1"/>
          <p:nvPr/>
        </p:nvSpPr>
        <p:spPr>
          <a:xfrm>
            <a:off x="2841871" y="2689501"/>
            <a:ext cx="2876627" cy="215444"/>
          </a:xfrm>
          <a:prstGeom prst="rect">
            <a:avLst/>
          </a:prstGeom>
          <a:noFill/>
        </p:spPr>
        <p:txBody>
          <a:bodyPr wrap="square" rtlCol="0">
            <a:spAutoFit/>
          </a:bodyPr>
          <a:lstStyle/>
          <a:p>
            <a:pPr algn="ctr"/>
            <a:r>
              <a:rPr lang="en-US" altLang="zh-CN" sz="800" dirty="0"/>
              <a:t>Fill Colors</a:t>
            </a:r>
            <a:endParaRPr lang="zh-CN" altLang="en-US" sz="800" dirty="0"/>
          </a:p>
        </p:txBody>
      </p:sp>
      <p:sp>
        <p:nvSpPr>
          <p:cNvPr id="25" name="文本框 24"/>
          <p:cNvSpPr txBox="1"/>
          <p:nvPr/>
        </p:nvSpPr>
        <p:spPr>
          <a:xfrm>
            <a:off x="660400" y="3943133"/>
            <a:ext cx="5852173" cy="276999"/>
          </a:xfrm>
          <a:prstGeom prst="rect">
            <a:avLst/>
          </a:prstGeom>
          <a:noFill/>
        </p:spPr>
        <p:txBody>
          <a:bodyPr wrap="square" rtlCol="0">
            <a:spAutoFit/>
          </a:bodyPr>
          <a:lstStyle/>
          <a:p>
            <a:r>
              <a:rPr lang="en-US" altLang="zh-CN" sz="1200" dirty="0"/>
              <a:t>THEME FONTS</a:t>
            </a:r>
            <a:endParaRPr lang="zh-CN" altLang="en-US" sz="1200" dirty="0"/>
          </a:p>
        </p:txBody>
      </p:sp>
      <p:cxnSp>
        <p:nvCxnSpPr>
          <p:cNvPr id="26" name="直接连接符 25"/>
          <p:cNvCxnSpPr/>
          <p:nvPr/>
        </p:nvCxnSpPr>
        <p:spPr>
          <a:xfrm>
            <a:off x="669931" y="4273363"/>
            <a:ext cx="5852175"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sp>
        <p:nvSpPr>
          <p:cNvPr id="27" name="矩形 26"/>
          <p:cNvSpPr/>
          <p:nvPr/>
        </p:nvSpPr>
        <p:spPr>
          <a:xfrm>
            <a:off x="660400" y="4407104"/>
            <a:ext cx="5048569" cy="461665"/>
          </a:xfrm>
          <a:prstGeom prst="rect">
            <a:avLst/>
          </a:prstGeom>
          <a:noFill/>
        </p:spPr>
        <p:txBody>
          <a:bodyPr wrap="square" rtlCol="0">
            <a:spAutoFit/>
          </a:bodyPr>
          <a:lstStyle/>
          <a:p>
            <a:r>
              <a:rPr lang="en-US" altLang="zh-CN" sz="800" dirty="0"/>
              <a:t>East Asian Font: Microsoft </a:t>
            </a:r>
            <a:r>
              <a:rPr lang="en-US" altLang="zh-CN" sz="800" dirty="0" err="1"/>
              <a:t>YaHei</a:t>
            </a:r>
            <a:endParaRPr lang="en-US" altLang="zh-CN" sz="800" dirty="0"/>
          </a:p>
          <a:p>
            <a:endParaRPr lang="en-US" altLang="zh-CN" sz="800" dirty="0"/>
          </a:p>
          <a:p>
            <a:r>
              <a:rPr lang="en-US" altLang="zh-CN" sz="800" dirty="0"/>
              <a:t>Arial  Latin Font: Arial</a:t>
            </a:r>
            <a:endParaRPr lang="zh-CN" altLang="en-US" sz="800" dirty="0"/>
          </a:p>
        </p:txBody>
      </p:sp>
      <p:sp>
        <p:nvSpPr>
          <p:cNvPr id="32" name="文本框 31"/>
          <p:cNvSpPr txBox="1"/>
          <p:nvPr/>
        </p:nvSpPr>
        <p:spPr>
          <a:xfrm>
            <a:off x="6959600" y="1512850"/>
            <a:ext cx="4559300" cy="276999"/>
          </a:xfrm>
          <a:prstGeom prst="rect">
            <a:avLst/>
          </a:prstGeom>
          <a:noFill/>
        </p:spPr>
        <p:txBody>
          <a:bodyPr wrap="square" rtlCol="0">
            <a:spAutoFit/>
          </a:bodyPr>
          <a:lstStyle/>
          <a:p>
            <a:r>
              <a:rPr lang="en-US" altLang="zh-CN" sz="1200" dirty="0"/>
              <a:t>GUIDES (Microsoft Office 2016 and later)</a:t>
            </a:r>
            <a:endParaRPr lang="zh-CN" altLang="en-US" sz="1200" dirty="0"/>
          </a:p>
        </p:txBody>
      </p:sp>
      <p:cxnSp>
        <p:nvCxnSpPr>
          <p:cNvPr id="33" name="直接连接符 32"/>
          <p:cNvCxnSpPr/>
          <p:nvPr/>
        </p:nvCxnSpPr>
        <p:spPr>
          <a:xfrm>
            <a:off x="6959600" y="1843079"/>
            <a:ext cx="4559300" cy="0"/>
          </a:xfrm>
          <a:prstGeom prst="line">
            <a:avLst/>
          </a:prstGeom>
          <a:ln>
            <a:solidFill>
              <a:srgbClr val="BFBFBF"/>
            </a:solidFill>
          </a:ln>
        </p:spPr>
        <p:style>
          <a:lnRef idx="1">
            <a:schemeClr val="accent1"/>
          </a:lnRef>
          <a:fillRef idx="0">
            <a:schemeClr val="accent1"/>
          </a:fillRef>
          <a:effectRef idx="0">
            <a:schemeClr val="accent1"/>
          </a:effectRef>
          <a:fontRef idx="minor">
            <a:schemeClr val="tx1"/>
          </a:fontRef>
        </p:style>
      </p:cxnSp>
      <p:grpSp>
        <p:nvGrpSpPr>
          <p:cNvPr id="17" name="组合 16">
            <a:extLst>
              <a:ext uri="{FF2B5EF4-FFF2-40B4-BE49-F238E27FC236}">
                <a16:creationId xmlns:a16="http://schemas.microsoft.com/office/drawing/2014/main" id="{28681F2F-E8A9-44CF-AC1F-76EC4E7757F0}"/>
              </a:ext>
            </a:extLst>
          </p:cNvPr>
          <p:cNvGrpSpPr/>
          <p:nvPr/>
        </p:nvGrpSpPr>
        <p:grpSpPr>
          <a:xfrm>
            <a:off x="6959600" y="2103062"/>
            <a:ext cx="4559300" cy="2807437"/>
            <a:chOff x="7069136" y="2204131"/>
            <a:chExt cx="4449763" cy="2731768"/>
          </a:xfrm>
        </p:grpSpPr>
        <p:sp>
          <p:nvSpPr>
            <p:cNvPr id="35" name="矩形 34"/>
            <p:cNvSpPr/>
            <p:nvPr/>
          </p:nvSpPr>
          <p:spPr>
            <a:xfrm>
              <a:off x="7069136" y="2240063"/>
              <a:ext cx="4449763" cy="2502992"/>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cxnSp>
          <p:nvCxnSpPr>
            <p:cNvPr id="37" name="直接连接符 36"/>
            <p:cNvCxnSpPr/>
            <p:nvPr/>
          </p:nvCxnSpPr>
          <p:spPr>
            <a:xfrm>
              <a:off x="7332272"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38" name="直接连接符 37"/>
            <p:cNvCxnSpPr/>
            <p:nvPr/>
          </p:nvCxnSpPr>
          <p:spPr>
            <a:xfrm>
              <a:off x="11279121" y="2204131"/>
              <a:ext cx="0" cy="273176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0" name="直接连接符 39"/>
            <p:cNvCxnSpPr/>
            <p:nvPr/>
          </p:nvCxnSpPr>
          <p:spPr>
            <a:xfrm>
              <a:off x="7069136" y="2667250"/>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1" name="直接连接符 40"/>
            <p:cNvCxnSpPr/>
            <p:nvPr/>
          </p:nvCxnSpPr>
          <p:spPr>
            <a:xfrm>
              <a:off x="7069136" y="2746566"/>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2" name="直接连接符 41"/>
            <p:cNvCxnSpPr/>
            <p:nvPr/>
          </p:nvCxnSpPr>
          <p:spPr>
            <a:xfrm>
              <a:off x="7069136" y="4443013"/>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3" name="直接连接符 42"/>
            <p:cNvCxnSpPr/>
            <p:nvPr/>
          </p:nvCxnSpPr>
          <p:spPr>
            <a:xfrm>
              <a:off x="7069136" y="4517658"/>
              <a:ext cx="4449763"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6" name="直接连接符 45"/>
            <p:cNvCxnSpPr/>
            <p:nvPr/>
          </p:nvCxnSpPr>
          <p:spPr>
            <a:xfrm>
              <a:off x="7332271" y="2741895"/>
              <a:ext cx="3946849" cy="1701118"/>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sp>
        <p:nvSpPr>
          <p:cNvPr id="47" name="矩形 46"/>
          <p:cNvSpPr/>
          <p:nvPr/>
        </p:nvSpPr>
        <p:spPr>
          <a:xfrm>
            <a:off x="6959600" y="4822368"/>
            <a:ext cx="4559300" cy="338554"/>
          </a:xfrm>
          <a:prstGeom prst="rect">
            <a:avLst/>
          </a:prstGeom>
          <a:noFill/>
        </p:spPr>
        <p:txBody>
          <a:bodyPr wrap="square" rtlCol="0">
            <a:spAutoFit/>
          </a:bodyPr>
          <a:lstStyle/>
          <a:p>
            <a:r>
              <a:rPr lang="en-US" altLang="zh-CN" sz="800" dirty="0"/>
              <a:t>Press Alt + F9 to</a:t>
            </a:r>
            <a:r>
              <a:rPr lang="zh-CN" altLang="en-US" sz="800" dirty="0"/>
              <a:t> </a:t>
            </a:r>
            <a:r>
              <a:rPr lang="en-US" altLang="zh-CN" sz="800" dirty="0"/>
              <a:t>show/hide guides</a:t>
            </a:r>
          </a:p>
          <a:p>
            <a:endParaRPr lang="zh-CN" altLang="en-US" sz="800" dirty="0"/>
          </a:p>
        </p:txBody>
      </p:sp>
      <p:sp>
        <p:nvSpPr>
          <p:cNvPr id="39" name="文本框 38"/>
          <p:cNvSpPr txBox="1"/>
          <p:nvPr/>
        </p:nvSpPr>
        <p:spPr>
          <a:xfrm>
            <a:off x="660400" y="3104927"/>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800" dirty="0">
                <a:solidFill>
                  <a:srgbClr val="2F2F2F"/>
                </a:solidFill>
              </a:rPr>
              <a:t>More color schemes are optional in iSlide Color Library. Just click to apply</a:t>
            </a:r>
            <a:endParaRPr lang="zh-CN" altLang="en-US" sz="800" dirty="0">
              <a:solidFill>
                <a:srgbClr val="2F2F2F"/>
              </a:solidFill>
            </a:endParaRPr>
          </a:p>
        </p:txBody>
      </p:sp>
      <p:sp>
        <p:nvSpPr>
          <p:cNvPr id="44" name="文本框 43"/>
          <p:cNvSpPr txBox="1"/>
          <p:nvPr/>
        </p:nvSpPr>
        <p:spPr>
          <a:xfrm>
            <a:off x="660400" y="5304245"/>
            <a:ext cx="5852173" cy="2769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defRPr lang="zh-CN"/>
            </a:defPPr>
            <a:lvl1pPr>
              <a:defRPr sz="1200">
                <a:solidFill>
                  <a:schemeClr val="tx1">
                    <a:lumMod val="50000"/>
                    <a:lumOff val="50000"/>
                  </a:schemeClr>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ltLang="zh-CN" sz="800" dirty="0">
                <a:solidFill>
                  <a:srgbClr val="2F2F2F"/>
                </a:solidFill>
              </a:rPr>
              <a:t>To change theme fonts, you can click Design &gt; Variants &gt; Fonts, or use “Uniform Fonts” feature of iSlide</a:t>
            </a:r>
            <a:endParaRPr lang="zh-CN" altLang="en-US" sz="800" dirty="0">
              <a:solidFill>
                <a:srgbClr val="2F2F2F"/>
              </a:solidFill>
            </a:endParaRPr>
          </a:p>
        </p:txBody>
      </p:sp>
      <p:sp>
        <p:nvSpPr>
          <p:cNvPr id="6" name="Rectangle 5">
            <a:extLst>
              <a:ext uri="{FF2B5EF4-FFF2-40B4-BE49-F238E27FC236}">
                <a16:creationId xmlns:a16="http://schemas.microsoft.com/office/drawing/2014/main" id="{821214C4-3D8B-473D-9D9C-F2F23FBFB600}"/>
              </a:ext>
            </a:extLst>
          </p:cNvPr>
          <p:cNvSpPr/>
          <p:nvPr/>
        </p:nvSpPr>
        <p:spPr>
          <a:xfrm>
            <a:off x="6959599" y="5304244"/>
            <a:ext cx="4559300" cy="4001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altLang="zh-CN" sz="800" dirty="0">
                <a:solidFill>
                  <a:srgbClr val="2F2F2F"/>
                </a:solidFill>
              </a:rPr>
              <a:t>Use iSlide “Uniform Guides” feature to edit and apply more preset guides</a:t>
            </a:r>
          </a:p>
        </p:txBody>
      </p:sp>
      <p:sp>
        <p:nvSpPr>
          <p:cNvPr id="48" name="标题 1">
            <a:extLst>
              <a:ext uri="{FF2B5EF4-FFF2-40B4-BE49-F238E27FC236}">
                <a16:creationId xmlns:a16="http://schemas.microsoft.com/office/drawing/2014/main" id="{A063C456-63D9-49D6-A680-AB5AA5CB4C15}"/>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77"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en-US" altLang="zh-CN" sz="2800" b="1" dirty="0"/>
              <a:t>Design Criteria</a:t>
            </a:r>
            <a:endParaRPr lang="zh-CN" altLang="en-US" sz="2800" b="1" dirty="0"/>
          </a:p>
        </p:txBody>
      </p:sp>
      <p:sp>
        <p:nvSpPr>
          <p:cNvPr id="51" name="矩形 50">
            <a:extLst>
              <a:ext uri="{FF2B5EF4-FFF2-40B4-BE49-F238E27FC236}">
                <a16:creationId xmlns:a16="http://schemas.microsoft.com/office/drawing/2014/main" id="{DB6B50C1-7119-4649-A59E-12A0D311364C}"/>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en-US" altLang="zh-CN" sz="800" dirty="0">
                <a:solidFill>
                  <a:schemeClr val="bg1"/>
                </a:solidFill>
              </a:rPr>
              <a:t>This slide is an instruction. Please delete this slide before using it for presentation.</a:t>
            </a:r>
          </a:p>
        </p:txBody>
      </p:sp>
    </p:spTree>
    <p:extLst>
      <p:ext uri="{BB962C8B-B14F-4D97-AF65-F5344CB8AC3E}">
        <p14:creationId xmlns:p14="http://schemas.microsoft.com/office/powerpoint/2010/main" val="54577895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副标题 9">
            <a:extLst>
              <a:ext uri="{FF2B5EF4-FFF2-40B4-BE49-F238E27FC236}">
                <a16:creationId xmlns:a16="http://schemas.microsoft.com/office/drawing/2014/main" id="{3B488FCE-2B18-46FF-9521-112BCCFC4FDA}"/>
              </a:ext>
            </a:extLst>
          </p:cNvPr>
          <p:cNvSpPr txBox="1">
            <a:spLocks/>
          </p:cNvSpPr>
          <p:nvPr/>
        </p:nvSpPr>
        <p:spPr>
          <a:xfrm>
            <a:off x="660400" y="5074963"/>
            <a:ext cx="10858500" cy="706715"/>
          </a:xfrm>
          <a:prstGeom prst="rect">
            <a:avLst/>
          </a:prstGeom>
        </p:spPr>
        <p:txBody>
          <a:bodyPr vert="horz" lIns="91440" tIns="45720" rIns="91440" bIns="45720" rtlCol="0" anchor="t">
            <a:noAutofit/>
          </a:bodyPr>
          <a:lstStyle>
            <a:lvl1pPr marL="0" indent="0" algn="ctr" defTabSz="914354" rtl="0" eaLnBrk="1" latinLnBrk="0" hangingPunct="1">
              <a:lnSpc>
                <a:spcPct val="100000"/>
              </a:lnSpc>
              <a:spcBef>
                <a:spcPts val="0"/>
              </a:spcBef>
              <a:buFont typeface="Arial" panose="020B0604020202020204" pitchFamily="34" charset="0"/>
              <a:buNone/>
              <a:defRPr sz="800" kern="1200">
                <a:solidFill>
                  <a:schemeClr val="bg1"/>
                </a:solidFill>
                <a:latin typeface="+mn-lt"/>
                <a:ea typeface="+mn-ea"/>
                <a:cs typeface="+mn-cs"/>
              </a:defRPr>
            </a:lvl1pPr>
            <a:lvl2pPr marL="457178" indent="0" algn="ctr" defTabSz="914354"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354" indent="0" algn="ctr" defTabSz="914354"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53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709"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5886"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062"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240"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418" indent="0" algn="ctr" defTabSz="914354"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l" defTabSz="914332">
              <a:defRPr/>
            </a:pPr>
            <a:r>
              <a:rPr lang="en-US" altLang="zh-CN" sz="1200" dirty="0">
                <a:solidFill>
                  <a:srgbClr val="2F2F2F"/>
                </a:solidFill>
                <a:latin typeface="Arial"/>
                <a:ea typeface="微软雅黑"/>
              </a:rPr>
              <a:t>Download for FREE</a:t>
            </a:r>
          </a:p>
          <a:p>
            <a:pPr algn="l" defTabSz="914332">
              <a:defRPr/>
            </a:pPr>
            <a:r>
              <a:rPr lang="en-US" altLang="zh-CN" sz="1200" dirty="0">
                <a:solidFill>
                  <a:srgbClr val="FF0000"/>
                </a:solidFill>
                <a:latin typeface="Arial"/>
                <a:ea typeface="微软雅黑"/>
                <a:hlinkClick r:id="rId2">
                  <a:extLst>
                    <a:ext uri="{A12FA001-AC4F-418D-AE19-62706E023703}">
                      <ahyp:hlinkClr xmlns:ahyp="http://schemas.microsoft.com/office/drawing/2018/hyperlinkcolor" val="tx"/>
                    </a:ext>
                  </a:extLst>
                </a:hlinkClick>
              </a:rPr>
              <a:t>https://islide-powerpoint.com</a:t>
            </a:r>
            <a:r>
              <a:rPr lang="en-US" altLang="zh-CN" sz="1200" dirty="0">
                <a:solidFill>
                  <a:srgbClr val="FF0000"/>
                </a:solidFill>
                <a:latin typeface="Arial"/>
                <a:ea typeface="微软雅黑"/>
              </a:rPr>
              <a:t> </a:t>
            </a:r>
          </a:p>
        </p:txBody>
      </p:sp>
      <p:sp>
        <p:nvSpPr>
          <p:cNvPr id="2" name="矩形 1">
            <a:extLst>
              <a:ext uri="{FF2B5EF4-FFF2-40B4-BE49-F238E27FC236}">
                <a16:creationId xmlns:a16="http://schemas.microsoft.com/office/drawing/2014/main" id="{0F09207A-DED4-4EE0-BCCC-3275073B5540}"/>
              </a:ext>
            </a:extLst>
          </p:cNvPr>
          <p:cNvSpPr/>
          <p:nvPr/>
        </p:nvSpPr>
        <p:spPr>
          <a:xfrm>
            <a:off x="660400" y="2553342"/>
            <a:ext cx="10858500" cy="1223284"/>
          </a:xfrm>
          <a:prstGeom prst="rect">
            <a:avLst/>
          </a:prstGeom>
        </p:spPr>
        <p:txBody>
          <a:bodyPr wrap="square">
            <a:spAutoFit/>
          </a:bodyPr>
          <a:lstStyle/>
          <a:p>
            <a:pPr defTabSz="914332">
              <a:lnSpc>
                <a:spcPct val="120000"/>
              </a:lnSpc>
              <a:spcBef>
                <a:spcPct val="0"/>
              </a:spcBef>
              <a:defRPr/>
            </a:pPr>
            <a:r>
              <a:rPr lang="en-US" altLang="zh-CN" sz="3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Slide add-in saves you 90% of the time </a:t>
            </a:r>
            <a:br>
              <a:rPr lang="en-US" altLang="zh-CN" sz="20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br>
            <a:r>
              <a:rPr lang="en-US" altLang="zh-CN" sz="3200" dirty="0">
                <a:solidFill>
                  <a:srgbClr val="2F2F2F"/>
                </a:solidFill>
                <a:latin typeface="微软雅黑" panose="020B0503020204020204" pitchFamily="34" charset="-122"/>
                <a:ea typeface="微软雅黑" panose="020B0503020204020204" pitchFamily="34" charset="-122"/>
                <a:cs typeface="Arial" panose="020B0604020202020204" pitchFamily="34" charset="0"/>
              </a:rPr>
              <a:t>in making presentations</a:t>
            </a:r>
            <a:endParaRPr lang="en-US" altLang="en-US" sz="3200" dirty="0">
              <a:solidFill>
                <a:srgbClr val="2F2F2F"/>
              </a:solidFill>
              <a:ea typeface="微软雅黑" panose="020B0503020204020204" pitchFamily="34" charset="-122"/>
              <a:cs typeface="Arial" panose="020B0604020202020204" pitchFamily="34" charset="0"/>
            </a:endParaRPr>
          </a:p>
        </p:txBody>
      </p:sp>
      <p:grpSp>
        <p:nvGrpSpPr>
          <p:cNvPr id="6" name="组合 5">
            <a:extLst>
              <a:ext uri="{FF2B5EF4-FFF2-40B4-BE49-F238E27FC236}">
                <a16:creationId xmlns:a16="http://schemas.microsoft.com/office/drawing/2014/main" id="{B20079A2-31CE-44D6-B924-1FF5F075B638}"/>
              </a:ext>
            </a:extLst>
          </p:cNvPr>
          <p:cNvGrpSpPr/>
          <p:nvPr/>
        </p:nvGrpSpPr>
        <p:grpSpPr>
          <a:xfrm>
            <a:off x="5252647" y="0"/>
            <a:ext cx="6939359" cy="6858000"/>
            <a:chOff x="5252643" y="0"/>
            <a:chExt cx="6939358" cy="6858000"/>
          </a:xfrm>
          <a:solidFill>
            <a:srgbClr val="F7F7F7"/>
          </a:solidFill>
        </p:grpSpPr>
        <p:sp>
          <p:nvSpPr>
            <p:cNvPr id="7" name="任意多边形: 形状 6">
              <a:extLst>
                <a:ext uri="{FF2B5EF4-FFF2-40B4-BE49-F238E27FC236}">
                  <a16:creationId xmlns:a16="http://schemas.microsoft.com/office/drawing/2014/main" id="{87027812-39ED-48F2-B846-15AF98F3E812}"/>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8" name="任意多边形: 形状 7">
              <a:extLst>
                <a:ext uri="{FF2B5EF4-FFF2-40B4-BE49-F238E27FC236}">
                  <a16:creationId xmlns:a16="http://schemas.microsoft.com/office/drawing/2014/main" id="{B12EC4E2-8D6F-42F4-9502-A731433702A2}"/>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9" name="任意多边形: 形状 8">
              <a:extLst>
                <a:ext uri="{FF2B5EF4-FFF2-40B4-BE49-F238E27FC236}">
                  <a16:creationId xmlns:a16="http://schemas.microsoft.com/office/drawing/2014/main" id="{2D272403-40BD-427A-A3AF-22CDE281BD98}"/>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spTree>
    <p:extLst>
      <p:ext uri="{BB962C8B-B14F-4D97-AF65-F5344CB8AC3E}">
        <p14:creationId xmlns:p14="http://schemas.microsoft.com/office/powerpoint/2010/main" val="32975213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05" name="文本框 604">
            <a:extLst>
              <a:ext uri="{FF2B5EF4-FFF2-40B4-BE49-F238E27FC236}">
                <a16:creationId xmlns:a16="http://schemas.microsoft.com/office/drawing/2014/main" id="{5CCDB481-C962-47F4-881B-6DD1C2002730}"/>
              </a:ext>
            </a:extLst>
          </p:cNvPr>
          <p:cNvSpPr txBox="1"/>
          <p:nvPr/>
        </p:nvSpPr>
        <p:spPr>
          <a:xfrm>
            <a:off x="985798" y="5541365"/>
            <a:ext cx="2558947" cy="246221"/>
          </a:xfrm>
          <a:prstGeom prst="rect">
            <a:avLst/>
          </a:prstGeom>
          <a:noFill/>
        </p:spPr>
        <p:txBody>
          <a:bodyPr wrap="square" rtlCol="0" anchor="ctr">
            <a:spAutoFit/>
          </a:bodyPr>
          <a:lstStyle/>
          <a:p>
            <a:r>
              <a:rPr lang="en-US" altLang="zh-CN" sz="1000" dirty="0">
                <a:solidFill>
                  <a:srgbClr val="2F2F2F"/>
                </a:solidFill>
              </a:rPr>
              <a:t>Search diagrams in iSlide Diagram Library</a:t>
            </a:r>
            <a:endParaRPr lang="zh-CN" altLang="en-US" sz="1000" dirty="0">
              <a:solidFill>
                <a:srgbClr val="2F2F2F"/>
              </a:solidFill>
            </a:endParaRPr>
          </a:p>
        </p:txBody>
      </p:sp>
      <p:sp>
        <p:nvSpPr>
          <p:cNvPr id="606" name="椭圆 605">
            <a:extLst>
              <a:ext uri="{FF2B5EF4-FFF2-40B4-BE49-F238E27FC236}">
                <a16:creationId xmlns:a16="http://schemas.microsoft.com/office/drawing/2014/main" id="{BBAFAFCE-AD85-4ED5-894D-028379A54ED7}"/>
              </a:ext>
            </a:extLst>
          </p:cNvPr>
          <p:cNvSpPr/>
          <p:nvPr/>
        </p:nvSpPr>
        <p:spPr>
          <a:xfrm>
            <a:off x="660400" y="5526305"/>
            <a:ext cx="276343" cy="276341"/>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sp>
        <p:nvSpPr>
          <p:cNvPr id="608" name="文本框 607">
            <a:extLst>
              <a:ext uri="{FF2B5EF4-FFF2-40B4-BE49-F238E27FC236}">
                <a16:creationId xmlns:a16="http://schemas.microsoft.com/office/drawing/2014/main" id="{E808DBD7-0F1A-4037-9699-410F7A953BB4}"/>
              </a:ext>
            </a:extLst>
          </p:cNvPr>
          <p:cNvSpPr txBox="1"/>
          <p:nvPr/>
        </p:nvSpPr>
        <p:spPr>
          <a:xfrm>
            <a:off x="4677199" y="5541381"/>
            <a:ext cx="5284056" cy="246221"/>
          </a:xfrm>
          <a:prstGeom prst="rect">
            <a:avLst/>
          </a:prstGeom>
          <a:noFill/>
        </p:spPr>
        <p:txBody>
          <a:bodyPr wrap="square" rtlCol="0" anchor="ctr">
            <a:spAutoFit/>
          </a:bodyPr>
          <a:lstStyle/>
          <a:p>
            <a:r>
              <a:rPr lang="en-US" altLang="zh-CN" sz="1000" dirty="0">
                <a:solidFill>
                  <a:srgbClr val="2F2F2F"/>
                </a:solidFill>
              </a:rPr>
              <a:t>Click to insert diagram into current slide, then edit text, replace icons or fill pictures</a:t>
            </a:r>
            <a:endParaRPr lang="zh-CN" altLang="en-US" sz="1000" dirty="0">
              <a:solidFill>
                <a:srgbClr val="2F2F2F"/>
              </a:solidFill>
            </a:endParaRPr>
          </a:p>
        </p:txBody>
      </p:sp>
      <p:sp>
        <p:nvSpPr>
          <p:cNvPr id="609" name="椭圆 608">
            <a:extLst>
              <a:ext uri="{FF2B5EF4-FFF2-40B4-BE49-F238E27FC236}">
                <a16:creationId xmlns:a16="http://schemas.microsoft.com/office/drawing/2014/main" id="{42B1532E-6800-4DB7-A456-55C6D9651A6A}"/>
              </a:ext>
            </a:extLst>
          </p:cNvPr>
          <p:cNvSpPr/>
          <p:nvPr/>
        </p:nvSpPr>
        <p:spPr>
          <a:xfrm>
            <a:off x="4355743" y="5526320"/>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grpSp>
        <p:nvGrpSpPr>
          <p:cNvPr id="199" name="组合 198">
            <a:extLst>
              <a:ext uri="{FF2B5EF4-FFF2-40B4-BE49-F238E27FC236}">
                <a16:creationId xmlns:a16="http://schemas.microsoft.com/office/drawing/2014/main" id="{20144B8B-CD16-47CC-9F33-4C1C08CF978C}"/>
              </a:ext>
            </a:extLst>
          </p:cNvPr>
          <p:cNvGrpSpPr/>
          <p:nvPr/>
        </p:nvGrpSpPr>
        <p:grpSpPr>
          <a:xfrm>
            <a:off x="660400" y="1959182"/>
            <a:ext cx="3002400" cy="3002401"/>
            <a:chOff x="677034" y="1959176"/>
            <a:chExt cx="3002400" cy="3002401"/>
          </a:xfrm>
        </p:grpSpPr>
        <p:sp>
          <p:nvSpPr>
            <p:cNvPr id="854" name="矩形 853">
              <a:extLst>
                <a:ext uri="{FF2B5EF4-FFF2-40B4-BE49-F238E27FC236}">
                  <a16:creationId xmlns:a16="http://schemas.microsoft.com/office/drawing/2014/main" id="{BA8BA330-F6C5-428A-8FB0-D295E5F08876}"/>
                </a:ext>
              </a:extLst>
            </p:cNvPr>
            <p:cNvSpPr/>
            <p:nvPr/>
          </p:nvSpPr>
          <p:spPr>
            <a:xfrm>
              <a:off x="677034" y="195917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75" name="组合 1174">
              <a:extLst>
                <a:ext uri="{FF2B5EF4-FFF2-40B4-BE49-F238E27FC236}">
                  <a16:creationId xmlns:a16="http://schemas.microsoft.com/office/drawing/2014/main" id="{AE850707-79EE-4926-8282-2DF39231E88A}"/>
                </a:ext>
              </a:extLst>
            </p:cNvPr>
            <p:cNvGrpSpPr/>
            <p:nvPr/>
          </p:nvGrpSpPr>
          <p:grpSpPr>
            <a:xfrm>
              <a:off x="2237046" y="3541481"/>
              <a:ext cx="1322298" cy="743793"/>
              <a:chOff x="795891" y="2682194"/>
              <a:chExt cx="1322298" cy="743793"/>
            </a:xfrm>
          </p:grpSpPr>
          <p:sp>
            <p:nvSpPr>
              <p:cNvPr id="1176" name="矩形: 圆角 1175">
                <a:extLst>
                  <a:ext uri="{FF2B5EF4-FFF2-40B4-BE49-F238E27FC236}">
                    <a16:creationId xmlns:a16="http://schemas.microsoft.com/office/drawing/2014/main" id="{C77ECE32-79B9-4A12-A540-656E059A5138}"/>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77" name="任意多边形: 形状 1176">
                <a:extLst>
                  <a:ext uri="{FF2B5EF4-FFF2-40B4-BE49-F238E27FC236}">
                    <a16:creationId xmlns:a16="http://schemas.microsoft.com/office/drawing/2014/main" id="{D8D8F1ED-AD80-40D6-BECB-C842BA1E550A}"/>
                  </a:ext>
                </a:extLst>
              </p:cNvPr>
              <p:cNvSpPr/>
              <p:nvPr/>
            </p:nvSpPr>
            <p:spPr>
              <a:xfrm>
                <a:off x="795891" y="2682194"/>
                <a:ext cx="1322298" cy="382553"/>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78" name="组合 1177">
                <a:extLst>
                  <a:ext uri="{FF2B5EF4-FFF2-40B4-BE49-F238E27FC236}">
                    <a16:creationId xmlns:a16="http://schemas.microsoft.com/office/drawing/2014/main" id="{28511EBC-9EF7-4DD2-9C71-440E2C7E88B2}"/>
                  </a:ext>
                </a:extLst>
              </p:cNvPr>
              <p:cNvGrpSpPr/>
              <p:nvPr/>
            </p:nvGrpSpPr>
            <p:grpSpPr>
              <a:xfrm>
                <a:off x="903307" y="3161290"/>
                <a:ext cx="1107466" cy="151273"/>
                <a:chOff x="890763" y="3168433"/>
                <a:chExt cx="1107466" cy="151273"/>
              </a:xfrm>
            </p:grpSpPr>
            <p:grpSp>
              <p:nvGrpSpPr>
                <p:cNvPr id="1179" name="组合 1178">
                  <a:extLst>
                    <a:ext uri="{FF2B5EF4-FFF2-40B4-BE49-F238E27FC236}">
                      <a16:creationId xmlns:a16="http://schemas.microsoft.com/office/drawing/2014/main" id="{C7245D6A-88C2-4564-A776-93D4903660CA}"/>
                    </a:ext>
                  </a:extLst>
                </p:cNvPr>
                <p:cNvGrpSpPr/>
                <p:nvPr/>
              </p:nvGrpSpPr>
              <p:grpSpPr>
                <a:xfrm>
                  <a:off x="890763" y="3168433"/>
                  <a:ext cx="288000" cy="151273"/>
                  <a:chOff x="890763" y="3187237"/>
                  <a:chExt cx="288000" cy="151273"/>
                </a:xfrm>
              </p:grpSpPr>
              <p:sp>
                <p:nvSpPr>
                  <p:cNvPr id="1186" name="矩形 1185">
                    <a:extLst>
                      <a:ext uri="{FF2B5EF4-FFF2-40B4-BE49-F238E27FC236}">
                        <a16:creationId xmlns:a16="http://schemas.microsoft.com/office/drawing/2014/main" id="{3558600A-838B-4B82-A710-8E22238BEB8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7" name="矩形 1186">
                    <a:extLst>
                      <a:ext uri="{FF2B5EF4-FFF2-40B4-BE49-F238E27FC236}">
                        <a16:creationId xmlns:a16="http://schemas.microsoft.com/office/drawing/2014/main" id="{CCA9112F-73C5-4C39-BE10-3AA73133E594}"/>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0" name="组合 1179">
                  <a:extLst>
                    <a:ext uri="{FF2B5EF4-FFF2-40B4-BE49-F238E27FC236}">
                      <a16:creationId xmlns:a16="http://schemas.microsoft.com/office/drawing/2014/main" id="{EBEFA3BC-34D0-4B85-A593-58A86E525EE0}"/>
                    </a:ext>
                  </a:extLst>
                </p:cNvPr>
                <p:cNvGrpSpPr/>
                <p:nvPr/>
              </p:nvGrpSpPr>
              <p:grpSpPr>
                <a:xfrm>
                  <a:off x="1300496" y="3168433"/>
                  <a:ext cx="288000" cy="151273"/>
                  <a:chOff x="890763" y="3187237"/>
                  <a:chExt cx="288000" cy="151273"/>
                </a:xfrm>
              </p:grpSpPr>
              <p:sp>
                <p:nvSpPr>
                  <p:cNvPr id="1184" name="矩形 1183">
                    <a:extLst>
                      <a:ext uri="{FF2B5EF4-FFF2-40B4-BE49-F238E27FC236}">
                        <a16:creationId xmlns:a16="http://schemas.microsoft.com/office/drawing/2014/main" id="{9861A848-16B8-4211-9FC9-45D02AACFAF8}"/>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5" name="矩形 1184">
                    <a:extLst>
                      <a:ext uri="{FF2B5EF4-FFF2-40B4-BE49-F238E27FC236}">
                        <a16:creationId xmlns:a16="http://schemas.microsoft.com/office/drawing/2014/main" id="{41EAD282-F1B9-47C8-8237-1593EFAA3566}"/>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81" name="组合 1180">
                  <a:extLst>
                    <a:ext uri="{FF2B5EF4-FFF2-40B4-BE49-F238E27FC236}">
                      <a16:creationId xmlns:a16="http://schemas.microsoft.com/office/drawing/2014/main" id="{C4ECBB84-A9C1-43CF-992F-B7D2A9AEFF9D}"/>
                    </a:ext>
                  </a:extLst>
                </p:cNvPr>
                <p:cNvGrpSpPr/>
                <p:nvPr/>
              </p:nvGrpSpPr>
              <p:grpSpPr>
                <a:xfrm>
                  <a:off x="1710229" y="3168433"/>
                  <a:ext cx="288000" cy="151273"/>
                  <a:chOff x="890763" y="3187237"/>
                  <a:chExt cx="288000" cy="151273"/>
                </a:xfrm>
              </p:grpSpPr>
              <p:sp>
                <p:nvSpPr>
                  <p:cNvPr id="1182" name="矩形 1181">
                    <a:extLst>
                      <a:ext uri="{FF2B5EF4-FFF2-40B4-BE49-F238E27FC236}">
                        <a16:creationId xmlns:a16="http://schemas.microsoft.com/office/drawing/2014/main" id="{210D9AC1-FCD2-4D8D-B173-7E1E87899759}"/>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3" name="矩形 1182">
                    <a:extLst>
                      <a:ext uri="{FF2B5EF4-FFF2-40B4-BE49-F238E27FC236}">
                        <a16:creationId xmlns:a16="http://schemas.microsoft.com/office/drawing/2014/main" id="{27D00380-E26D-4D19-8C1E-0D0FC2518CEB}"/>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846" name="矩形 845">
              <a:extLst>
                <a:ext uri="{FF2B5EF4-FFF2-40B4-BE49-F238E27FC236}">
                  <a16:creationId xmlns:a16="http://schemas.microsoft.com/office/drawing/2014/main" id="{8843ECBA-98A8-425F-B9CE-8DF5FACEEB4E}"/>
                </a:ext>
              </a:extLst>
            </p:cNvPr>
            <p:cNvSpPr/>
            <p:nvPr/>
          </p:nvSpPr>
          <p:spPr>
            <a:xfrm>
              <a:off x="677034" y="1964334"/>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dirty="0"/>
            </a:p>
          </p:txBody>
        </p:sp>
        <p:sp>
          <p:nvSpPr>
            <p:cNvPr id="847" name="矩形 846">
              <a:extLst>
                <a:ext uri="{FF2B5EF4-FFF2-40B4-BE49-F238E27FC236}">
                  <a16:creationId xmlns:a16="http://schemas.microsoft.com/office/drawing/2014/main" id="{C5551026-40D8-4A72-9A74-3E935305E165}"/>
                </a:ext>
              </a:extLst>
            </p:cNvPr>
            <p:cNvSpPr/>
            <p:nvPr/>
          </p:nvSpPr>
          <p:spPr>
            <a:xfrm>
              <a:off x="797125" y="2038897"/>
              <a:ext cx="945772" cy="153888"/>
            </a:xfrm>
            <a:prstGeom prst="rect">
              <a:avLst/>
            </a:prstGeom>
          </p:spPr>
          <p:txBody>
            <a:bodyPr wrap="non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ltLang="zh-CN" sz="1000" kern="0" dirty="0">
                  <a:solidFill>
                    <a:srgbClr val="FFFFFF"/>
                  </a:solidFill>
                </a:rPr>
                <a:t>Diagram Library</a:t>
              </a:r>
              <a:endParaRPr lang="zh-CN" altLang="en-US" sz="1000" dirty="0"/>
            </a:p>
          </p:txBody>
        </p:sp>
        <p:sp>
          <p:nvSpPr>
            <p:cNvPr id="848" name="Multiply 213">
              <a:extLst>
                <a:ext uri="{FF2B5EF4-FFF2-40B4-BE49-F238E27FC236}">
                  <a16:creationId xmlns:a16="http://schemas.microsoft.com/office/drawing/2014/main" id="{3838A130-2F03-4DA6-9A10-BF5D0AD4D3F2}"/>
                </a:ext>
              </a:extLst>
            </p:cNvPr>
            <p:cNvSpPr>
              <a:spLocks noChangeAspect="1"/>
            </p:cNvSpPr>
            <p:nvPr/>
          </p:nvSpPr>
          <p:spPr>
            <a:xfrm>
              <a:off x="3465543" y="2068412"/>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nvGrpSpPr>
            <p:cNvPr id="850" name="组合 849">
              <a:extLst>
                <a:ext uri="{FF2B5EF4-FFF2-40B4-BE49-F238E27FC236}">
                  <a16:creationId xmlns:a16="http://schemas.microsoft.com/office/drawing/2014/main" id="{C2AC0C8A-FD06-42B3-84FE-67EBE61ABAE7}"/>
                </a:ext>
              </a:extLst>
            </p:cNvPr>
            <p:cNvGrpSpPr/>
            <p:nvPr/>
          </p:nvGrpSpPr>
          <p:grpSpPr>
            <a:xfrm>
              <a:off x="797124" y="2404170"/>
              <a:ext cx="1205447" cy="160120"/>
              <a:chOff x="4248155" y="2141651"/>
              <a:chExt cx="1084090" cy="144000"/>
            </a:xfrm>
            <a:solidFill>
              <a:srgbClr val="E7E5EA"/>
            </a:solidFill>
          </p:grpSpPr>
          <p:sp>
            <p:nvSpPr>
              <p:cNvPr id="996" name="矩形 995">
                <a:extLst>
                  <a:ext uri="{FF2B5EF4-FFF2-40B4-BE49-F238E27FC236}">
                    <a16:creationId xmlns:a16="http://schemas.microsoft.com/office/drawing/2014/main" id="{4A648450-3619-4DB2-9D93-E285BE610748}"/>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7" name="矩形 996">
                <a:extLst>
                  <a:ext uri="{FF2B5EF4-FFF2-40B4-BE49-F238E27FC236}">
                    <a16:creationId xmlns:a16="http://schemas.microsoft.com/office/drawing/2014/main" id="{D10C8A5E-0A32-4118-B936-C290F38145EE}"/>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8" name="矩形 997">
                <a:extLst>
                  <a:ext uri="{FF2B5EF4-FFF2-40B4-BE49-F238E27FC236}">
                    <a16:creationId xmlns:a16="http://schemas.microsoft.com/office/drawing/2014/main" id="{5E25D274-21E4-49C1-92A6-F6DF95B8D01E}"/>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851" name="组合 850">
              <a:extLst>
                <a:ext uri="{FF2B5EF4-FFF2-40B4-BE49-F238E27FC236}">
                  <a16:creationId xmlns:a16="http://schemas.microsoft.com/office/drawing/2014/main" id="{37DB5920-5464-4F00-BC8E-356D4A25963E}"/>
                </a:ext>
              </a:extLst>
            </p:cNvPr>
            <p:cNvGrpSpPr/>
            <p:nvPr/>
          </p:nvGrpSpPr>
          <p:grpSpPr>
            <a:xfrm>
              <a:off x="2797927" y="2404170"/>
              <a:ext cx="761417" cy="160120"/>
              <a:chOff x="6047529" y="2141651"/>
              <a:chExt cx="684762" cy="144000"/>
            </a:xfrm>
            <a:solidFill>
              <a:srgbClr val="E7E5EA"/>
            </a:solidFill>
          </p:grpSpPr>
          <p:sp>
            <p:nvSpPr>
              <p:cNvPr id="994" name="矩形 993">
                <a:extLst>
                  <a:ext uri="{FF2B5EF4-FFF2-40B4-BE49-F238E27FC236}">
                    <a16:creationId xmlns:a16="http://schemas.microsoft.com/office/drawing/2014/main" id="{61D9A505-57F8-4F3D-8542-8071ED53962C}"/>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995" name="矩形 994">
                <a:extLst>
                  <a:ext uri="{FF2B5EF4-FFF2-40B4-BE49-F238E27FC236}">
                    <a16:creationId xmlns:a16="http://schemas.microsoft.com/office/drawing/2014/main" id="{49FE1BBF-2FDB-48E7-8FDC-88654D1F74AD}"/>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865" name="矩形: 圆角 864">
              <a:extLst>
                <a:ext uri="{FF2B5EF4-FFF2-40B4-BE49-F238E27FC236}">
                  <a16:creationId xmlns:a16="http://schemas.microsoft.com/office/drawing/2014/main" id="{DD2E63D6-6AE5-47B3-9136-DD9595C59592}"/>
                </a:ext>
              </a:extLst>
            </p:cNvPr>
            <p:cNvSpPr>
              <a:spLocks noChangeAspect="1"/>
            </p:cNvSpPr>
            <p:nvPr/>
          </p:nvSpPr>
          <p:spPr>
            <a:xfrm>
              <a:off x="2237046"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866" name="矩形: 圆角 865">
              <a:extLst>
                <a:ext uri="{FF2B5EF4-FFF2-40B4-BE49-F238E27FC236}">
                  <a16:creationId xmlns:a16="http://schemas.microsoft.com/office/drawing/2014/main" id="{7150F21C-954F-4DB0-821B-E1B6C03B7E19}"/>
                </a:ext>
              </a:extLst>
            </p:cNvPr>
            <p:cNvSpPr>
              <a:spLocks noChangeAspect="1"/>
            </p:cNvSpPr>
            <p:nvPr/>
          </p:nvSpPr>
          <p:spPr>
            <a:xfrm>
              <a:off x="795891" y="3541481"/>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8" name="矩形: 圆角 867">
              <a:extLst>
                <a:ext uri="{FF2B5EF4-FFF2-40B4-BE49-F238E27FC236}">
                  <a16:creationId xmlns:a16="http://schemas.microsoft.com/office/drawing/2014/main" id="{BED8AC01-2DFD-4915-8568-787BE6DA01CB}"/>
                </a:ext>
              </a:extLst>
            </p:cNvPr>
            <p:cNvSpPr>
              <a:spLocks noChangeAspect="1"/>
            </p:cNvSpPr>
            <p:nvPr/>
          </p:nvSpPr>
          <p:spPr>
            <a:xfrm>
              <a:off x="795891"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869" name="矩形: 圆角 868">
              <a:extLst>
                <a:ext uri="{FF2B5EF4-FFF2-40B4-BE49-F238E27FC236}">
                  <a16:creationId xmlns:a16="http://schemas.microsoft.com/office/drawing/2014/main" id="{1783222E-7BB4-47D3-9EB9-C37001E8BCE1}"/>
                </a:ext>
              </a:extLst>
            </p:cNvPr>
            <p:cNvSpPr>
              <a:spLocks noChangeAspect="1"/>
            </p:cNvSpPr>
            <p:nvPr/>
          </p:nvSpPr>
          <p:spPr>
            <a:xfrm>
              <a:off x="2237046" y="4400769"/>
              <a:ext cx="1322298" cy="560808"/>
            </a:xfrm>
            <a:prstGeom prst="roundRect">
              <a:avLst>
                <a:gd name="adj" fmla="val 4418"/>
              </a:avLst>
            </a:prstGeom>
            <a:gradFill>
              <a:gsLst>
                <a:gs pos="50000">
                  <a:schemeClr val="bg1"/>
                </a:gs>
                <a:gs pos="100000">
                  <a:schemeClr val="bg1">
                    <a:alpha val="0"/>
                  </a:schemeClr>
                </a:gs>
              </a:gsLst>
              <a:lin ang="5400000" scaled="1"/>
            </a:gradFill>
            <a:ln w="12700">
              <a:gradFill>
                <a:gsLst>
                  <a:gs pos="0">
                    <a:srgbClr val="E7E5EA"/>
                  </a:gs>
                  <a:gs pos="100000">
                    <a:srgbClr val="E7E5EA">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4" name="组合 873">
              <a:extLst>
                <a:ext uri="{FF2B5EF4-FFF2-40B4-BE49-F238E27FC236}">
                  <a16:creationId xmlns:a16="http://schemas.microsoft.com/office/drawing/2014/main" id="{A45346F3-945E-42EA-99F7-BF1CA0EBCF23}"/>
                </a:ext>
              </a:extLst>
            </p:cNvPr>
            <p:cNvGrpSpPr/>
            <p:nvPr/>
          </p:nvGrpSpPr>
          <p:grpSpPr>
            <a:xfrm>
              <a:off x="957184" y="3664359"/>
              <a:ext cx="999712" cy="498037"/>
              <a:chOff x="7744090" y="1288932"/>
              <a:chExt cx="1833124" cy="913228"/>
            </a:xfrm>
          </p:grpSpPr>
          <p:cxnSp>
            <p:nvCxnSpPr>
              <p:cNvPr id="950" name="连接符: 肘形 949">
                <a:extLst>
                  <a:ext uri="{FF2B5EF4-FFF2-40B4-BE49-F238E27FC236}">
                    <a16:creationId xmlns:a16="http://schemas.microsoft.com/office/drawing/2014/main" id="{2DC0960E-DCC8-4213-89A3-9C8E6917B555}"/>
                  </a:ext>
                </a:extLst>
              </p:cNvPr>
              <p:cNvCxnSpPr>
                <a:cxnSpLocks/>
                <a:stCxn id="955" idx="1"/>
                <a:endCxn id="956" idx="0"/>
              </p:cNvCxnSpPr>
              <p:nvPr/>
            </p:nvCxnSpPr>
            <p:spPr>
              <a:xfrm rot="10800000" flipV="1">
                <a:off x="7949112" y="1465564"/>
                <a:ext cx="285973"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cxnSp>
            <p:nvCxnSpPr>
              <p:cNvPr id="951" name="连接符: 肘形 950">
                <a:extLst>
                  <a:ext uri="{FF2B5EF4-FFF2-40B4-BE49-F238E27FC236}">
                    <a16:creationId xmlns:a16="http://schemas.microsoft.com/office/drawing/2014/main" id="{03CD0D39-088F-448F-8C3C-4FF43F92033E}"/>
                  </a:ext>
                </a:extLst>
              </p:cNvPr>
              <p:cNvCxnSpPr>
                <a:cxnSpLocks/>
                <a:stCxn id="955" idx="3"/>
              </p:cNvCxnSpPr>
              <p:nvPr/>
            </p:nvCxnSpPr>
            <p:spPr>
              <a:xfrm>
                <a:off x="9135072" y="1465564"/>
                <a:ext cx="225522" cy="326552"/>
              </a:xfrm>
              <a:prstGeom prst="bentConnector2">
                <a:avLst/>
              </a:prstGeom>
              <a:solidFill>
                <a:srgbClr val="867D98">
                  <a:lumMod val="20000"/>
                  <a:lumOff val="80000"/>
                </a:srgbClr>
              </a:solidFill>
              <a:ln w="12700" cap="flat" cmpd="sng" algn="ctr">
                <a:solidFill>
                  <a:srgbClr val="E7E5EA"/>
                </a:solidFill>
                <a:prstDash val="solid"/>
                <a:miter lim="800000"/>
              </a:ln>
              <a:effectLst/>
            </p:spPr>
          </p:cxnSp>
          <p:grpSp>
            <p:nvGrpSpPr>
              <p:cNvPr id="952" name="组合 951">
                <a:extLst>
                  <a:ext uri="{FF2B5EF4-FFF2-40B4-BE49-F238E27FC236}">
                    <a16:creationId xmlns:a16="http://schemas.microsoft.com/office/drawing/2014/main" id="{758E4CA3-A24B-4E35-8D8A-86224D79D0F3}"/>
                  </a:ext>
                </a:extLst>
              </p:cNvPr>
              <p:cNvGrpSpPr/>
              <p:nvPr/>
            </p:nvGrpSpPr>
            <p:grpSpPr>
              <a:xfrm>
                <a:off x="7744090" y="1288932"/>
                <a:ext cx="1833124" cy="913228"/>
                <a:chOff x="7824356" y="1531238"/>
                <a:chExt cx="1725410" cy="859568"/>
              </a:xfrm>
            </p:grpSpPr>
            <p:sp>
              <p:nvSpPr>
                <p:cNvPr id="956" name="椭圆 23">
                  <a:extLst>
                    <a:ext uri="{FF2B5EF4-FFF2-40B4-BE49-F238E27FC236}">
                      <a16:creationId xmlns:a16="http://schemas.microsoft.com/office/drawing/2014/main" id="{6FED75BF-8F8A-417D-86F1-CCF2CCA854C3}"/>
                    </a:ext>
                  </a:extLst>
                </p:cNvPr>
                <p:cNvSpPr/>
                <p:nvPr/>
              </p:nvSpPr>
              <p:spPr>
                <a:xfrm>
                  <a:off x="7824356" y="2004856"/>
                  <a:ext cx="385951"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cxnSp>
              <p:nvCxnSpPr>
                <p:cNvPr id="954" name="连接符: 肘形 953">
                  <a:extLst>
                    <a:ext uri="{FF2B5EF4-FFF2-40B4-BE49-F238E27FC236}">
                      <a16:creationId xmlns:a16="http://schemas.microsoft.com/office/drawing/2014/main" id="{C0DCE433-FEB9-4256-AD52-55CF06BA8EB0}"/>
                    </a:ext>
                  </a:extLst>
                </p:cNvPr>
                <p:cNvCxnSpPr>
                  <a:cxnSpLocks/>
                </p:cNvCxnSpPr>
                <p:nvPr/>
              </p:nvCxnSpPr>
              <p:spPr>
                <a:xfrm rot="16200000" flipV="1">
                  <a:off x="8681605" y="1783431"/>
                  <a:ext cx="12700" cy="442850"/>
                </a:xfrm>
                <a:prstGeom prst="bentConnector3">
                  <a:avLst>
                    <a:gd name="adj1" fmla="val 1554551"/>
                  </a:avLst>
                </a:prstGeom>
                <a:solidFill>
                  <a:srgbClr val="867D98">
                    <a:lumMod val="20000"/>
                    <a:lumOff val="80000"/>
                  </a:srgbClr>
                </a:solidFill>
                <a:ln w="12700" cap="flat" cmpd="sng" algn="ctr">
                  <a:solidFill>
                    <a:srgbClr val="E7E5EA"/>
                  </a:solidFill>
                  <a:prstDash val="solid"/>
                  <a:miter lim="800000"/>
                </a:ln>
                <a:effectLst/>
              </p:spPr>
            </p:cxnSp>
            <p:sp>
              <p:nvSpPr>
                <p:cNvPr id="955" name="圆角矩形 13">
                  <a:extLst>
                    <a:ext uri="{FF2B5EF4-FFF2-40B4-BE49-F238E27FC236}">
                      <a16:creationId xmlns:a16="http://schemas.microsoft.com/office/drawing/2014/main" id="{425684A3-885C-4A76-A115-DF158F3814AA}"/>
                    </a:ext>
                  </a:extLst>
                </p:cNvPr>
                <p:cNvSpPr/>
                <p:nvPr/>
              </p:nvSpPr>
              <p:spPr>
                <a:xfrm flipV="1">
                  <a:off x="8286501" y="1531238"/>
                  <a:ext cx="847108" cy="332509"/>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1054" name="椭圆 23">
                  <a:extLst>
                    <a:ext uri="{FF2B5EF4-FFF2-40B4-BE49-F238E27FC236}">
                      <a16:creationId xmlns:a16="http://schemas.microsoft.com/office/drawing/2014/main" id="{9035EC9B-2C33-4F7F-9809-0CDD148A767C}"/>
                    </a:ext>
                  </a:extLst>
                </p:cNvPr>
                <p:cNvSpPr/>
                <p:nvPr/>
              </p:nvSpPr>
              <p:spPr>
                <a:xfrm>
                  <a:off x="8270843"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5" name="椭圆 23">
                  <a:extLst>
                    <a:ext uri="{FF2B5EF4-FFF2-40B4-BE49-F238E27FC236}">
                      <a16:creationId xmlns:a16="http://schemas.microsoft.com/office/drawing/2014/main" id="{ADF15E24-6782-4AFE-9825-CF52713FCFF3}"/>
                    </a:ext>
                  </a:extLst>
                </p:cNvPr>
                <p:cNvSpPr/>
                <p:nvPr/>
              </p:nvSpPr>
              <p:spPr>
                <a:xfrm>
                  <a:off x="8717329"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1056" name="椭圆 23">
                  <a:extLst>
                    <a:ext uri="{FF2B5EF4-FFF2-40B4-BE49-F238E27FC236}">
                      <a16:creationId xmlns:a16="http://schemas.microsoft.com/office/drawing/2014/main" id="{F8288D8E-E3DC-4D46-9429-06EEF8F0B14C}"/>
                    </a:ext>
                  </a:extLst>
                </p:cNvPr>
                <p:cNvSpPr/>
                <p:nvPr/>
              </p:nvSpPr>
              <p:spPr>
                <a:xfrm>
                  <a:off x="9163816" y="2004856"/>
                  <a:ext cx="385950" cy="385950"/>
                </a:xfrm>
                <a:prstGeom prst="roundRect">
                  <a:avLst>
                    <a:gd name="adj" fmla="val 13472"/>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grpSp>
        </p:grpSp>
        <p:sp>
          <p:nvSpPr>
            <p:cNvPr id="876" name="矩形: 圆角 875">
              <a:extLst>
                <a:ext uri="{FF2B5EF4-FFF2-40B4-BE49-F238E27FC236}">
                  <a16:creationId xmlns:a16="http://schemas.microsoft.com/office/drawing/2014/main" id="{717959DC-79F8-484F-955A-560CC57C056E}"/>
                </a:ext>
              </a:extLst>
            </p:cNvPr>
            <p:cNvSpPr>
              <a:spLocks noChangeAspect="1"/>
            </p:cNvSpPr>
            <p:nvPr/>
          </p:nvSpPr>
          <p:spPr>
            <a:xfrm>
              <a:off x="2237046" y="3541481"/>
              <a:ext cx="1322298" cy="743793"/>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877" name="组合 876">
              <a:extLst>
                <a:ext uri="{FF2B5EF4-FFF2-40B4-BE49-F238E27FC236}">
                  <a16:creationId xmlns:a16="http://schemas.microsoft.com/office/drawing/2014/main" id="{A47B174F-DED1-4EE4-98E9-9689C17871B3}"/>
                </a:ext>
              </a:extLst>
            </p:cNvPr>
            <p:cNvGrpSpPr/>
            <p:nvPr/>
          </p:nvGrpSpPr>
          <p:grpSpPr>
            <a:xfrm>
              <a:off x="932879" y="4540141"/>
              <a:ext cx="1048323" cy="258613"/>
              <a:chOff x="5400091" y="4685784"/>
              <a:chExt cx="1747512" cy="431123"/>
            </a:xfrm>
          </p:grpSpPr>
          <p:sp>
            <p:nvSpPr>
              <p:cNvPr id="933" name="圆角矩形 13">
                <a:extLst>
                  <a:ext uri="{FF2B5EF4-FFF2-40B4-BE49-F238E27FC236}">
                    <a16:creationId xmlns:a16="http://schemas.microsoft.com/office/drawing/2014/main" id="{E984AE22-DDC3-4306-93CF-33DF1411F324}"/>
                  </a:ext>
                </a:extLst>
              </p:cNvPr>
              <p:cNvSpPr/>
              <p:nvPr/>
            </p:nvSpPr>
            <p:spPr>
              <a:xfrm>
                <a:off x="5400093"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936" name="圆角矩形 245">
                <a:extLst>
                  <a:ext uri="{FF2B5EF4-FFF2-40B4-BE49-F238E27FC236}">
                    <a16:creationId xmlns:a16="http://schemas.microsoft.com/office/drawing/2014/main" id="{849C80C1-BE01-465E-B9B6-4452729B5A75}"/>
                  </a:ext>
                </a:extLst>
              </p:cNvPr>
              <p:cNvSpPr/>
              <p:nvPr/>
            </p:nvSpPr>
            <p:spPr>
              <a:xfrm>
                <a:off x="5400091" y="4685784"/>
                <a:ext cx="1747511" cy="152087"/>
              </a:xfrm>
              <a:prstGeom prst="roundRect">
                <a:avLst>
                  <a:gd name="adj" fmla="val 1314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8" name="圆角矩形 13">
                <a:extLst>
                  <a:ext uri="{FF2B5EF4-FFF2-40B4-BE49-F238E27FC236}">
                    <a16:creationId xmlns:a16="http://schemas.microsoft.com/office/drawing/2014/main" id="{CBEF49A2-DE81-4E3A-9FC4-3EF2DA37CCB9}"/>
                  </a:ext>
                </a:extLst>
              </p:cNvPr>
              <p:cNvSpPr/>
              <p:nvPr/>
            </p:nvSpPr>
            <p:spPr>
              <a:xfrm>
                <a:off x="6024976"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sp>
            <p:nvSpPr>
              <p:cNvPr id="1079" name="圆角矩形 13">
                <a:extLst>
                  <a:ext uri="{FF2B5EF4-FFF2-40B4-BE49-F238E27FC236}">
                    <a16:creationId xmlns:a16="http://schemas.microsoft.com/office/drawing/2014/main" id="{F1443997-023C-4899-949D-EFB18DCA2EFB}"/>
                  </a:ext>
                </a:extLst>
              </p:cNvPr>
              <p:cNvSpPr/>
              <p:nvPr/>
            </p:nvSpPr>
            <p:spPr>
              <a:xfrm>
                <a:off x="6649859" y="4935166"/>
                <a:ext cx="497744" cy="181741"/>
              </a:xfrm>
              <a:prstGeom prst="roundRect">
                <a:avLst>
                  <a:gd name="adj" fmla="val 7526"/>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grpSp>
          <p:nvGrpSpPr>
            <p:cNvPr id="16" name="组合 15">
              <a:extLst>
                <a:ext uri="{FF2B5EF4-FFF2-40B4-BE49-F238E27FC236}">
                  <a16:creationId xmlns:a16="http://schemas.microsoft.com/office/drawing/2014/main" id="{2DAF75D4-D96A-4B48-B019-A6009ADFD41C}"/>
                </a:ext>
              </a:extLst>
            </p:cNvPr>
            <p:cNvGrpSpPr/>
            <p:nvPr/>
          </p:nvGrpSpPr>
          <p:grpSpPr>
            <a:xfrm>
              <a:off x="2432734" y="2810541"/>
              <a:ext cx="930922" cy="487099"/>
              <a:chOff x="2346558" y="2871788"/>
              <a:chExt cx="856042" cy="447918"/>
            </a:xfrm>
          </p:grpSpPr>
          <p:sp>
            <p:nvSpPr>
              <p:cNvPr id="15" name="椭圆 14">
                <a:extLst>
                  <a:ext uri="{FF2B5EF4-FFF2-40B4-BE49-F238E27FC236}">
                    <a16:creationId xmlns:a16="http://schemas.microsoft.com/office/drawing/2014/main" id="{30EB6250-9E39-4126-8AA4-AB3EDCED7EB6}"/>
                  </a:ext>
                </a:extLst>
              </p:cNvPr>
              <p:cNvSpPr>
                <a:spLocks noChangeAspect="1"/>
              </p:cNvSpPr>
              <p:nvPr/>
            </p:nvSpPr>
            <p:spPr>
              <a:xfrm>
                <a:off x="2346558"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16" name="组合 1015">
                <a:extLst>
                  <a:ext uri="{FF2B5EF4-FFF2-40B4-BE49-F238E27FC236}">
                    <a16:creationId xmlns:a16="http://schemas.microsoft.com/office/drawing/2014/main" id="{00B46A84-E3D2-42EF-999A-0E0C42EBBC2D}"/>
                  </a:ext>
                </a:extLst>
              </p:cNvPr>
              <p:cNvGrpSpPr/>
              <p:nvPr/>
            </p:nvGrpSpPr>
            <p:grpSpPr>
              <a:xfrm>
                <a:off x="2364558" y="3168433"/>
                <a:ext cx="180000" cy="151273"/>
                <a:chOff x="926763" y="3187237"/>
                <a:chExt cx="144000" cy="151273"/>
              </a:xfrm>
            </p:grpSpPr>
            <p:sp>
              <p:nvSpPr>
                <p:cNvPr id="1023" name="矩形 1022">
                  <a:extLst>
                    <a:ext uri="{FF2B5EF4-FFF2-40B4-BE49-F238E27FC236}">
                      <a16:creationId xmlns:a16="http://schemas.microsoft.com/office/drawing/2014/main" id="{0939C5B3-D0BE-4CBE-9F01-15D03E9B4905}"/>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24" name="矩形 1023">
                  <a:extLst>
                    <a:ext uri="{FF2B5EF4-FFF2-40B4-BE49-F238E27FC236}">
                      <a16:creationId xmlns:a16="http://schemas.microsoft.com/office/drawing/2014/main" id="{2BFB96C1-8536-43E9-8B4B-83BEEEDD63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1" name="椭圆 1040">
                <a:extLst>
                  <a:ext uri="{FF2B5EF4-FFF2-40B4-BE49-F238E27FC236}">
                    <a16:creationId xmlns:a16="http://schemas.microsoft.com/office/drawing/2014/main" id="{6CEF65A3-982C-4BEA-865C-CB1C6FB3B03C}"/>
                  </a:ext>
                </a:extLst>
              </p:cNvPr>
              <p:cNvSpPr>
                <a:spLocks noChangeAspect="1"/>
              </p:cNvSpPr>
              <p:nvPr/>
            </p:nvSpPr>
            <p:spPr>
              <a:xfrm>
                <a:off x="2666579"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2" name="组合 1041">
                <a:extLst>
                  <a:ext uri="{FF2B5EF4-FFF2-40B4-BE49-F238E27FC236}">
                    <a16:creationId xmlns:a16="http://schemas.microsoft.com/office/drawing/2014/main" id="{3E064D18-B094-48FE-8986-E1850BC4D92C}"/>
                  </a:ext>
                </a:extLst>
              </p:cNvPr>
              <p:cNvGrpSpPr/>
              <p:nvPr/>
            </p:nvGrpSpPr>
            <p:grpSpPr>
              <a:xfrm>
                <a:off x="2684579" y="3168433"/>
                <a:ext cx="180000" cy="151273"/>
                <a:chOff x="926763" y="3187237"/>
                <a:chExt cx="144000" cy="151273"/>
              </a:xfrm>
            </p:grpSpPr>
            <p:sp>
              <p:nvSpPr>
                <p:cNvPr id="1043" name="矩形 1042">
                  <a:extLst>
                    <a:ext uri="{FF2B5EF4-FFF2-40B4-BE49-F238E27FC236}">
                      <a16:creationId xmlns:a16="http://schemas.microsoft.com/office/drawing/2014/main" id="{E3ECD842-62EE-4219-B56E-B39E7EA7768B}"/>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4" name="矩形 1043">
                  <a:extLst>
                    <a:ext uri="{FF2B5EF4-FFF2-40B4-BE49-F238E27FC236}">
                      <a16:creationId xmlns:a16="http://schemas.microsoft.com/office/drawing/2014/main" id="{1B95D614-39A0-4244-80D1-C3EEBD4BD33A}"/>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45" name="椭圆 1044">
                <a:extLst>
                  <a:ext uri="{FF2B5EF4-FFF2-40B4-BE49-F238E27FC236}">
                    <a16:creationId xmlns:a16="http://schemas.microsoft.com/office/drawing/2014/main" id="{190098A9-E668-4E89-A186-0A482EAD4129}"/>
                  </a:ext>
                </a:extLst>
              </p:cNvPr>
              <p:cNvSpPr>
                <a:spLocks noChangeAspect="1"/>
              </p:cNvSpPr>
              <p:nvPr/>
            </p:nvSpPr>
            <p:spPr>
              <a:xfrm>
                <a:off x="2986600" y="2871788"/>
                <a:ext cx="216000" cy="216000"/>
              </a:xfrm>
              <a:prstGeom prst="ellipse">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046" name="组合 1045">
                <a:extLst>
                  <a:ext uri="{FF2B5EF4-FFF2-40B4-BE49-F238E27FC236}">
                    <a16:creationId xmlns:a16="http://schemas.microsoft.com/office/drawing/2014/main" id="{432BC3E3-C33F-45DB-9C12-80DBA9576112}"/>
                  </a:ext>
                </a:extLst>
              </p:cNvPr>
              <p:cNvGrpSpPr/>
              <p:nvPr/>
            </p:nvGrpSpPr>
            <p:grpSpPr>
              <a:xfrm>
                <a:off x="3004600" y="3168433"/>
                <a:ext cx="180000" cy="151273"/>
                <a:chOff x="926763" y="3187237"/>
                <a:chExt cx="144000" cy="151273"/>
              </a:xfrm>
            </p:grpSpPr>
            <p:sp>
              <p:nvSpPr>
                <p:cNvPr id="1047" name="矩形 1046">
                  <a:extLst>
                    <a:ext uri="{FF2B5EF4-FFF2-40B4-BE49-F238E27FC236}">
                      <a16:creationId xmlns:a16="http://schemas.microsoft.com/office/drawing/2014/main" id="{AFBE4C15-7AB1-49CF-B975-F6CA747FBD07}"/>
                    </a:ext>
                  </a:extLst>
                </p:cNvPr>
                <p:cNvSpPr/>
                <p:nvPr/>
              </p:nvSpPr>
              <p:spPr>
                <a:xfrm>
                  <a:off x="926763" y="3187237"/>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48" name="矩形 1047">
                  <a:extLst>
                    <a:ext uri="{FF2B5EF4-FFF2-40B4-BE49-F238E27FC236}">
                      <a16:creationId xmlns:a16="http://schemas.microsoft.com/office/drawing/2014/main" id="{7970FEF5-16DF-4A00-989C-7C6C60A9B9EE}"/>
                    </a:ext>
                  </a:extLst>
                </p:cNvPr>
                <p:cNvSpPr/>
                <p:nvPr/>
              </p:nvSpPr>
              <p:spPr>
                <a:xfrm>
                  <a:off x="926763" y="3284510"/>
                  <a:ext cx="144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863" name="矩形: 圆角 862">
              <a:extLst>
                <a:ext uri="{FF2B5EF4-FFF2-40B4-BE49-F238E27FC236}">
                  <a16:creationId xmlns:a16="http://schemas.microsoft.com/office/drawing/2014/main" id="{B64809AD-D167-45C7-A4EC-8560EE574446}"/>
                </a:ext>
              </a:extLst>
            </p:cNvPr>
            <p:cNvSpPr>
              <a:spLocks noChangeAspect="1"/>
            </p:cNvSpPr>
            <p:nvPr/>
          </p:nvSpPr>
          <p:spPr>
            <a:xfrm>
              <a:off x="795891" y="2682194"/>
              <a:ext cx="1322298" cy="743793"/>
            </a:xfrm>
            <a:prstGeom prst="roundRect">
              <a:avLst>
                <a:gd name="adj" fmla="val 4418"/>
              </a:avLst>
            </a:prstGeom>
            <a:solidFill>
              <a:schemeClr val="bg1"/>
            </a:solidFill>
            <a:ln w="12700">
              <a:solidFill>
                <a:srgbClr val="F0EEF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25" name="组合 24">
              <a:extLst>
                <a:ext uri="{FF2B5EF4-FFF2-40B4-BE49-F238E27FC236}">
                  <a16:creationId xmlns:a16="http://schemas.microsoft.com/office/drawing/2014/main" id="{4194A22F-CDBB-4156-87AB-7F39A731E5B3}"/>
                </a:ext>
              </a:extLst>
            </p:cNvPr>
            <p:cNvGrpSpPr/>
            <p:nvPr/>
          </p:nvGrpSpPr>
          <p:grpSpPr>
            <a:xfrm>
              <a:off x="958894" y="2827593"/>
              <a:ext cx="996293" cy="452994"/>
              <a:chOff x="2397064" y="3686880"/>
              <a:chExt cx="996293" cy="452994"/>
            </a:xfrm>
          </p:grpSpPr>
          <p:grpSp>
            <p:nvGrpSpPr>
              <p:cNvPr id="938" name="组合 937">
                <a:extLst>
                  <a:ext uri="{FF2B5EF4-FFF2-40B4-BE49-F238E27FC236}">
                    <a16:creationId xmlns:a16="http://schemas.microsoft.com/office/drawing/2014/main" id="{17F70482-DADB-43DB-A367-52DA6ED9235A}"/>
                  </a:ext>
                </a:extLst>
              </p:cNvPr>
              <p:cNvGrpSpPr/>
              <p:nvPr/>
            </p:nvGrpSpPr>
            <p:grpSpPr>
              <a:xfrm>
                <a:off x="2397064" y="3686880"/>
                <a:ext cx="466228" cy="452994"/>
                <a:chOff x="7824355" y="3116332"/>
                <a:chExt cx="916957" cy="890931"/>
              </a:xfrm>
            </p:grpSpPr>
            <p:sp>
              <p:nvSpPr>
                <p:cNvPr id="944" name="六边形 943">
                  <a:extLst>
                    <a:ext uri="{FF2B5EF4-FFF2-40B4-BE49-F238E27FC236}">
                      <a16:creationId xmlns:a16="http://schemas.microsoft.com/office/drawing/2014/main" id="{594B32B4-0694-4481-BEDC-09F0B29FD15B}"/>
                    </a:ext>
                  </a:extLst>
                </p:cNvPr>
                <p:cNvSpPr/>
                <p:nvPr/>
              </p:nvSpPr>
              <p:spPr>
                <a:xfrm>
                  <a:off x="7824355" y="3116332"/>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5" name="六边形 944">
                  <a:extLst>
                    <a:ext uri="{FF2B5EF4-FFF2-40B4-BE49-F238E27FC236}">
                      <a16:creationId xmlns:a16="http://schemas.microsoft.com/office/drawing/2014/main" id="{3295658D-3A76-4A00-8F34-A27D1CBEC15C}"/>
                    </a:ext>
                  </a:extLst>
                </p:cNvPr>
                <p:cNvSpPr/>
                <p:nvPr/>
              </p:nvSpPr>
              <p:spPr>
                <a:xfrm>
                  <a:off x="8261335" y="3350709"/>
                  <a:ext cx="479977" cy="41377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947" name="六边形 946">
                  <a:extLst>
                    <a:ext uri="{FF2B5EF4-FFF2-40B4-BE49-F238E27FC236}">
                      <a16:creationId xmlns:a16="http://schemas.microsoft.com/office/drawing/2014/main" id="{B7C876CD-DA17-4FBD-81B9-C9478A41935C}"/>
                    </a:ext>
                  </a:extLst>
                </p:cNvPr>
                <p:cNvSpPr/>
                <p:nvPr/>
              </p:nvSpPr>
              <p:spPr>
                <a:xfrm>
                  <a:off x="7833058" y="3593491"/>
                  <a:ext cx="479976" cy="41377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grpSp>
            <p:nvGrpSpPr>
              <p:cNvPr id="24" name="组合 23">
                <a:extLst>
                  <a:ext uri="{FF2B5EF4-FFF2-40B4-BE49-F238E27FC236}">
                    <a16:creationId xmlns:a16="http://schemas.microsoft.com/office/drawing/2014/main" id="{8FE53A35-7B1D-4667-B649-AA89BB44D808}"/>
                  </a:ext>
                </a:extLst>
              </p:cNvPr>
              <p:cNvGrpSpPr/>
              <p:nvPr/>
            </p:nvGrpSpPr>
            <p:grpSpPr>
              <a:xfrm>
                <a:off x="2941293" y="3788716"/>
                <a:ext cx="452064" cy="249322"/>
                <a:chOff x="2985439" y="3716434"/>
                <a:chExt cx="452064" cy="249322"/>
              </a:xfrm>
            </p:grpSpPr>
            <p:sp>
              <p:nvSpPr>
                <p:cNvPr id="1065" name="矩形 1064">
                  <a:extLst>
                    <a:ext uri="{FF2B5EF4-FFF2-40B4-BE49-F238E27FC236}">
                      <a16:creationId xmlns:a16="http://schemas.microsoft.com/office/drawing/2014/main" id="{EC4235DF-6AC4-4F0F-94CE-C13DD6DB3628}"/>
                    </a:ext>
                  </a:extLst>
                </p:cNvPr>
                <p:cNvSpPr/>
                <p:nvPr/>
              </p:nvSpPr>
              <p:spPr>
                <a:xfrm>
                  <a:off x="2985441" y="3716434"/>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66" name="矩形 1065">
                  <a:extLst>
                    <a:ext uri="{FF2B5EF4-FFF2-40B4-BE49-F238E27FC236}">
                      <a16:creationId xmlns:a16="http://schemas.microsoft.com/office/drawing/2014/main" id="{45E34FC1-122D-40D6-BEA9-226EA2BDCBCE}"/>
                    </a:ext>
                  </a:extLst>
                </p:cNvPr>
                <p:cNvSpPr/>
                <p:nvPr/>
              </p:nvSpPr>
              <p:spPr>
                <a:xfrm>
                  <a:off x="2985439" y="3813707"/>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69" name="矩形 1068">
                  <a:extLst>
                    <a:ext uri="{FF2B5EF4-FFF2-40B4-BE49-F238E27FC236}">
                      <a16:creationId xmlns:a16="http://schemas.microsoft.com/office/drawing/2014/main" id="{DA16AA45-D176-4D08-BD59-281FF7895BC2}"/>
                    </a:ext>
                  </a:extLst>
                </p:cNvPr>
                <p:cNvSpPr/>
                <p:nvPr/>
              </p:nvSpPr>
              <p:spPr>
                <a:xfrm>
                  <a:off x="2985439" y="3911756"/>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29" name="组合 28">
              <a:extLst>
                <a:ext uri="{FF2B5EF4-FFF2-40B4-BE49-F238E27FC236}">
                  <a16:creationId xmlns:a16="http://schemas.microsoft.com/office/drawing/2014/main" id="{98748623-E96F-40FF-A776-467E82C6C4A8}"/>
                </a:ext>
              </a:extLst>
            </p:cNvPr>
            <p:cNvGrpSpPr/>
            <p:nvPr/>
          </p:nvGrpSpPr>
          <p:grpSpPr>
            <a:xfrm>
              <a:off x="2390618" y="4549429"/>
              <a:ext cx="1015154" cy="263489"/>
              <a:chOff x="2306270" y="4491548"/>
              <a:chExt cx="1015154" cy="263489"/>
            </a:xfrm>
          </p:grpSpPr>
          <p:sp>
            <p:nvSpPr>
              <p:cNvPr id="930" name="圆角矩形 13">
                <a:extLst>
                  <a:ext uri="{FF2B5EF4-FFF2-40B4-BE49-F238E27FC236}">
                    <a16:creationId xmlns:a16="http://schemas.microsoft.com/office/drawing/2014/main" id="{201B923C-EDD6-428E-B992-557CEF434B8B}"/>
                  </a:ext>
                </a:extLst>
              </p:cNvPr>
              <p:cNvSpPr/>
              <p:nvPr/>
            </p:nvSpPr>
            <p:spPr>
              <a:xfrm>
                <a:off x="2626870" y="4491548"/>
                <a:ext cx="357831" cy="263489"/>
              </a:xfrm>
              <a:prstGeom prst="roundRect">
                <a:avLst>
                  <a:gd name="adj" fmla="val 8038"/>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26" name="组合 25">
                <a:extLst>
                  <a:ext uri="{FF2B5EF4-FFF2-40B4-BE49-F238E27FC236}">
                    <a16:creationId xmlns:a16="http://schemas.microsoft.com/office/drawing/2014/main" id="{45C074C8-B745-491A-9083-938E1FFF3520}"/>
                  </a:ext>
                </a:extLst>
              </p:cNvPr>
              <p:cNvGrpSpPr/>
              <p:nvPr/>
            </p:nvGrpSpPr>
            <p:grpSpPr>
              <a:xfrm>
                <a:off x="3069273" y="4491548"/>
                <a:ext cx="252151" cy="249322"/>
                <a:chOff x="3167324" y="4573427"/>
                <a:chExt cx="452064" cy="249322"/>
              </a:xfrm>
            </p:grpSpPr>
            <p:sp>
              <p:nvSpPr>
                <p:cNvPr id="1071" name="矩形 1070">
                  <a:extLst>
                    <a:ext uri="{FF2B5EF4-FFF2-40B4-BE49-F238E27FC236}">
                      <a16:creationId xmlns:a16="http://schemas.microsoft.com/office/drawing/2014/main" id="{0CBAB299-BCC4-4DB1-B0B1-81F3C2F3B2C8}"/>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2" name="矩形 1071">
                  <a:extLst>
                    <a:ext uri="{FF2B5EF4-FFF2-40B4-BE49-F238E27FC236}">
                      <a16:creationId xmlns:a16="http://schemas.microsoft.com/office/drawing/2014/main" id="{97B82DC9-2FF1-498F-A360-B7CB02AFA5BD}"/>
                    </a:ext>
                  </a:extLst>
                </p:cNvPr>
                <p:cNvSpPr/>
                <p:nvPr/>
              </p:nvSpPr>
              <p:spPr>
                <a:xfrm>
                  <a:off x="3167324" y="4670700"/>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3" name="矩形 1072">
                  <a:extLst>
                    <a:ext uri="{FF2B5EF4-FFF2-40B4-BE49-F238E27FC236}">
                      <a16:creationId xmlns:a16="http://schemas.microsoft.com/office/drawing/2014/main" id="{0A3E8C70-F56A-4348-A5A3-965280C2638D}"/>
                    </a:ext>
                  </a:extLst>
                </p:cNvPr>
                <p:cNvSpPr/>
                <p:nvPr/>
              </p:nvSpPr>
              <p:spPr>
                <a:xfrm>
                  <a:off x="3167324"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074" name="组合 1073">
                <a:extLst>
                  <a:ext uri="{FF2B5EF4-FFF2-40B4-BE49-F238E27FC236}">
                    <a16:creationId xmlns:a16="http://schemas.microsoft.com/office/drawing/2014/main" id="{ED8E2C3F-E938-4D95-883D-D29C518F3E79}"/>
                  </a:ext>
                </a:extLst>
              </p:cNvPr>
              <p:cNvGrpSpPr/>
              <p:nvPr/>
            </p:nvGrpSpPr>
            <p:grpSpPr>
              <a:xfrm>
                <a:off x="2306270" y="4491548"/>
                <a:ext cx="252152" cy="249322"/>
                <a:chOff x="3167322" y="4573427"/>
                <a:chExt cx="452066" cy="249322"/>
              </a:xfrm>
            </p:grpSpPr>
            <p:sp>
              <p:nvSpPr>
                <p:cNvPr id="1075" name="矩形 1074">
                  <a:extLst>
                    <a:ext uri="{FF2B5EF4-FFF2-40B4-BE49-F238E27FC236}">
                      <a16:creationId xmlns:a16="http://schemas.microsoft.com/office/drawing/2014/main" id="{2248F49E-F982-40F3-89EF-ECD9EF3F1A0C}"/>
                    </a:ext>
                  </a:extLst>
                </p:cNvPr>
                <p:cNvSpPr/>
                <p:nvPr/>
              </p:nvSpPr>
              <p:spPr>
                <a:xfrm>
                  <a:off x="3167326" y="4573427"/>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076" name="矩形 1075">
                  <a:extLst>
                    <a:ext uri="{FF2B5EF4-FFF2-40B4-BE49-F238E27FC236}">
                      <a16:creationId xmlns:a16="http://schemas.microsoft.com/office/drawing/2014/main" id="{C6A487A8-755C-4D28-B0AA-507A3359D845}"/>
                    </a:ext>
                  </a:extLst>
                </p:cNvPr>
                <p:cNvSpPr/>
                <p:nvPr/>
              </p:nvSpPr>
              <p:spPr>
                <a:xfrm>
                  <a:off x="3167326" y="4670700"/>
                  <a:ext cx="396001"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1077" name="矩形 1076">
                  <a:extLst>
                    <a:ext uri="{FF2B5EF4-FFF2-40B4-BE49-F238E27FC236}">
                      <a16:creationId xmlns:a16="http://schemas.microsoft.com/office/drawing/2014/main" id="{F08D21E7-7021-4181-8C31-97F5FB37D7BA}"/>
                    </a:ext>
                  </a:extLst>
                </p:cNvPr>
                <p:cNvSpPr/>
                <p:nvPr/>
              </p:nvSpPr>
              <p:spPr>
                <a:xfrm>
                  <a:off x="3167322" y="4768749"/>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grpSp>
        <p:nvGrpSpPr>
          <p:cNvPr id="198" name="组合 197">
            <a:extLst>
              <a:ext uri="{FF2B5EF4-FFF2-40B4-BE49-F238E27FC236}">
                <a16:creationId xmlns:a16="http://schemas.microsoft.com/office/drawing/2014/main" id="{FC522BDD-3447-423F-96CD-D460760F796C}"/>
              </a:ext>
            </a:extLst>
          </p:cNvPr>
          <p:cNvGrpSpPr/>
          <p:nvPr/>
        </p:nvGrpSpPr>
        <p:grpSpPr>
          <a:xfrm>
            <a:off x="4355744" y="1959177"/>
            <a:ext cx="4630137" cy="3093736"/>
            <a:chOff x="4355738" y="1959177"/>
            <a:chExt cx="4630137" cy="3093736"/>
          </a:xfrm>
        </p:grpSpPr>
        <p:sp>
          <p:nvSpPr>
            <p:cNvPr id="611" name="Freeform 6">
              <a:extLst>
                <a:ext uri="{FF2B5EF4-FFF2-40B4-BE49-F238E27FC236}">
                  <a16:creationId xmlns:a16="http://schemas.microsoft.com/office/drawing/2014/main" id="{61153CE2-AE0B-441F-B0A1-0FBBB2760D07}"/>
                </a:ext>
              </a:extLst>
            </p:cNvPr>
            <p:cNvSpPr>
              <a:spLocks/>
            </p:cNvSpPr>
            <p:nvPr/>
          </p:nvSpPr>
          <p:spPr bwMode="auto">
            <a:xfrm>
              <a:off x="4355738" y="1959177"/>
              <a:ext cx="4630137" cy="3093736"/>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1092" name="矩形: 圆角 1091">
              <a:extLst>
                <a:ext uri="{FF2B5EF4-FFF2-40B4-BE49-F238E27FC236}">
                  <a16:creationId xmlns:a16="http://schemas.microsoft.com/office/drawing/2014/main" id="{3A2A346D-64A0-4D7C-9357-189428DEBCC6}"/>
                </a:ext>
              </a:extLst>
            </p:cNvPr>
            <p:cNvSpPr>
              <a:spLocks noChangeAspect="1"/>
            </p:cNvSpPr>
            <p:nvPr/>
          </p:nvSpPr>
          <p:spPr>
            <a:xfrm>
              <a:off x="4537757" y="2967959"/>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2" name="Rectangle 8">
              <a:extLst>
                <a:ext uri="{FF2B5EF4-FFF2-40B4-BE49-F238E27FC236}">
                  <a16:creationId xmlns:a16="http://schemas.microsoft.com/office/drawing/2014/main" id="{795F2FB1-4108-407F-B036-2EAEC202A805}"/>
                </a:ext>
              </a:extLst>
            </p:cNvPr>
            <p:cNvSpPr>
              <a:spLocks noChangeArrowheads="1"/>
            </p:cNvSpPr>
            <p:nvPr/>
          </p:nvSpPr>
          <p:spPr bwMode="auto">
            <a:xfrm>
              <a:off x="4537760" y="2305823"/>
              <a:ext cx="4293867" cy="401176"/>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3" name="Rectangle 9">
              <a:extLst>
                <a:ext uri="{FF2B5EF4-FFF2-40B4-BE49-F238E27FC236}">
                  <a16:creationId xmlns:a16="http://schemas.microsoft.com/office/drawing/2014/main" id="{FAC73EC9-CB85-4FC7-82FF-A7427177F2F8}"/>
                </a:ext>
              </a:extLst>
            </p:cNvPr>
            <p:cNvSpPr>
              <a:spLocks noChangeArrowheads="1"/>
            </p:cNvSpPr>
            <p:nvPr/>
          </p:nvSpPr>
          <p:spPr bwMode="auto">
            <a:xfrm>
              <a:off x="4537760" y="2305823"/>
              <a:ext cx="4293867" cy="233694"/>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4" name="Oval 14">
              <a:extLst>
                <a:ext uri="{FF2B5EF4-FFF2-40B4-BE49-F238E27FC236}">
                  <a16:creationId xmlns:a16="http://schemas.microsoft.com/office/drawing/2014/main" id="{F65FB675-16E4-453F-84A9-3127E2E0653E}"/>
                </a:ext>
              </a:extLst>
            </p:cNvPr>
            <p:cNvSpPr>
              <a:spLocks noChangeArrowheads="1"/>
            </p:cNvSpPr>
            <p:nvPr/>
          </p:nvSpPr>
          <p:spPr bwMode="auto">
            <a:xfrm>
              <a:off x="5016364" y="2138342"/>
              <a:ext cx="78918"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5">
              <a:extLst>
                <a:ext uri="{FF2B5EF4-FFF2-40B4-BE49-F238E27FC236}">
                  <a16:creationId xmlns:a16="http://schemas.microsoft.com/office/drawing/2014/main" id="{DD3E21B5-B971-448C-989F-4965A0978D04}"/>
                </a:ext>
              </a:extLst>
            </p:cNvPr>
            <p:cNvSpPr>
              <a:spLocks noChangeArrowheads="1"/>
            </p:cNvSpPr>
            <p:nvPr/>
          </p:nvSpPr>
          <p:spPr bwMode="auto">
            <a:xfrm>
              <a:off x="5155108"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6" name="Oval 16">
              <a:extLst>
                <a:ext uri="{FF2B5EF4-FFF2-40B4-BE49-F238E27FC236}">
                  <a16:creationId xmlns:a16="http://schemas.microsoft.com/office/drawing/2014/main" id="{7F70320F-CFB0-46CE-B0CB-765F25CC79E1}"/>
                </a:ext>
              </a:extLst>
            </p:cNvPr>
            <p:cNvSpPr>
              <a:spLocks noChangeArrowheads="1"/>
            </p:cNvSpPr>
            <p:nvPr/>
          </p:nvSpPr>
          <p:spPr bwMode="auto">
            <a:xfrm>
              <a:off x="5293852" y="2138342"/>
              <a:ext cx="80193" cy="80494"/>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8" name="Freeform 18">
              <a:extLst>
                <a:ext uri="{FF2B5EF4-FFF2-40B4-BE49-F238E27FC236}">
                  <a16:creationId xmlns:a16="http://schemas.microsoft.com/office/drawing/2014/main" id="{06C97715-B4C3-41BA-BCBA-D4F078BE20EB}"/>
                </a:ext>
              </a:extLst>
            </p:cNvPr>
            <p:cNvSpPr>
              <a:spLocks/>
            </p:cNvSpPr>
            <p:nvPr/>
          </p:nvSpPr>
          <p:spPr bwMode="auto">
            <a:xfrm>
              <a:off x="5604436" y="2349966"/>
              <a:ext cx="669536" cy="211624"/>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9" name="Rectangle 19">
              <a:extLst>
                <a:ext uri="{FF2B5EF4-FFF2-40B4-BE49-F238E27FC236}">
                  <a16:creationId xmlns:a16="http://schemas.microsoft.com/office/drawing/2014/main" id="{3FE38F1D-2F74-447A-9229-7248475B55ED}"/>
                </a:ext>
              </a:extLst>
            </p:cNvPr>
            <p:cNvSpPr>
              <a:spLocks noChangeArrowheads="1"/>
            </p:cNvSpPr>
            <p:nvPr/>
          </p:nvSpPr>
          <p:spPr bwMode="auto">
            <a:xfrm>
              <a:off x="5766092" y="2423969"/>
              <a:ext cx="323313" cy="63617"/>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0" name="Freeform 20">
              <a:extLst>
                <a:ext uri="{FF2B5EF4-FFF2-40B4-BE49-F238E27FC236}">
                  <a16:creationId xmlns:a16="http://schemas.microsoft.com/office/drawing/2014/main" id="{59FB75A4-6A40-4880-A7F8-5852FF741217}"/>
                </a:ext>
              </a:extLst>
            </p:cNvPr>
            <p:cNvSpPr>
              <a:spLocks/>
            </p:cNvSpPr>
            <p:nvPr/>
          </p:nvSpPr>
          <p:spPr bwMode="auto">
            <a:xfrm>
              <a:off x="4974358" y="2405792"/>
              <a:ext cx="308037" cy="63617"/>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1" name="Freeform 21">
              <a:extLst>
                <a:ext uri="{FF2B5EF4-FFF2-40B4-BE49-F238E27FC236}">
                  <a16:creationId xmlns:a16="http://schemas.microsoft.com/office/drawing/2014/main" id="{E139472C-0020-4EA9-82FF-4CE53DFDB91B}"/>
                </a:ext>
              </a:extLst>
            </p:cNvPr>
            <p:cNvSpPr>
              <a:spLocks/>
            </p:cNvSpPr>
            <p:nvPr/>
          </p:nvSpPr>
          <p:spPr bwMode="auto">
            <a:xfrm>
              <a:off x="653491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2">
              <a:extLst>
                <a:ext uri="{FF2B5EF4-FFF2-40B4-BE49-F238E27FC236}">
                  <a16:creationId xmlns:a16="http://schemas.microsoft.com/office/drawing/2014/main" id="{27617993-F16B-4E93-95CA-E1BE3120C21F}"/>
                </a:ext>
              </a:extLst>
            </p:cNvPr>
            <p:cNvSpPr>
              <a:spLocks/>
            </p:cNvSpPr>
            <p:nvPr/>
          </p:nvSpPr>
          <p:spPr bwMode="auto">
            <a:xfrm>
              <a:off x="7117894" y="2405792"/>
              <a:ext cx="306765" cy="63617"/>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3">
              <a:extLst>
                <a:ext uri="{FF2B5EF4-FFF2-40B4-BE49-F238E27FC236}">
                  <a16:creationId xmlns:a16="http://schemas.microsoft.com/office/drawing/2014/main" id="{69FD1E44-430C-4F82-BCBB-E6FB7DC74782}"/>
                </a:ext>
              </a:extLst>
            </p:cNvPr>
            <p:cNvSpPr>
              <a:spLocks/>
            </p:cNvSpPr>
            <p:nvPr/>
          </p:nvSpPr>
          <p:spPr bwMode="auto">
            <a:xfrm>
              <a:off x="7700875" y="2405792"/>
              <a:ext cx="306765" cy="63617"/>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1106" name="任意多边形: 形状 1105">
              <a:extLst>
                <a:ext uri="{FF2B5EF4-FFF2-40B4-BE49-F238E27FC236}">
                  <a16:creationId xmlns:a16="http://schemas.microsoft.com/office/drawing/2014/main" id="{A138CBCE-9F42-49A3-BE88-2D66367E5DD9}"/>
                </a:ext>
              </a:extLst>
            </p:cNvPr>
            <p:cNvSpPr>
              <a:spLocks/>
            </p:cNvSpPr>
            <p:nvPr/>
          </p:nvSpPr>
          <p:spPr>
            <a:xfrm>
              <a:off x="4537757" y="3442511"/>
              <a:ext cx="697541" cy="205836"/>
            </a:xfrm>
            <a:custGeom>
              <a:avLst/>
              <a:gdLst>
                <a:gd name="connsiteX0" fmla="*/ 29553 w 1189177"/>
                <a:gd name="connsiteY0" fmla="*/ 0 h 385548"/>
                <a:gd name="connsiteX1" fmla="*/ 1159624 w 1189177"/>
                <a:gd name="connsiteY1" fmla="*/ 0 h 385548"/>
                <a:gd name="connsiteX2" fmla="*/ 1189177 w 1189177"/>
                <a:gd name="connsiteY2" fmla="*/ 29553 h 385548"/>
                <a:gd name="connsiteX3" fmla="*/ 1189177 w 1189177"/>
                <a:gd name="connsiteY3" fmla="*/ 385548 h 385548"/>
                <a:gd name="connsiteX4" fmla="*/ 0 w 1189177"/>
                <a:gd name="connsiteY4" fmla="*/ 385548 h 385548"/>
                <a:gd name="connsiteX5" fmla="*/ 0 w 1189177"/>
                <a:gd name="connsiteY5" fmla="*/ 29553 h 385548"/>
                <a:gd name="connsiteX6" fmla="*/ 29553 w 1189177"/>
                <a:gd name="connsiteY6" fmla="*/ 0 h 385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189177" h="385548">
                  <a:moveTo>
                    <a:pt x="29553" y="0"/>
                  </a:moveTo>
                  <a:lnTo>
                    <a:pt x="1159624" y="0"/>
                  </a:lnTo>
                  <a:cubicBezTo>
                    <a:pt x="1175946" y="0"/>
                    <a:pt x="1189177" y="13231"/>
                    <a:pt x="1189177" y="29553"/>
                  </a:cubicBezTo>
                  <a:lnTo>
                    <a:pt x="1189177" y="385548"/>
                  </a:lnTo>
                  <a:lnTo>
                    <a:pt x="0" y="385548"/>
                  </a:lnTo>
                  <a:lnTo>
                    <a:pt x="0" y="29553"/>
                  </a:lnTo>
                  <a:cubicBezTo>
                    <a:pt x="0" y="13231"/>
                    <a:pt x="13231" y="0"/>
                    <a:pt x="29553" y="0"/>
                  </a:cubicBezTo>
                  <a:close/>
                </a:path>
              </a:pathLst>
            </a:custGeom>
            <a:solidFill>
              <a:srgbClr val="867D98">
                <a:lumMod val="20000"/>
                <a:lumOff val="80000"/>
              </a:srgbClr>
            </a:solidFill>
            <a:ln w="38100" cap="flat" cmpd="sng" algn="ctr">
              <a:noFill/>
              <a:prstDash val="solid"/>
              <a:miter lim="800000"/>
            </a:ln>
            <a:effectLst/>
          </p:spPr>
          <p:txBody>
            <a:bodyPr wrap="square" rtlCol="0" anchor="ctr">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grpSp>
          <p:nvGrpSpPr>
            <p:cNvPr id="1107" name="组合 1106">
              <a:extLst>
                <a:ext uri="{FF2B5EF4-FFF2-40B4-BE49-F238E27FC236}">
                  <a16:creationId xmlns:a16="http://schemas.microsoft.com/office/drawing/2014/main" id="{D0A53F62-7EC8-4EC8-95AD-0768F498C341}"/>
                </a:ext>
              </a:extLst>
            </p:cNvPr>
            <p:cNvGrpSpPr/>
            <p:nvPr/>
          </p:nvGrpSpPr>
          <p:grpSpPr>
            <a:xfrm>
              <a:off x="4594421" y="3700293"/>
              <a:ext cx="584212" cy="81394"/>
              <a:chOff x="890763" y="3168433"/>
              <a:chExt cx="1107466" cy="151273"/>
            </a:xfrm>
          </p:grpSpPr>
          <p:grpSp>
            <p:nvGrpSpPr>
              <p:cNvPr id="1108" name="组合 1107">
                <a:extLst>
                  <a:ext uri="{FF2B5EF4-FFF2-40B4-BE49-F238E27FC236}">
                    <a16:creationId xmlns:a16="http://schemas.microsoft.com/office/drawing/2014/main" id="{A5A0F9C8-0652-41EF-B223-D59CB4B5304E}"/>
                  </a:ext>
                </a:extLst>
              </p:cNvPr>
              <p:cNvGrpSpPr/>
              <p:nvPr/>
            </p:nvGrpSpPr>
            <p:grpSpPr>
              <a:xfrm>
                <a:off x="890763" y="3168433"/>
                <a:ext cx="288000" cy="151273"/>
                <a:chOff x="890763" y="3187237"/>
                <a:chExt cx="288000" cy="151273"/>
              </a:xfrm>
            </p:grpSpPr>
            <p:sp>
              <p:nvSpPr>
                <p:cNvPr id="1115" name="矩形 1114">
                  <a:extLst>
                    <a:ext uri="{FF2B5EF4-FFF2-40B4-BE49-F238E27FC236}">
                      <a16:creationId xmlns:a16="http://schemas.microsoft.com/office/drawing/2014/main" id="{602858E2-E07B-4103-91F1-8339BB8CB407}"/>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6" name="矩形 1115">
                  <a:extLst>
                    <a:ext uri="{FF2B5EF4-FFF2-40B4-BE49-F238E27FC236}">
                      <a16:creationId xmlns:a16="http://schemas.microsoft.com/office/drawing/2014/main" id="{2BE97B6F-56B1-4F66-8A28-DB0ACCE1F238}"/>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09" name="组合 1108">
                <a:extLst>
                  <a:ext uri="{FF2B5EF4-FFF2-40B4-BE49-F238E27FC236}">
                    <a16:creationId xmlns:a16="http://schemas.microsoft.com/office/drawing/2014/main" id="{6FBB44BF-2DC9-4274-B3BE-14F8D101FF12}"/>
                  </a:ext>
                </a:extLst>
              </p:cNvPr>
              <p:cNvGrpSpPr/>
              <p:nvPr/>
            </p:nvGrpSpPr>
            <p:grpSpPr>
              <a:xfrm>
                <a:off x="1300496" y="3168433"/>
                <a:ext cx="288000" cy="151273"/>
                <a:chOff x="890763" y="3187237"/>
                <a:chExt cx="288000" cy="151273"/>
              </a:xfrm>
            </p:grpSpPr>
            <p:sp>
              <p:nvSpPr>
                <p:cNvPr id="1113" name="矩形 1112">
                  <a:extLst>
                    <a:ext uri="{FF2B5EF4-FFF2-40B4-BE49-F238E27FC236}">
                      <a16:creationId xmlns:a16="http://schemas.microsoft.com/office/drawing/2014/main" id="{D0A543CC-1E59-4E7A-9FD4-ED7F51364542}"/>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4" name="矩形 1113">
                  <a:extLst>
                    <a:ext uri="{FF2B5EF4-FFF2-40B4-BE49-F238E27FC236}">
                      <a16:creationId xmlns:a16="http://schemas.microsoft.com/office/drawing/2014/main" id="{53ECCFBC-67A4-438C-A658-28933614D5BE}"/>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10" name="组合 1109">
                <a:extLst>
                  <a:ext uri="{FF2B5EF4-FFF2-40B4-BE49-F238E27FC236}">
                    <a16:creationId xmlns:a16="http://schemas.microsoft.com/office/drawing/2014/main" id="{1950F0DF-636E-4C20-8A39-A590932B09C9}"/>
                  </a:ext>
                </a:extLst>
              </p:cNvPr>
              <p:cNvGrpSpPr/>
              <p:nvPr/>
            </p:nvGrpSpPr>
            <p:grpSpPr>
              <a:xfrm>
                <a:off x="1710229" y="3168433"/>
                <a:ext cx="288000" cy="151273"/>
                <a:chOff x="890763" y="3187237"/>
                <a:chExt cx="288000" cy="151273"/>
              </a:xfrm>
            </p:grpSpPr>
            <p:sp>
              <p:nvSpPr>
                <p:cNvPr id="1111" name="矩形 1110">
                  <a:extLst>
                    <a:ext uri="{FF2B5EF4-FFF2-40B4-BE49-F238E27FC236}">
                      <a16:creationId xmlns:a16="http://schemas.microsoft.com/office/drawing/2014/main" id="{A155807A-CF95-403F-ACF9-0CB0E279FCC3}"/>
                    </a:ext>
                  </a:extLst>
                </p:cNvPr>
                <p:cNvSpPr/>
                <p:nvPr/>
              </p:nvSpPr>
              <p:spPr>
                <a:xfrm>
                  <a:off x="890763" y="3187237"/>
                  <a:ext cx="288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12" name="矩形 1111">
                  <a:extLst>
                    <a:ext uri="{FF2B5EF4-FFF2-40B4-BE49-F238E27FC236}">
                      <a16:creationId xmlns:a16="http://schemas.microsoft.com/office/drawing/2014/main" id="{375E0330-DAA0-480C-BA10-A421C0F2D7CC}"/>
                    </a:ext>
                  </a:extLst>
                </p:cNvPr>
                <p:cNvSpPr/>
                <p:nvPr/>
              </p:nvSpPr>
              <p:spPr>
                <a:xfrm>
                  <a:off x="890763" y="3284510"/>
                  <a:ext cx="21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sp>
          <p:nvSpPr>
            <p:cNvPr id="1105" name="矩形: 圆角 1104">
              <a:extLst>
                <a:ext uri="{FF2B5EF4-FFF2-40B4-BE49-F238E27FC236}">
                  <a16:creationId xmlns:a16="http://schemas.microsoft.com/office/drawing/2014/main" id="{5ADAA714-B77B-4CA9-BA00-89F03E8DDAE8}"/>
                </a:ext>
              </a:extLst>
            </p:cNvPr>
            <p:cNvSpPr>
              <a:spLocks noChangeAspect="1"/>
            </p:cNvSpPr>
            <p:nvPr/>
          </p:nvSpPr>
          <p:spPr>
            <a:xfrm>
              <a:off x="4537757" y="3442511"/>
              <a:ext cx="697541" cy="400205"/>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22" name="组合 1121">
              <a:extLst>
                <a:ext uri="{FF2B5EF4-FFF2-40B4-BE49-F238E27FC236}">
                  <a16:creationId xmlns:a16="http://schemas.microsoft.com/office/drawing/2014/main" id="{9E6E783D-953A-4023-996B-329ABEE00C08}"/>
                </a:ext>
              </a:extLst>
            </p:cNvPr>
            <p:cNvGrpSpPr/>
            <p:nvPr/>
          </p:nvGrpSpPr>
          <p:grpSpPr>
            <a:xfrm>
              <a:off x="5661334" y="3313021"/>
              <a:ext cx="2861662" cy="1318925"/>
              <a:chOff x="890763" y="2819277"/>
              <a:chExt cx="1107467" cy="500429"/>
            </a:xfrm>
          </p:grpSpPr>
          <p:grpSp>
            <p:nvGrpSpPr>
              <p:cNvPr id="1123" name="组合 1122">
                <a:extLst>
                  <a:ext uri="{FF2B5EF4-FFF2-40B4-BE49-F238E27FC236}">
                    <a16:creationId xmlns:a16="http://schemas.microsoft.com/office/drawing/2014/main" id="{7A654AB9-A15A-45E1-B556-4C0C59300B7D}"/>
                  </a:ext>
                </a:extLst>
              </p:cNvPr>
              <p:cNvGrpSpPr/>
              <p:nvPr/>
            </p:nvGrpSpPr>
            <p:grpSpPr>
              <a:xfrm>
                <a:off x="890763" y="2819277"/>
                <a:ext cx="1107467" cy="500429"/>
                <a:chOff x="890763" y="2838081"/>
                <a:chExt cx="1107467" cy="500429"/>
              </a:xfrm>
            </p:grpSpPr>
            <p:sp>
              <p:nvSpPr>
                <p:cNvPr id="1130" name="矩形 1129">
                  <a:extLst>
                    <a:ext uri="{FF2B5EF4-FFF2-40B4-BE49-F238E27FC236}">
                      <a16:creationId xmlns:a16="http://schemas.microsoft.com/office/drawing/2014/main" id="{4331E087-73F3-40AD-B97E-31C8A67EF143}"/>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1" name="矩形 1130">
                  <a:extLst>
                    <a:ext uri="{FF2B5EF4-FFF2-40B4-BE49-F238E27FC236}">
                      <a16:creationId xmlns:a16="http://schemas.microsoft.com/office/drawing/2014/main" id="{1ED8F3BF-52DC-4B14-A264-67C3CD84F2A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2" name="矩形 1131">
                  <a:extLst>
                    <a:ext uri="{FF2B5EF4-FFF2-40B4-BE49-F238E27FC236}">
                      <a16:creationId xmlns:a16="http://schemas.microsoft.com/office/drawing/2014/main" id="{2D9A077E-09F8-4C75-82D1-571C10ED9061}"/>
                    </a:ext>
                  </a:extLst>
                </p:cNvPr>
                <p:cNvSpPr/>
                <p:nvPr/>
              </p:nvSpPr>
              <p:spPr>
                <a:xfrm>
                  <a:off x="1134834" y="2838081"/>
                  <a:ext cx="619325"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33" name="矩形 1132">
                  <a:extLst>
                    <a:ext uri="{FF2B5EF4-FFF2-40B4-BE49-F238E27FC236}">
                      <a16:creationId xmlns:a16="http://schemas.microsoft.com/office/drawing/2014/main" id="{6F6F8248-8A85-4F12-B208-2FC76B2A096C}"/>
                    </a:ext>
                  </a:extLst>
                </p:cNvPr>
                <p:cNvSpPr/>
                <p:nvPr/>
              </p:nvSpPr>
              <p:spPr>
                <a:xfrm>
                  <a:off x="890763" y="2935354"/>
                  <a:ext cx="1107467" cy="5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4" name="组合 1123">
                <a:extLst>
                  <a:ext uri="{FF2B5EF4-FFF2-40B4-BE49-F238E27FC236}">
                    <a16:creationId xmlns:a16="http://schemas.microsoft.com/office/drawing/2014/main" id="{E1EE6C0C-7722-4415-9A98-42B7AC8ADB91}"/>
                  </a:ext>
                </a:extLst>
              </p:cNvPr>
              <p:cNvGrpSpPr/>
              <p:nvPr/>
            </p:nvGrpSpPr>
            <p:grpSpPr>
              <a:xfrm>
                <a:off x="1300496" y="3168433"/>
                <a:ext cx="288000" cy="151273"/>
                <a:chOff x="890763" y="3187237"/>
                <a:chExt cx="288000" cy="151273"/>
              </a:xfrm>
            </p:grpSpPr>
            <p:sp>
              <p:nvSpPr>
                <p:cNvPr id="1128" name="矩形 1127">
                  <a:extLst>
                    <a:ext uri="{FF2B5EF4-FFF2-40B4-BE49-F238E27FC236}">
                      <a16:creationId xmlns:a16="http://schemas.microsoft.com/office/drawing/2014/main" id="{EE85E310-6383-4A33-9839-1080AB048D39}"/>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9" name="矩形 1128">
                  <a:extLst>
                    <a:ext uri="{FF2B5EF4-FFF2-40B4-BE49-F238E27FC236}">
                      <a16:creationId xmlns:a16="http://schemas.microsoft.com/office/drawing/2014/main" id="{92A8C4BC-E581-4771-8564-C41486B27EDC}"/>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25" name="组合 1124">
                <a:extLst>
                  <a:ext uri="{FF2B5EF4-FFF2-40B4-BE49-F238E27FC236}">
                    <a16:creationId xmlns:a16="http://schemas.microsoft.com/office/drawing/2014/main" id="{1E09A5A0-1198-49B9-91F7-683A4D269955}"/>
                  </a:ext>
                </a:extLst>
              </p:cNvPr>
              <p:cNvGrpSpPr/>
              <p:nvPr/>
            </p:nvGrpSpPr>
            <p:grpSpPr>
              <a:xfrm>
                <a:off x="1710229" y="3168433"/>
                <a:ext cx="288000" cy="151273"/>
                <a:chOff x="890763" y="3187237"/>
                <a:chExt cx="288000" cy="151273"/>
              </a:xfrm>
            </p:grpSpPr>
            <p:sp>
              <p:nvSpPr>
                <p:cNvPr id="1126" name="矩形 1125">
                  <a:extLst>
                    <a:ext uri="{FF2B5EF4-FFF2-40B4-BE49-F238E27FC236}">
                      <a16:creationId xmlns:a16="http://schemas.microsoft.com/office/drawing/2014/main" id="{EB6719D3-6DDD-45CA-9401-20D42A145160}"/>
                    </a:ext>
                  </a:extLst>
                </p:cNvPr>
                <p:cNvSpPr/>
                <p:nvPr/>
              </p:nvSpPr>
              <p:spPr>
                <a:xfrm>
                  <a:off x="890763" y="3187237"/>
                  <a:ext cx="288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27" name="矩形 1126">
                  <a:extLst>
                    <a:ext uri="{FF2B5EF4-FFF2-40B4-BE49-F238E27FC236}">
                      <a16:creationId xmlns:a16="http://schemas.microsoft.com/office/drawing/2014/main" id="{3346F224-F564-4731-8D85-DE34A7D4D1B8}"/>
                    </a:ext>
                  </a:extLst>
                </p:cNvPr>
                <p:cNvSpPr/>
                <p:nvPr/>
              </p:nvSpPr>
              <p:spPr>
                <a:xfrm>
                  <a:off x="890763" y="3284510"/>
                  <a:ext cx="216000" cy="5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31" name="组合 30">
              <a:extLst>
                <a:ext uri="{FF2B5EF4-FFF2-40B4-BE49-F238E27FC236}">
                  <a16:creationId xmlns:a16="http://schemas.microsoft.com/office/drawing/2014/main" id="{170293B6-FA82-4064-B08C-0806B8D56359}"/>
                </a:ext>
              </a:extLst>
            </p:cNvPr>
            <p:cNvGrpSpPr>
              <a:grpSpLocks/>
            </p:cNvGrpSpPr>
            <p:nvPr/>
          </p:nvGrpSpPr>
          <p:grpSpPr>
            <a:xfrm>
              <a:off x="4594421" y="3512445"/>
              <a:ext cx="584213" cy="81394"/>
              <a:chOff x="4267627" y="3525007"/>
              <a:chExt cx="584213" cy="96039"/>
            </a:xfrm>
          </p:grpSpPr>
          <p:sp>
            <p:nvSpPr>
              <p:cNvPr id="1160" name="矩形 1159">
                <a:extLst>
                  <a:ext uri="{FF2B5EF4-FFF2-40B4-BE49-F238E27FC236}">
                    <a16:creationId xmlns:a16="http://schemas.microsoft.com/office/drawing/2014/main" id="{72B68B0F-9CBE-473C-B0F3-F80233567427}"/>
                  </a:ext>
                </a:extLst>
              </p:cNvPr>
              <p:cNvSpPr/>
              <p:nvPr/>
            </p:nvSpPr>
            <p:spPr>
              <a:xfrm>
                <a:off x="4396380" y="3525007"/>
                <a:ext cx="326707"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61" name="矩形 1160">
                <a:extLst>
                  <a:ext uri="{FF2B5EF4-FFF2-40B4-BE49-F238E27FC236}">
                    <a16:creationId xmlns:a16="http://schemas.microsoft.com/office/drawing/2014/main" id="{EA664DAD-6074-4BDF-950A-DC4E838A18A5}"/>
                  </a:ext>
                </a:extLst>
              </p:cNvPr>
              <p:cNvSpPr/>
              <p:nvPr/>
            </p:nvSpPr>
            <p:spPr>
              <a:xfrm>
                <a:off x="4267627" y="3586763"/>
                <a:ext cx="584213" cy="342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192" name="矩形: 圆角 1191">
              <a:extLst>
                <a:ext uri="{FF2B5EF4-FFF2-40B4-BE49-F238E27FC236}">
                  <a16:creationId xmlns:a16="http://schemas.microsoft.com/office/drawing/2014/main" id="{BA981F9A-9DAF-4D3F-98EF-64790A2A9ACE}"/>
                </a:ext>
              </a:extLst>
            </p:cNvPr>
            <p:cNvSpPr>
              <a:spLocks noChangeAspect="1"/>
            </p:cNvSpPr>
            <p:nvPr/>
          </p:nvSpPr>
          <p:spPr>
            <a:xfrm>
              <a:off x="4537757" y="3917063"/>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3" name="矩形: 圆角 1192">
              <a:extLst>
                <a:ext uri="{FF2B5EF4-FFF2-40B4-BE49-F238E27FC236}">
                  <a16:creationId xmlns:a16="http://schemas.microsoft.com/office/drawing/2014/main" id="{45DBE396-CD6F-4032-A8DF-9AD6392A9FD3}"/>
                </a:ext>
              </a:extLst>
            </p:cNvPr>
            <p:cNvSpPr>
              <a:spLocks noChangeAspect="1"/>
            </p:cNvSpPr>
            <p:nvPr/>
          </p:nvSpPr>
          <p:spPr>
            <a:xfrm>
              <a:off x="4537757" y="4391615"/>
              <a:ext cx="697541" cy="400205"/>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8" name="任意多边形: 形状 1197">
              <a:extLst>
                <a:ext uri="{FF2B5EF4-FFF2-40B4-BE49-F238E27FC236}">
                  <a16:creationId xmlns:a16="http://schemas.microsoft.com/office/drawing/2014/main" id="{84DDD30D-950B-4F9A-8A49-735AE8AC0AFD}"/>
                </a:ext>
              </a:extLst>
            </p:cNvPr>
            <p:cNvSpPr>
              <a:spLocks noChangeAspect="1"/>
            </p:cNvSpPr>
            <p:nvPr/>
          </p:nvSpPr>
          <p:spPr>
            <a:xfrm>
              <a:off x="5383774" y="2967959"/>
              <a:ext cx="3416779" cy="1013353"/>
            </a:xfrm>
            <a:custGeom>
              <a:avLst/>
              <a:gdLst>
                <a:gd name="connsiteX0" fmla="*/ 55458 w 3416779"/>
                <a:gd name="connsiteY0" fmla="*/ 0 h 1013353"/>
                <a:gd name="connsiteX1" fmla="*/ 3361321 w 3416779"/>
                <a:gd name="connsiteY1" fmla="*/ 0 h 1013353"/>
                <a:gd name="connsiteX2" fmla="*/ 3416779 w 3416779"/>
                <a:gd name="connsiteY2" fmla="*/ 55458 h 1013353"/>
                <a:gd name="connsiteX3" fmla="*/ 3416779 w 3416779"/>
                <a:gd name="connsiteY3" fmla="*/ 1013353 h 1013353"/>
                <a:gd name="connsiteX4" fmla="*/ 0 w 3416779"/>
                <a:gd name="connsiteY4" fmla="*/ 1013353 h 1013353"/>
                <a:gd name="connsiteX5" fmla="*/ 0 w 3416779"/>
                <a:gd name="connsiteY5" fmla="*/ 55458 h 1013353"/>
                <a:gd name="connsiteX6" fmla="*/ 55458 w 3416779"/>
                <a:gd name="connsiteY6" fmla="*/ 0 h 10133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16779" h="1013353">
                  <a:moveTo>
                    <a:pt x="55458" y="0"/>
                  </a:moveTo>
                  <a:lnTo>
                    <a:pt x="3361321" y="0"/>
                  </a:lnTo>
                  <a:cubicBezTo>
                    <a:pt x="3391950" y="0"/>
                    <a:pt x="3416779" y="24829"/>
                    <a:pt x="3416779" y="55458"/>
                  </a:cubicBezTo>
                  <a:lnTo>
                    <a:pt x="3416779" y="1013353"/>
                  </a:lnTo>
                  <a:lnTo>
                    <a:pt x="0" y="1013353"/>
                  </a:lnTo>
                  <a:lnTo>
                    <a:pt x="0" y="55458"/>
                  </a:lnTo>
                  <a:cubicBezTo>
                    <a:pt x="0" y="24829"/>
                    <a:pt x="24829" y="0"/>
                    <a:pt x="55458" y="0"/>
                  </a:cubicBezTo>
                  <a:close/>
                </a:path>
              </a:pathLst>
            </a:custGeom>
            <a:solidFill>
              <a:srgbClr val="F0EEF2"/>
            </a:solidFill>
            <a:ln w="25400">
              <a:gradFill>
                <a:gsLst>
                  <a:gs pos="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96" name="组合 195">
              <a:extLst>
                <a:ext uri="{FF2B5EF4-FFF2-40B4-BE49-F238E27FC236}">
                  <a16:creationId xmlns:a16="http://schemas.microsoft.com/office/drawing/2014/main" id="{AC643BCA-3BB0-4B9D-81A0-6C5B84A1F99C}"/>
                </a:ext>
              </a:extLst>
            </p:cNvPr>
            <p:cNvGrpSpPr/>
            <p:nvPr/>
          </p:nvGrpSpPr>
          <p:grpSpPr>
            <a:xfrm>
              <a:off x="5661334" y="3276855"/>
              <a:ext cx="2839176" cy="395561"/>
              <a:chOff x="6607371" y="3447302"/>
              <a:chExt cx="584213" cy="81394"/>
            </a:xfrm>
          </p:grpSpPr>
          <p:sp>
            <p:nvSpPr>
              <p:cNvPr id="1201" name="矩形 1200">
                <a:extLst>
                  <a:ext uri="{FF2B5EF4-FFF2-40B4-BE49-F238E27FC236}">
                    <a16:creationId xmlns:a16="http://schemas.microsoft.com/office/drawing/2014/main" id="{D91D9877-7543-4F08-B43F-0DFFE662E9E6}"/>
                  </a:ext>
                </a:extLst>
              </p:cNvPr>
              <p:cNvSpPr/>
              <p:nvPr/>
            </p:nvSpPr>
            <p:spPr>
              <a:xfrm>
                <a:off x="6736124" y="3447302"/>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202" name="矩形 1201">
                <a:extLst>
                  <a:ext uri="{FF2B5EF4-FFF2-40B4-BE49-F238E27FC236}">
                    <a16:creationId xmlns:a16="http://schemas.microsoft.com/office/drawing/2014/main" id="{32B0D4B6-D829-4A3C-8060-DAAC08AA4483}"/>
                  </a:ext>
                </a:extLst>
              </p:cNvPr>
              <p:cNvSpPr/>
              <p:nvPr/>
            </p:nvSpPr>
            <p:spPr>
              <a:xfrm>
                <a:off x="6607371" y="3499641"/>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208" name="矩形: 圆角 1207">
              <a:extLst>
                <a:ext uri="{FF2B5EF4-FFF2-40B4-BE49-F238E27FC236}">
                  <a16:creationId xmlns:a16="http://schemas.microsoft.com/office/drawing/2014/main" id="{9C7A5DC9-080D-48A1-9895-7D9FDBEF81A3}"/>
                </a:ext>
              </a:extLst>
            </p:cNvPr>
            <p:cNvSpPr>
              <a:spLocks noChangeAspect="1"/>
            </p:cNvSpPr>
            <p:nvPr/>
          </p:nvSpPr>
          <p:spPr>
            <a:xfrm>
              <a:off x="4537757" y="4864702"/>
              <a:ext cx="697541" cy="164498"/>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195" name="矩形: 圆角 1194">
              <a:extLst>
                <a:ext uri="{FF2B5EF4-FFF2-40B4-BE49-F238E27FC236}">
                  <a16:creationId xmlns:a16="http://schemas.microsoft.com/office/drawing/2014/main" id="{58D625B9-C935-4337-BA60-59145751AA0F}"/>
                </a:ext>
              </a:extLst>
            </p:cNvPr>
            <p:cNvSpPr>
              <a:spLocks noChangeAspect="1"/>
            </p:cNvSpPr>
            <p:nvPr/>
          </p:nvSpPr>
          <p:spPr>
            <a:xfrm>
              <a:off x="5383774" y="2967958"/>
              <a:ext cx="3416779" cy="1960332"/>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142" name="标题 1">
            <a:extLst>
              <a:ext uri="{FF2B5EF4-FFF2-40B4-BE49-F238E27FC236}">
                <a16:creationId xmlns:a16="http://schemas.microsoft.com/office/drawing/2014/main" id="{B167232B-C94B-4B55-9BB9-3932D3048E90}"/>
              </a:ext>
            </a:extLst>
          </p:cNvPr>
          <p:cNvSpPr txBox="1">
            <a:spLocks/>
          </p:cNvSpPr>
          <p:nvPr/>
        </p:nvSpPr>
        <p:spPr>
          <a:xfrm>
            <a:off x="660400" y="-1"/>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en-US" altLang="zh-CN" sz="2800" b="1" dirty="0"/>
              <a:t>Quick Slides Design</a:t>
            </a:r>
            <a:endParaRPr lang="zh-CN" altLang="en-US" sz="2800" b="1" dirty="0"/>
          </a:p>
        </p:txBody>
      </p:sp>
      <p:grpSp>
        <p:nvGrpSpPr>
          <p:cNvPr id="7" name="组合 6">
            <a:extLst>
              <a:ext uri="{FF2B5EF4-FFF2-40B4-BE49-F238E27FC236}">
                <a16:creationId xmlns:a16="http://schemas.microsoft.com/office/drawing/2014/main" id="{1F9F365A-2C24-41FD-B002-CB59D5D24B1C}"/>
              </a:ext>
            </a:extLst>
          </p:cNvPr>
          <p:cNvGrpSpPr/>
          <p:nvPr/>
        </p:nvGrpSpPr>
        <p:grpSpPr>
          <a:xfrm>
            <a:off x="2402783" y="3675081"/>
            <a:ext cx="990824" cy="138044"/>
            <a:chOff x="4746821" y="3664845"/>
            <a:chExt cx="584213" cy="81394"/>
          </a:xfrm>
        </p:grpSpPr>
        <p:sp>
          <p:nvSpPr>
            <p:cNvPr id="4" name="矩形 3">
              <a:extLst>
                <a:ext uri="{FF2B5EF4-FFF2-40B4-BE49-F238E27FC236}">
                  <a16:creationId xmlns:a16="http://schemas.microsoft.com/office/drawing/2014/main" id="{AB1FAD69-4D08-4E64-9C63-16E13C313BBE}"/>
                </a:ext>
              </a:extLst>
            </p:cNvPr>
            <p:cNvSpPr/>
            <p:nvPr/>
          </p:nvSpPr>
          <p:spPr>
            <a:xfrm>
              <a:off x="4875574" y="3664845"/>
              <a:ext cx="326707"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a:extLst>
                <a:ext uri="{FF2B5EF4-FFF2-40B4-BE49-F238E27FC236}">
                  <a16:creationId xmlns:a16="http://schemas.microsoft.com/office/drawing/2014/main" id="{AF65DC8F-823A-46D5-9360-28BA88F6A828}"/>
                </a:ext>
              </a:extLst>
            </p:cNvPr>
            <p:cNvSpPr/>
            <p:nvPr/>
          </p:nvSpPr>
          <p:spPr>
            <a:xfrm>
              <a:off x="4746821" y="3717184"/>
              <a:ext cx="584213" cy="290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2" name="矩形 1">
            <a:extLst>
              <a:ext uri="{FF2B5EF4-FFF2-40B4-BE49-F238E27FC236}">
                <a16:creationId xmlns:a16="http://schemas.microsoft.com/office/drawing/2014/main" id="{6D4473A2-7E5A-494A-B9DD-696441DA144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en-US" altLang="zh-CN" sz="800" dirty="0">
                <a:solidFill>
                  <a:schemeClr val="bg1"/>
                </a:solidFill>
              </a:rPr>
              <a:t>This slide is an instruction. Please delete this slide before using it for presentation.</a:t>
            </a:r>
          </a:p>
        </p:txBody>
      </p:sp>
    </p:spTree>
    <p:extLst>
      <p:ext uri="{BB962C8B-B14F-4D97-AF65-F5344CB8AC3E}">
        <p14:creationId xmlns:p14="http://schemas.microsoft.com/office/powerpoint/2010/main" val="391521804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95" name="Rectangle 10">
            <a:extLst>
              <a:ext uri="{FF2B5EF4-FFF2-40B4-BE49-F238E27FC236}">
                <a16:creationId xmlns:a16="http://schemas.microsoft.com/office/drawing/2014/main" id="{EB08811A-69A0-4B03-AD69-4D4093A4A1A1}"/>
              </a:ext>
            </a:extLst>
          </p:cNvPr>
          <p:cNvSpPr>
            <a:spLocks noChangeArrowheads="1"/>
          </p:cNvSpPr>
          <p:nvPr/>
        </p:nvSpPr>
        <p:spPr bwMode="auto">
          <a:xfrm>
            <a:off x="809622" y="2219171"/>
            <a:ext cx="3659316"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5" name="组合 4">
            <a:extLst>
              <a:ext uri="{FF2B5EF4-FFF2-40B4-BE49-F238E27FC236}">
                <a16:creationId xmlns:a16="http://schemas.microsoft.com/office/drawing/2014/main" id="{48A2BA8E-E72F-4AD7-AC03-A69B802AD243}"/>
              </a:ext>
            </a:extLst>
          </p:cNvPr>
          <p:cNvGrpSpPr/>
          <p:nvPr/>
        </p:nvGrpSpPr>
        <p:grpSpPr>
          <a:xfrm>
            <a:off x="660400" y="5464438"/>
            <a:ext cx="3493913" cy="400110"/>
            <a:chOff x="673100" y="5464438"/>
            <a:chExt cx="3493913" cy="400110"/>
          </a:xfrm>
        </p:grpSpPr>
        <p:sp>
          <p:nvSpPr>
            <p:cNvPr id="351" name="文本框 350"/>
            <p:cNvSpPr txBox="1"/>
            <p:nvPr/>
          </p:nvSpPr>
          <p:spPr>
            <a:xfrm>
              <a:off x="994562" y="5464438"/>
              <a:ext cx="3172451" cy="400110"/>
            </a:xfrm>
            <a:prstGeom prst="rect">
              <a:avLst/>
            </a:prstGeom>
            <a:noFill/>
          </p:spPr>
          <p:txBody>
            <a:bodyPr wrap="square" rtlCol="0" anchor="ctr">
              <a:spAutoFit/>
            </a:bodyPr>
            <a:lstStyle/>
            <a:p>
              <a:r>
                <a:rPr lang="en-US" altLang="zh-CN" sz="1000" dirty="0">
                  <a:solidFill>
                    <a:srgbClr val="2F2F2F"/>
                  </a:solidFill>
                </a:rPr>
                <a:t>Select the icon that needs to be changed in the diagram</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id="{C18997BC-8A46-4480-BDE2-8A42CE9D6E96}"/>
              </a:ext>
            </a:extLst>
          </p:cNvPr>
          <p:cNvSpPr/>
          <p:nvPr/>
        </p:nvSpPr>
        <p:spPr>
          <a:xfrm>
            <a:off x="4284309"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id="{8AD2200D-CA44-4767-84EF-C1856654B4FA}"/>
              </a:ext>
            </a:extLst>
          </p:cNvPr>
          <p:cNvSpPr txBox="1"/>
          <p:nvPr/>
        </p:nvSpPr>
        <p:spPr>
          <a:xfrm>
            <a:off x="4916703" y="5464425"/>
            <a:ext cx="2558947" cy="400110"/>
          </a:xfrm>
          <a:prstGeom prst="rect">
            <a:avLst/>
          </a:prstGeom>
          <a:noFill/>
        </p:spPr>
        <p:txBody>
          <a:bodyPr wrap="square" rtlCol="0" anchor="ctr">
            <a:spAutoFit/>
          </a:bodyPr>
          <a:lstStyle/>
          <a:p>
            <a:r>
              <a:rPr lang="en-US" altLang="zh-CN" sz="1000" dirty="0">
                <a:solidFill>
                  <a:srgbClr val="2F2F2F"/>
                </a:solidFill>
              </a:rPr>
              <a:t>Click the target icon in iSlide “Icon Library” to replace it</a:t>
            </a:r>
            <a:endParaRPr lang="zh-CN" altLang="en-US" sz="1000" dirty="0">
              <a:solidFill>
                <a:srgbClr val="2F2F2F"/>
              </a:solidFill>
            </a:endParaRPr>
          </a:p>
        </p:txBody>
      </p:sp>
      <p:sp>
        <p:nvSpPr>
          <p:cNvPr id="614" name="椭圆 613">
            <a:extLst>
              <a:ext uri="{FF2B5EF4-FFF2-40B4-BE49-F238E27FC236}">
                <a16:creationId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id="{262E38B2-0226-44BA-9105-CB532FA15FCA}"/>
              </a:ext>
            </a:extLst>
          </p:cNvPr>
          <p:cNvSpPr/>
          <p:nvPr/>
        </p:nvSpPr>
        <p:spPr>
          <a:xfrm>
            <a:off x="772084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4" name="组合 3">
            <a:extLst>
              <a:ext uri="{FF2B5EF4-FFF2-40B4-BE49-F238E27FC236}">
                <a16:creationId xmlns:a16="http://schemas.microsoft.com/office/drawing/2014/main" id="{A28377A9-9395-4FE8-A752-D85653CA6493}"/>
              </a:ext>
            </a:extLst>
          </p:cNvPr>
          <p:cNvGrpSpPr/>
          <p:nvPr/>
        </p:nvGrpSpPr>
        <p:grpSpPr>
          <a:xfrm>
            <a:off x="8024992" y="5526315"/>
            <a:ext cx="3493908" cy="276343"/>
            <a:chOff x="8024992" y="5526315"/>
            <a:chExt cx="3493908" cy="276343"/>
          </a:xfrm>
        </p:grpSpPr>
        <p:sp>
          <p:nvSpPr>
            <p:cNvPr id="753" name="文本框 752">
              <a:extLst>
                <a:ext uri="{FF2B5EF4-FFF2-40B4-BE49-F238E27FC236}">
                  <a16:creationId xmlns:a16="http://schemas.microsoft.com/office/drawing/2014/main" id="{64E2827D-DD54-493E-8009-F97E8BD7C996}"/>
                </a:ext>
              </a:extLst>
            </p:cNvPr>
            <p:cNvSpPr txBox="1"/>
            <p:nvPr/>
          </p:nvSpPr>
          <p:spPr>
            <a:xfrm>
              <a:off x="8344861" y="5541380"/>
              <a:ext cx="3174039" cy="246221"/>
            </a:xfrm>
            <a:prstGeom prst="rect">
              <a:avLst/>
            </a:prstGeom>
            <a:noFill/>
          </p:spPr>
          <p:txBody>
            <a:bodyPr wrap="square" rtlCol="0" anchor="ctr">
              <a:spAutoFit/>
            </a:bodyPr>
            <a:lstStyle/>
            <a:p>
              <a:r>
                <a:rPr lang="en-US" altLang="zh-CN" sz="1000" dirty="0">
                  <a:solidFill>
                    <a:srgbClr val="2F2F2F"/>
                  </a:solidFill>
                </a:rPr>
                <a:t>Done</a:t>
              </a:r>
            </a:p>
          </p:txBody>
        </p:sp>
        <p:sp>
          <p:nvSpPr>
            <p:cNvPr id="754" name="椭圆 753">
              <a:extLst>
                <a:ext uri="{FF2B5EF4-FFF2-40B4-BE49-F238E27FC236}">
                  <a16:creationId xmlns:a16="http://schemas.microsoft.com/office/drawing/2014/main" id="{2CAE1083-0567-4F35-9DA3-912D7BA86E08}"/>
                </a:ext>
              </a:extLst>
            </p:cNvPr>
            <p:cNvSpPr/>
            <p:nvPr/>
          </p:nvSpPr>
          <p:spPr>
            <a:xfrm>
              <a:off x="8024992"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sp>
        <p:nvSpPr>
          <p:cNvPr id="3" name="标题 1">
            <a:extLst>
              <a:ext uri="{FF2B5EF4-FFF2-40B4-BE49-F238E27FC236}">
                <a16:creationId xmlns:a16="http://schemas.microsoft.com/office/drawing/2014/main" id="{4F84E74D-AA01-4BAE-92D2-C59945F97B6D}"/>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en-US" altLang="zh-CN" sz="2800" b="1" dirty="0"/>
              <a:t>Replace Icons</a:t>
            </a:r>
            <a:endParaRPr lang="zh-CN" altLang="en-US" sz="2800" b="1" dirty="0"/>
          </a:p>
        </p:txBody>
      </p:sp>
      <p:grpSp>
        <p:nvGrpSpPr>
          <p:cNvPr id="22" name="组合 21">
            <a:extLst>
              <a:ext uri="{FF2B5EF4-FFF2-40B4-BE49-F238E27FC236}">
                <a16:creationId xmlns:a16="http://schemas.microsoft.com/office/drawing/2014/main" id="{3A3BC1D5-EA0F-41BB-8F53-59743BD1B38C}"/>
              </a:ext>
            </a:extLst>
          </p:cNvPr>
          <p:cNvGrpSpPr/>
          <p:nvPr/>
        </p:nvGrpSpPr>
        <p:grpSpPr>
          <a:xfrm>
            <a:off x="660400" y="1959178"/>
            <a:ext cx="3493913" cy="2403813"/>
            <a:chOff x="673100" y="1959176"/>
            <a:chExt cx="3493913" cy="2403813"/>
          </a:xfrm>
        </p:grpSpPr>
        <p:grpSp>
          <p:nvGrpSpPr>
            <p:cNvPr id="12" name="组合 11">
              <a:extLst>
                <a:ext uri="{FF2B5EF4-FFF2-40B4-BE49-F238E27FC236}">
                  <a16:creationId xmlns:a16="http://schemas.microsoft.com/office/drawing/2014/main" id="{3D97207B-26E6-494B-A2BE-1E1B9E3E4E18}"/>
                </a:ext>
              </a:extLst>
            </p:cNvPr>
            <p:cNvGrpSpPr/>
            <p:nvPr/>
          </p:nvGrpSpPr>
          <p:grpSpPr>
            <a:xfrm>
              <a:off x="673100" y="1959176"/>
              <a:ext cx="3493913" cy="2403813"/>
              <a:chOff x="673100" y="1959176"/>
              <a:chExt cx="3493913" cy="2403813"/>
            </a:xfrm>
          </p:grpSpPr>
          <p:sp>
            <p:nvSpPr>
              <p:cNvPr id="395" name="Freeform 6">
                <a:extLst>
                  <a:ext uri="{FF2B5EF4-FFF2-40B4-BE49-F238E27FC236}">
                    <a16:creationId xmlns:a16="http://schemas.microsoft.com/office/drawing/2014/main" id="{531F3E12-E1A1-4FB6-BE6F-619A1EB5646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396" name="矩形: 圆角 395">
                <a:extLst>
                  <a:ext uri="{FF2B5EF4-FFF2-40B4-BE49-F238E27FC236}">
                    <a16:creationId xmlns:a16="http://schemas.microsoft.com/office/drawing/2014/main" id="{41C62B95-EC03-4F9F-8BDA-29725A649F10}"/>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397" name="Rectangle 8">
                <a:extLst>
                  <a:ext uri="{FF2B5EF4-FFF2-40B4-BE49-F238E27FC236}">
                    <a16:creationId xmlns:a16="http://schemas.microsoft.com/office/drawing/2014/main" id="{6BC6B2AE-F334-45A7-8DC1-83E254A97646}"/>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8" name="Rectangle 9">
                <a:extLst>
                  <a:ext uri="{FF2B5EF4-FFF2-40B4-BE49-F238E27FC236}">
                    <a16:creationId xmlns:a16="http://schemas.microsoft.com/office/drawing/2014/main" id="{68127BC8-69DB-42D5-933C-6C3BB881784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399" name="Oval 14">
                <a:extLst>
                  <a:ext uri="{FF2B5EF4-FFF2-40B4-BE49-F238E27FC236}">
                    <a16:creationId xmlns:a16="http://schemas.microsoft.com/office/drawing/2014/main" id="{560F0ECF-D54D-48C1-99F9-1628B8E529F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0" name="Oval 15">
                <a:extLst>
                  <a:ext uri="{FF2B5EF4-FFF2-40B4-BE49-F238E27FC236}">
                    <a16:creationId xmlns:a16="http://schemas.microsoft.com/office/drawing/2014/main" id="{6561D1AC-5205-4166-B410-F62D7AA3418D}"/>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1" name="Oval 16">
                <a:extLst>
                  <a:ext uri="{FF2B5EF4-FFF2-40B4-BE49-F238E27FC236}">
                    <a16:creationId xmlns:a16="http://schemas.microsoft.com/office/drawing/2014/main" id="{B63B0240-B214-4523-8D02-15FD02022D42}"/>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2" name="Freeform 18">
                <a:extLst>
                  <a:ext uri="{FF2B5EF4-FFF2-40B4-BE49-F238E27FC236}">
                    <a16:creationId xmlns:a16="http://schemas.microsoft.com/office/drawing/2014/main" id="{E270C877-0DE9-4B40-AF0A-2BD4879C8157}"/>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3" name="Rectangle 19">
                <a:extLst>
                  <a:ext uri="{FF2B5EF4-FFF2-40B4-BE49-F238E27FC236}">
                    <a16:creationId xmlns:a16="http://schemas.microsoft.com/office/drawing/2014/main" id="{58C87805-37F6-47C6-99DE-933822F94A81}"/>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4" name="Freeform 20">
                <a:extLst>
                  <a:ext uri="{FF2B5EF4-FFF2-40B4-BE49-F238E27FC236}">
                    <a16:creationId xmlns:a16="http://schemas.microsoft.com/office/drawing/2014/main" id="{1C2469F6-351F-4DF3-BA4D-2D313709F444}"/>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5" name="Freeform 21">
                <a:extLst>
                  <a:ext uri="{FF2B5EF4-FFF2-40B4-BE49-F238E27FC236}">
                    <a16:creationId xmlns:a16="http://schemas.microsoft.com/office/drawing/2014/main" id="{0546D3E7-D879-4A49-9ECB-4376DCE28F9F}"/>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6" name="Freeform 22">
                <a:extLst>
                  <a:ext uri="{FF2B5EF4-FFF2-40B4-BE49-F238E27FC236}">
                    <a16:creationId xmlns:a16="http://schemas.microsoft.com/office/drawing/2014/main" id="{5233617A-97F2-4429-AF9B-F0A6CB363E83}"/>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07" name="Freeform 23">
                <a:extLst>
                  <a:ext uri="{FF2B5EF4-FFF2-40B4-BE49-F238E27FC236}">
                    <a16:creationId xmlns:a16="http://schemas.microsoft.com/office/drawing/2014/main" id="{B378177B-6943-4F4B-8E95-6B7ACB9CAAF5}"/>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413" name="矩形: 圆角 412">
                <a:extLst>
                  <a:ext uri="{FF2B5EF4-FFF2-40B4-BE49-F238E27FC236}">
                    <a16:creationId xmlns:a16="http://schemas.microsoft.com/office/drawing/2014/main" id="{A5273A11-4ECF-4BC3-B800-7AB534DFA803}"/>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4" name="矩形: 圆角 413">
                <a:extLst>
                  <a:ext uri="{FF2B5EF4-FFF2-40B4-BE49-F238E27FC236}">
                    <a16:creationId xmlns:a16="http://schemas.microsoft.com/office/drawing/2014/main" id="{E3CF60ED-F7D9-4D1A-9948-5618058A2AC0}"/>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7" name="矩形: 圆角 416">
                <a:extLst>
                  <a:ext uri="{FF2B5EF4-FFF2-40B4-BE49-F238E27FC236}">
                    <a16:creationId xmlns:a16="http://schemas.microsoft.com/office/drawing/2014/main" id="{361B979D-727A-401A-B59B-F2C14D9B30D7}"/>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18" name="矩形: 圆角 417">
                <a:extLst>
                  <a:ext uri="{FF2B5EF4-FFF2-40B4-BE49-F238E27FC236}">
                    <a16:creationId xmlns:a16="http://schemas.microsoft.com/office/drawing/2014/main" id="{93DD38D4-7820-4D39-A810-19710F4E6372}"/>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5" name="矩形: 圆角 134">
                <a:extLst>
                  <a:ext uri="{FF2B5EF4-FFF2-40B4-BE49-F238E27FC236}">
                    <a16:creationId xmlns:a16="http://schemas.microsoft.com/office/drawing/2014/main" id="{D79E55C5-A2DE-4D31-AA8A-1A5CDFEC06DD}"/>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4" name="组合 13">
              <a:extLst>
                <a:ext uri="{FF2B5EF4-FFF2-40B4-BE49-F238E27FC236}">
                  <a16:creationId xmlns:a16="http://schemas.microsoft.com/office/drawing/2014/main" id="{23994454-07E0-4714-A984-4D1D3F716955}"/>
                </a:ext>
              </a:extLst>
            </p:cNvPr>
            <p:cNvGrpSpPr/>
            <p:nvPr/>
          </p:nvGrpSpPr>
          <p:grpSpPr>
            <a:xfrm>
              <a:off x="1625650" y="2998805"/>
              <a:ext cx="2224728" cy="1011538"/>
              <a:chOff x="1625650" y="2998805"/>
              <a:chExt cx="2224728" cy="1011538"/>
            </a:xfrm>
          </p:grpSpPr>
          <p:sp>
            <p:nvSpPr>
              <p:cNvPr id="420" name="矩形 419">
                <a:extLst>
                  <a:ext uri="{FF2B5EF4-FFF2-40B4-BE49-F238E27FC236}">
                    <a16:creationId xmlns:a16="http://schemas.microsoft.com/office/drawing/2014/main" id="{B63E4F93-58FC-4CD9-A34C-1104C0B05951}"/>
                  </a:ext>
                </a:extLst>
              </p:cNvPr>
              <p:cNvSpPr/>
              <p:nvPr/>
            </p:nvSpPr>
            <p:spPr>
              <a:xfrm>
                <a:off x="1658306"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3" name="六边形 442">
                <a:extLst>
                  <a:ext uri="{FF2B5EF4-FFF2-40B4-BE49-F238E27FC236}">
                    <a16:creationId xmlns:a16="http://schemas.microsoft.com/office/drawing/2014/main" id="{45D5F12E-5FA7-4314-9F36-17008F56C1BA}"/>
                  </a:ext>
                </a:extLst>
              </p:cNvPr>
              <p:cNvSpPr/>
              <p:nvPr/>
            </p:nvSpPr>
            <p:spPr>
              <a:xfrm>
                <a:off x="1625650" y="2998805"/>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4" name="六边形 443">
                <a:extLst>
                  <a:ext uri="{FF2B5EF4-FFF2-40B4-BE49-F238E27FC236}">
                    <a16:creationId xmlns:a16="http://schemas.microsoft.com/office/drawing/2014/main" id="{98872168-52C8-4CB0-849C-CFFD8AFAAECE}"/>
                  </a:ext>
                </a:extLst>
              </p:cNvPr>
              <p:cNvSpPr/>
              <p:nvPr/>
            </p:nvSpPr>
            <p:spPr>
              <a:xfrm>
                <a:off x="2121786" y="3264910"/>
                <a:ext cx="544954" cy="469786"/>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445" name="六边形 444">
                <a:extLst>
                  <a:ext uri="{FF2B5EF4-FFF2-40B4-BE49-F238E27FC236}">
                    <a16:creationId xmlns:a16="http://schemas.microsoft.com/office/drawing/2014/main" id="{D1533CD2-D858-4859-B0BA-68DD7361A521}"/>
                  </a:ext>
                </a:extLst>
              </p:cNvPr>
              <p:cNvSpPr/>
              <p:nvPr/>
            </p:nvSpPr>
            <p:spPr>
              <a:xfrm>
                <a:off x="1635531" y="3540559"/>
                <a:ext cx="544952" cy="469784"/>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446" name="矩形 445">
                <a:extLst>
                  <a:ext uri="{FF2B5EF4-FFF2-40B4-BE49-F238E27FC236}">
                    <a16:creationId xmlns:a16="http://schemas.microsoft.com/office/drawing/2014/main" id="{36870D1E-3609-43A4-90AA-F0C0A7F193B6}"/>
                  </a:ext>
                </a:extLst>
              </p:cNvPr>
              <p:cNvSpPr/>
              <p:nvPr/>
            </p:nvSpPr>
            <p:spPr>
              <a:xfrm>
                <a:off x="2840921" y="3226205"/>
                <a:ext cx="1009457"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47" name="矩形 446">
                <a:extLst>
                  <a:ext uri="{FF2B5EF4-FFF2-40B4-BE49-F238E27FC236}">
                    <a16:creationId xmlns:a16="http://schemas.microsoft.com/office/drawing/2014/main" id="{8120700A-212B-4D96-BE36-7DC480D315D8}"/>
                  </a:ext>
                </a:extLst>
              </p:cNvPr>
              <p:cNvSpPr/>
              <p:nvPr/>
            </p:nvSpPr>
            <p:spPr>
              <a:xfrm>
                <a:off x="2840916" y="3443416"/>
                <a:ext cx="884270"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p>
            </p:txBody>
          </p:sp>
          <p:sp>
            <p:nvSpPr>
              <p:cNvPr id="448" name="矩形 447">
                <a:extLst>
                  <a:ext uri="{FF2B5EF4-FFF2-40B4-BE49-F238E27FC236}">
                    <a16:creationId xmlns:a16="http://schemas.microsoft.com/office/drawing/2014/main" id="{62645477-49A9-44F5-8502-6F99449F9544}"/>
                  </a:ext>
                </a:extLst>
              </p:cNvPr>
              <p:cNvSpPr/>
              <p:nvPr/>
            </p:nvSpPr>
            <p:spPr>
              <a:xfrm>
                <a:off x="2840916" y="3662360"/>
                <a:ext cx="757094" cy="120582"/>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467" name="任意多边形: 形状 466">
                <a:extLst>
                  <a:ext uri="{FF2B5EF4-FFF2-40B4-BE49-F238E27FC236}">
                    <a16:creationId xmlns:a16="http://schemas.microsoft.com/office/drawing/2014/main" id="{029C489B-D9F3-48DB-BAA7-20AF8AFA842D}"/>
                  </a:ext>
                </a:extLst>
              </p:cNvPr>
              <p:cNvSpPr>
                <a:spLocks noChangeArrowheads="1"/>
              </p:cNvSpPr>
              <p:nvPr/>
            </p:nvSpPr>
            <p:spPr bwMode="auto">
              <a:xfrm>
                <a:off x="1755343" y="3079063"/>
                <a:ext cx="289293" cy="289295"/>
              </a:xfrm>
              <a:custGeom>
                <a:avLst/>
                <a:gdLst>
                  <a:gd name="connsiteX0" fmla="*/ 31617 w 289293"/>
                  <a:gd name="connsiteY0" fmla="*/ 267953 h 289295"/>
                  <a:gd name="connsiteX1" fmla="*/ 257677 w 289293"/>
                  <a:gd name="connsiteY1" fmla="*/ 267953 h 289295"/>
                  <a:gd name="connsiteX2" fmla="*/ 267952 w 289293"/>
                  <a:gd name="connsiteY2" fmla="*/ 278624 h 289295"/>
                  <a:gd name="connsiteX3" fmla="*/ 257677 w 289293"/>
                  <a:gd name="connsiteY3" fmla="*/ 289295 h 289295"/>
                  <a:gd name="connsiteX4" fmla="*/ 31617 w 289293"/>
                  <a:gd name="connsiteY4" fmla="*/ 289295 h 289295"/>
                  <a:gd name="connsiteX5" fmla="*/ 21342 w 289293"/>
                  <a:gd name="connsiteY5" fmla="*/ 278624 h 289295"/>
                  <a:gd name="connsiteX6" fmla="*/ 31617 w 289293"/>
                  <a:gd name="connsiteY6" fmla="*/ 267953 h 289295"/>
                  <a:gd name="connsiteX7" fmla="*/ 123983 w 289293"/>
                  <a:gd name="connsiteY7" fmla="*/ 138821 h 289295"/>
                  <a:gd name="connsiteX8" fmla="*/ 144648 w 289293"/>
                  <a:gd name="connsiteY8" fmla="*/ 142993 h 289295"/>
                  <a:gd name="connsiteX9" fmla="*/ 165310 w 289293"/>
                  <a:gd name="connsiteY9" fmla="*/ 138822 h 289295"/>
                  <a:gd name="connsiteX10" fmla="*/ 165310 w 289293"/>
                  <a:gd name="connsiteY10" fmla="*/ 161161 h 289295"/>
                  <a:gd name="connsiteX11" fmla="*/ 175642 w 289293"/>
                  <a:gd name="connsiteY11" fmla="*/ 171493 h 289295"/>
                  <a:gd name="connsiteX12" fmla="*/ 278961 w 289293"/>
                  <a:gd name="connsiteY12" fmla="*/ 186991 h 289295"/>
                  <a:gd name="connsiteX13" fmla="*/ 289293 w 289293"/>
                  <a:gd name="connsiteY13" fmla="*/ 197323 h 289295"/>
                  <a:gd name="connsiteX14" fmla="*/ 289293 w 289293"/>
                  <a:gd name="connsiteY14" fmla="*/ 238651 h 289295"/>
                  <a:gd name="connsiteX15" fmla="*/ 278961 w 289293"/>
                  <a:gd name="connsiteY15" fmla="*/ 248983 h 289295"/>
                  <a:gd name="connsiteX16" fmla="*/ 10332 w 289293"/>
                  <a:gd name="connsiteY16" fmla="*/ 248983 h 289295"/>
                  <a:gd name="connsiteX17" fmla="*/ 0 w 289293"/>
                  <a:gd name="connsiteY17" fmla="*/ 238651 h 289295"/>
                  <a:gd name="connsiteX18" fmla="*/ 0 w 289293"/>
                  <a:gd name="connsiteY18" fmla="*/ 197323 h 289295"/>
                  <a:gd name="connsiteX19" fmla="*/ 10332 w 289293"/>
                  <a:gd name="connsiteY19" fmla="*/ 186991 h 289295"/>
                  <a:gd name="connsiteX20" fmla="*/ 113651 w 289293"/>
                  <a:gd name="connsiteY20" fmla="*/ 171493 h 289295"/>
                  <a:gd name="connsiteX21" fmla="*/ 123983 w 289293"/>
                  <a:gd name="connsiteY21" fmla="*/ 161161 h 289295"/>
                  <a:gd name="connsiteX22" fmla="*/ 123983 w 289293"/>
                  <a:gd name="connsiteY22" fmla="*/ 141546 h 289295"/>
                  <a:gd name="connsiteX23" fmla="*/ 144648 w 289293"/>
                  <a:gd name="connsiteY23" fmla="*/ 0 h 289295"/>
                  <a:gd name="connsiteX24" fmla="*/ 206301 w 289293"/>
                  <a:gd name="connsiteY24" fmla="*/ 61653 h 289295"/>
                  <a:gd name="connsiteX25" fmla="*/ 144648 w 289293"/>
                  <a:gd name="connsiteY25" fmla="*/ 123306 h 289295"/>
                  <a:gd name="connsiteX26" fmla="*/ 82995 w 289293"/>
                  <a:gd name="connsiteY26" fmla="*/ 61653 h 289295"/>
                  <a:gd name="connsiteX27" fmla="*/ 144648 w 289293"/>
                  <a:gd name="connsiteY27" fmla="*/ 0 h 2892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89293" h="289295">
                    <a:moveTo>
                      <a:pt x="31617" y="267953"/>
                    </a:moveTo>
                    <a:cubicBezTo>
                      <a:pt x="257677" y="267953"/>
                      <a:pt x="257677" y="267953"/>
                      <a:pt x="257677" y="267953"/>
                    </a:cubicBezTo>
                    <a:cubicBezTo>
                      <a:pt x="262814" y="267953"/>
                      <a:pt x="267952" y="273289"/>
                      <a:pt x="267952" y="278624"/>
                    </a:cubicBezTo>
                    <a:cubicBezTo>
                      <a:pt x="267952" y="283960"/>
                      <a:pt x="262814" y="289295"/>
                      <a:pt x="257677" y="289295"/>
                    </a:cubicBezTo>
                    <a:cubicBezTo>
                      <a:pt x="31617" y="289295"/>
                      <a:pt x="31617" y="289295"/>
                      <a:pt x="31617" y="289295"/>
                    </a:cubicBezTo>
                    <a:cubicBezTo>
                      <a:pt x="26480" y="289295"/>
                      <a:pt x="21342" y="283960"/>
                      <a:pt x="21342" y="278624"/>
                    </a:cubicBezTo>
                    <a:cubicBezTo>
                      <a:pt x="21342" y="273289"/>
                      <a:pt x="26480" y="267953"/>
                      <a:pt x="31617" y="267953"/>
                    </a:cubicBezTo>
                    <a:close/>
                    <a:moveTo>
                      <a:pt x="123983" y="138821"/>
                    </a:moveTo>
                    <a:lnTo>
                      <a:pt x="144648" y="142993"/>
                    </a:lnTo>
                    <a:lnTo>
                      <a:pt x="165310" y="138822"/>
                    </a:lnTo>
                    <a:lnTo>
                      <a:pt x="165310" y="161161"/>
                    </a:lnTo>
                    <a:cubicBezTo>
                      <a:pt x="165310" y="166327"/>
                      <a:pt x="170476" y="171493"/>
                      <a:pt x="175642" y="171493"/>
                    </a:cubicBezTo>
                    <a:cubicBezTo>
                      <a:pt x="175642" y="171493"/>
                      <a:pt x="175642" y="171493"/>
                      <a:pt x="278961" y="186991"/>
                    </a:cubicBezTo>
                    <a:cubicBezTo>
                      <a:pt x="284127" y="186991"/>
                      <a:pt x="289293" y="192157"/>
                      <a:pt x="289293" y="197323"/>
                    </a:cubicBezTo>
                    <a:cubicBezTo>
                      <a:pt x="289293" y="197323"/>
                      <a:pt x="289293" y="197323"/>
                      <a:pt x="289293" y="238651"/>
                    </a:cubicBezTo>
                    <a:cubicBezTo>
                      <a:pt x="289293" y="243817"/>
                      <a:pt x="284127" y="248983"/>
                      <a:pt x="278961" y="248983"/>
                    </a:cubicBezTo>
                    <a:cubicBezTo>
                      <a:pt x="278961" y="248983"/>
                      <a:pt x="278961" y="248983"/>
                      <a:pt x="10332" y="248983"/>
                    </a:cubicBezTo>
                    <a:cubicBezTo>
                      <a:pt x="5166" y="248983"/>
                      <a:pt x="0" y="243817"/>
                      <a:pt x="0" y="238651"/>
                    </a:cubicBezTo>
                    <a:cubicBezTo>
                      <a:pt x="0" y="238651"/>
                      <a:pt x="0" y="238651"/>
                      <a:pt x="0" y="197323"/>
                    </a:cubicBezTo>
                    <a:cubicBezTo>
                      <a:pt x="0" y="192157"/>
                      <a:pt x="5166" y="186991"/>
                      <a:pt x="10332" y="186991"/>
                    </a:cubicBezTo>
                    <a:cubicBezTo>
                      <a:pt x="10332" y="186991"/>
                      <a:pt x="10332" y="186991"/>
                      <a:pt x="113651" y="171493"/>
                    </a:cubicBezTo>
                    <a:cubicBezTo>
                      <a:pt x="118817" y="171493"/>
                      <a:pt x="123983" y="166327"/>
                      <a:pt x="123983" y="161161"/>
                    </a:cubicBezTo>
                    <a:cubicBezTo>
                      <a:pt x="123983" y="161161"/>
                      <a:pt x="123983" y="161161"/>
                      <a:pt x="123983" y="141546"/>
                    </a:cubicBezTo>
                    <a:close/>
                    <a:moveTo>
                      <a:pt x="144648" y="0"/>
                    </a:moveTo>
                    <a:cubicBezTo>
                      <a:pt x="178698" y="0"/>
                      <a:pt x="206301" y="27603"/>
                      <a:pt x="206301" y="61653"/>
                    </a:cubicBezTo>
                    <a:cubicBezTo>
                      <a:pt x="206301" y="95703"/>
                      <a:pt x="178698" y="123306"/>
                      <a:pt x="144648" y="123306"/>
                    </a:cubicBezTo>
                    <a:cubicBezTo>
                      <a:pt x="110598" y="123306"/>
                      <a:pt x="82995" y="95703"/>
                      <a:pt x="82995" y="61653"/>
                    </a:cubicBezTo>
                    <a:cubicBezTo>
                      <a:pt x="82995" y="27603"/>
                      <a:pt x="110598" y="0"/>
                      <a:pt x="144648" y="0"/>
                    </a:cubicBez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p>
                <a:endParaRPr lang="zh-CN" altLang="en-US"/>
              </a:p>
            </p:txBody>
          </p:sp>
          <p:grpSp>
            <p:nvGrpSpPr>
              <p:cNvPr id="645" name="组合 644">
                <a:extLst>
                  <a:ext uri="{FF2B5EF4-FFF2-40B4-BE49-F238E27FC236}">
                    <a16:creationId xmlns:a16="http://schemas.microsoft.com/office/drawing/2014/main" id="{A980D983-409E-4F6D-A8D7-AF3AA18366AA}"/>
                  </a:ext>
                </a:extLst>
              </p:cNvPr>
              <p:cNvGrpSpPr/>
              <p:nvPr/>
            </p:nvGrpSpPr>
            <p:grpSpPr>
              <a:xfrm>
                <a:off x="1710532" y="3031370"/>
                <a:ext cx="380194" cy="380158"/>
                <a:chOff x="4979129" y="5045363"/>
                <a:chExt cx="209362" cy="209343"/>
              </a:xfrm>
            </p:grpSpPr>
            <p:sp>
              <p:nvSpPr>
                <p:cNvPr id="646" name="矩形 645">
                  <a:extLst>
                    <a:ext uri="{FF2B5EF4-FFF2-40B4-BE49-F238E27FC236}">
                      <a16:creationId xmlns:a16="http://schemas.microsoft.com/office/drawing/2014/main" id="{E2EF094A-9F22-4CBF-A563-9F39A89EDE24}"/>
                    </a:ext>
                  </a:extLst>
                </p:cNvPr>
                <p:cNvSpPr/>
                <p:nvPr/>
              </p:nvSpPr>
              <p:spPr>
                <a:xfrm>
                  <a:off x="5001989" y="5068223"/>
                  <a:ext cx="164175" cy="164176"/>
                </a:xfrm>
                <a:prstGeom prst="rect">
                  <a:avLst/>
                </a:prstGeom>
                <a:no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647" name="椭圆 646">
                  <a:extLst>
                    <a:ext uri="{FF2B5EF4-FFF2-40B4-BE49-F238E27FC236}">
                      <a16:creationId xmlns:a16="http://schemas.microsoft.com/office/drawing/2014/main" id="{0A0E975C-2768-49C1-BC9B-15B2714B9184}"/>
                    </a:ext>
                  </a:extLst>
                </p:cNvPr>
                <p:cNvSpPr/>
                <p:nvPr/>
              </p:nvSpPr>
              <p:spPr>
                <a:xfrm flipH="1">
                  <a:off x="4979129"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8" name="椭圆 647">
                  <a:extLst>
                    <a:ext uri="{FF2B5EF4-FFF2-40B4-BE49-F238E27FC236}">
                      <a16:creationId xmlns:a16="http://schemas.microsoft.com/office/drawing/2014/main" id="{1AA69BA9-DB07-47A3-A2DB-3512B4181734}"/>
                    </a:ext>
                  </a:extLst>
                </p:cNvPr>
                <p:cNvSpPr/>
                <p:nvPr/>
              </p:nvSpPr>
              <p:spPr>
                <a:xfrm flipH="1">
                  <a:off x="5060950"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9" name="椭圆 648">
                  <a:extLst>
                    <a:ext uri="{FF2B5EF4-FFF2-40B4-BE49-F238E27FC236}">
                      <a16:creationId xmlns:a16="http://schemas.microsoft.com/office/drawing/2014/main" id="{A0DD3FB0-9AC4-4C67-AAB9-C1E208C41157}"/>
                    </a:ext>
                  </a:extLst>
                </p:cNvPr>
                <p:cNvSpPr/>
                <p:nvPr/>
              </p:nvSpPr>
              <p:spPr>
                <a:xfrm flipH="1">
                  <a:off x="5142771" y="5045363"/>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0" name="椭圆 649">
                  <a:extLst>
                    <a:ext uri="{FF2B5EF4-FFF2-40B4-BE49-F238E27FC236}">
                      <a16:creationId xmlns:a16="http://schemas.microsoft.com/office/drawing/2014/main" id="{92C7735D-63F6-4AA2-83DB-6B21C5788203}"/>
                    </a:ext>
                  </a:extLst>
                </p:cNvPr>
                <p:cNvSpPr/>
                <p:nvPr/>
              </p:nvSpPr>
              <p:spPr>
                <a:xfrm flipH="1">
                  <a:off x="4979129"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1" name="椭圆 650">
                  <a:extLst>
                    <a:ext uri="{FF2B5EF4-FFF2-40B4-BE49-F238E27FC236}">
                      <a16:creationId xmlns:a16="http://schemas.microsoft.com/office/drawing/2014/main" id="{DF364357-CE3D-4673-B0A2-05FDF922165F}"/>
                    </a:ext>
                  </a:extLst>
                </p:cNvPr>
                <p:cNvSpPr/>
                <p:nvPr/>
              </p:nvSpPr>
              <p:spPr>
                <a:xfrm flipH="1">
                  <a:off x="5060950"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2" name="椭圆 651">
                  <a:extLst>
                    <a:ext uri="{FF2B5EF4-FFF2-40B4-BE49-F238E27FC236}">
                      <a16:creationId xmlns:a16="http://schemas.microsoft.com/office/drawing/2014/main" id="{2693782D-19FB-4370-B8E7-05C833C254BD}"/>
                    </a:ext>
                  </a:extLst>
                </p:cNvPr>
                <p:cNvSpPr/>
                <p:nvPr/>
              </p:nvSpPr>
              <p:spPr>
                <a:xfrm flipH="1">
                  <a:off x="5142771" y="5208986"/>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3" name="椭圆 652">
                  <a:extLst>
                    <a:ext uri="{FF2B5EF4-FFF2-40B4-BE49-F238E27FC236}">
                      <a16:creationId xmlns:a16="http://schemas.microsoft.com/office/drawing/2014/main" id="{1452D86B-89ED-4307-84D8-78666F3CBC06}"/>
                    </a:ext>
                  </a:extLst>
                </p:cNvPr>
                <p:cNvSpPr/>
                <p:nvPr/>
              </p:nvSpPr>
              <p:spPr>
                <a:xfrm flipH="1">
                  <a:off x="4979129"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4" name="椭圆 653">
                  <a:extLst>
                    <a:ext uri="{FF2B5EF4-FFF2-40B4-BE49-F238E27FC236}">
                      <a16:creationId xmlns:a16="http://schemas.microsoft.com/office/drawing/2014/main" id="{48D7D6B8-AE14-4CEE-9140-AEE799D035C4}"/>
                    </a:ext>
                  </a:extLst>
                </p:cNvPr>
                <p:cNvSpPr/>
                <p:nvPr/>
              </p:nvSpPr>
              <p:spPr>
                <a:xfrm flipH="1">
                  <a:off x="5142771" y="5123645"/>
                  <a:ext cx="45720" cy="45720"/>
                </a:xfrm>
                <a:prstGeom prst="ellipse">
                  <a:avLst/>
                </a:prstGeom>
                <a:solidFill>
                  <a:schemeClr val="bg1"/>
                </a:solidFill>
                <a:ln w="6350">
                  <a:solidFill>
                    <a:srgbClr val="7F7F7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nvGrpSpPr>
          <p:cNvPr id="19" name="组合 18">
            <a:extLst>
              <a:ext uri="{FF2B5EF4-FFF2-40B4-BE49-F238E27FC236}">
                <a16:creationId xmlns:a16="http://schemas.microsoft.com/office/drawing/2014/main" id="{A953E1EA-5442-446E-A462-53B91D8B981C}"/>
              </a:ext>
            </a:extLst>
          </p:cNvPr>
          <p:cNvGrpSpPr/>
          <p:nvPr/>
        </p:nvGrpSpPr>
        <p:grpSpPr>
          <a:xfrm>
            <a:off x="8024992" y="1959178"/>
            <a:ext cx="3493913" cy="2403813"/>
            <a:chOff x="8024986" y="1959176"/>
            <a:chExt cx="3493913" cy="2403813"/>
          </a:xfrm>
        </p:grpSpPr>
        <p:grpSp>
          <p:nvGrpSpPr>
            <p:cNvPr id="13" name="组合 12">
              <a:extLst>
                <a:ext uri="{FF2B5EF4-FFF2-40B4-BE49-F238E27FC236}">
                  <a16:creationId xmlns:a16="http://schemas.microsoft.com/office/drawing/2014/main" id="{B57002A2-7F15-448F-AC09-094CA63BCDD2}"/>
                </a:ext>
              </a:extLst>
            </p:cNvPr>
            <p:cNvGrpSpPr/>
            <p:nvPr/>
          </p:nvGrpSpPr>
          <p:grpSpPr>
            <a:xfrm>
              <a:off x="8024986" y="1959176"/>
              <a:ext cx="3493913" cy="2403813"/>
              <a:chOff x="8024986" y="1959176"/>
              <a:chExt cx="3493913" cy="2403813"/>
            </a:xfrm>
          </p:grpSpPr>
          <p:sp>
            <p:nvSpPr>
              <p:cNvPr id="527" name="Freeform 6">
                <a:extLst>
                  <a:ext uri="{FF2B5EF4-FFF2-40B4-BE49-F238E27FC236}">
                    <a16:creationId xmlns:a16="http://schemas.microsoft.com/office/drawing/2014/main" id="{D0DB7F0C-3F1A-432C-B5BF-314B0EC0181B}"/>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28" name="矩形: 圆角 527">
                <a:extLst>
                  <a:ext uri="{FF2B5EF4-FFF2-40B4-BE49-F238E27FC236}">
                    <a16:creationId xmlns:a16="http://schemas.microsoft.com/office/drawing/2014/main" id="{366E25C9-4663-44AF-83DB-5C2883180C00}"/>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9" name="Rectangle 8">
                <a:extLst>
                  <a:ext uri="{FF2B5EF4-FFF2-40B4-BE49-F238E27FC236}">
                    <a16:creationId xmlns:a16="http://schemas.microsoft.com/office/drawing/2014/main" id="{A79FABC5-26F1-4EC6-9EC7-C32D22030AEA}"/>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0" name="Rectangle 9">
                <a:extLst>
                  <a:ext uri="{FF2B5EF4-FFF2-40B4-BE49-F238E27FC236}">
                    <a16:creationId xmlns:a16="http://schemas.microsoft.com/office/drawing/2014/main" id="{3D7B81C0-B20F-4397-BDE9-EF21FFB82AB9}"/>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1" name="Oval 14">
                <a:extLst>
                  <a:ext uri="{FF2B5EF4-FFF2-40B4-BE49-F238E27FC236}">
                    <a16:creationId xmlns:a16="http://schemas.microsoft.com/office/drawing/2014/main" id="{F2F08DE4-71E4-4577-ADDE-1956E19457DF}"/>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2" name="Oval 15">
                <a:extLst>
                  <a:ext uri="{FF2B5EF4-FFF2-40B4-BE49-F238E27FC236}">
                    <a16:creationId xmlns:a16="http://schemas.microsoft.com/office/drawing/2014/main" id="{4AF1E064-9F5D-47E7-8FC3-DEE7D1EA196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3" name="Oval 16">
                <a:extLst>
                  <a:ext uri="{FF2B5EF4-FFF2-40B4-BE49-F238E27FC236}">
                    <a16:creationId xmlns:a16="http://schemas.microsoft.com/office/drawing/2014/main" id="{E391C315-1646-461A-B27D-B6395580D893}"/>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4" name="Freeform 18">
                <a:extLst>
                  <a:ext uri="{FF2B5EF4-FFF2-40B4-BE49-F238E27FC236}">
                    <a16:creationId xmlns:a16="http://schemas.microsoft.com/office/drawing/2014/main" id="{1BFDB322-46E4-47DC-A1ED-B47F015723A6}"/>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5" name="Rectangle 19">
                <a:extLst>
                  <a:ext uri="{FF2B5EF4-FFF2-40B4-BE49-F238E27FC236}">
                    <a16:creationId xmlns:a16="http://schemas.microsoft.com/office/drawing/2014/main" id="{44E9B971-12B9-4264-8D7D-460E1FD76CF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536" name="Freeform 20">
                <a:extLst>
                  <a:ext uri="{FF2B5EF4-FFF2-40B4-BE49-F238E27FC236}">
                    <a16:creationId xmlns:a16="http://schemas.microsoft.com/office/drawing/2014/main" id="{EA314B02-C47E-4D32-B9FC-9118DF1A6AA4}"/>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7" name="Freeform 21">
                <a:extLst>
                  <a:ext uri="{FF2B5EF4-FFF2-40B4-BE49-F238E27FC236}">
                    <a16:creationId xmlns:a16="http://schemas.microsoft.com/office/drawing/2014/main" id="{913CAEE0-753D-431F-83B9-B272C447A700}"/>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8" name="Freeform 22">
                <a:extLst>
                  <a:ext uri="{FF2B5EF4-FFF2-40B4-BE49-F238E27FC236}">
                    <a16:creationId xmlns:a16="http://schemas.microsoft.com/office/drawing/2014/main" id="{5CE63E49-B6CC-43DD-904D-EC6F5224AC0A}"/>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39" name="Freeform 23">
                <a:extLst>
                  <a:ext uri="{FF2B5EF4-FFF2-40B4-BE49-F238E27FC236}">
                    <a16:creationId xmlns:a16="http://schemas.microsoft.com/office/drawing/2014/main" id="{ABA5EC36-D29E-4F6C-9502-C25F2137BD81}"/>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541" name="矩形: 圆角 540">
                <a:extLst>
                  <a:ext uri="{FF2B5EF4-FFF2-40B4-BE49-F238E27FC236}">
                    <a16:creationId xmlns:a16="http://schemas.microsoft.com/office/drawing/2014/main" id="{3F86DCD2-D9CF-46E6-BFD1-BAB8916DC2EA}"/>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2" name="矩形: 圆角 541">
                <a:extLst>
                  <a:ext uri="{FF2B5EF4-FFF2-40B4-BE49-F238E27FC236}">
                    <a16:creationId xmlns:a16="http://schemas.microsoft.com/office/drawing/2014/main" id="{D6A00E65-2537-4774-A8D8-F642FACABC2F}"/>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4" name="矩形: 圆角 543">
                <a:extLst>
                  <a:ext uri="{FF2B5EF4-FFF2-40B4-BE49-F238E27FC236}">
                    <a16:creationId xmlns:a16="http://schemas.microsoft.com/office/drawing/2014/main" id="{D882A42A-7B06-40CE-B447-A09172C76D13}"/>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45" name="矩形: 圆角 544">
                <a:extLst>
                  <a:ext uri="{FF2B5EF4-FFF2-40B4-BE49-F238E27FC236}">
                    <a16:creationId xmlns:a16="http://schemas.microsoft.com/office/drawing/2014/main" id="{A569696E-1132-41A6-BC06-5898FDCC97B4}"/>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36" name="矩形: 圆角 135">
                <a:extLst>
                  <a:ext uri="{FF2B5EF4-FFF2-40B4-BE49-F238E27FC236}">
                    <a16:creationId xmlns:a16="http://schemas.microsoft.com/office/drawing/2014/main" id="{73718C15-8B09-4939-AE5C-40AE1079D83C}"/>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id="{9B9AB381-004E-4056-9790-0522D6B2A26B}"/>
                </a:ext>
              </a:extLst>
            </p:cNvPr>
            <p:cNvGrpSpPr/>
            <p:nvPr/>
          </p:nvGrpSpPr>
          <p:grpSpPr>
            <a:xfrm>
              <a:off x="8977536" y="2998805"/>
              <a:ext cx="2224728" cy="1011538"/>
              <a:chOff x="8977536" y="2998805"/>
              <a:chExt cx="2224728" cy="1011538"/>
            </a:xfrm>
          </p:grpSpPr>
          <p:sp>
            <p:nvSpPr>
              <p:cNvPr id="543" name="矩形 542">
                <a:extLst>
                  <a:ext uri="{FF2B5EF4-FFF2-40B4-BE49-F238E27FC236}">
                    <a16:creationId xmlns:a16="http://schemas.microsoft.com/office/drawing/2014/main" id="{10BBD707-7622-4846-AC35-F64FAF320131}"/>
                  </a:ext>
                </a:extLst>
              </p:cNvPr>
              <p:cNvSpPr/>
              <p:nvPr/>
            </p:nvSpPr>
            <p:spPr>
              <a:xfrm>
                <a:off x="9010192"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546" name="组合 545">
                <a:extLst>
                  <a:ext uri="{FF2B5EF4-FFF2-40B4-BE49-F238E27FC236}">
                    <a16:creationId xmlns:a16="http://schemas.microsoft.com/office/drawing/2014/main" id="{4FF503A4-23B1-47BE-AC5D-58EAF4A524B1}"/>
                  </a:ext>
                </a:extLst>
              </p:cNvPr>
              <p:cNvGrpSpPr/>
              <p:nvPr/>
            </p:nvGrpSpPr>
            <p:grpSpPr>
              <a:xfrm>
                <a:off x="8977536" y="2998805"/>
                <a:ext cx="2224728" cy="1011538"/>
                <a:chOff x="958894" y="2827593"/>
                <a:chExt cx="996293" cy="452994"/>
              </a:xfrm>
            </p:grpSpPr>
            <p:sp>
              <p:nvSpPr>
                <p:cNvPr id="555" name="六边形 554">
                  <a:extLst>
                    <a:ext uri="{FF2B5EF4-FFF2-40B4-BE49-F238E27FC236}">
                      <a16:creationId xmlns:a16="http://schemas.microsoft.com/office/drawing/2014/main" id="{C81E0498-C03F-4C88-B8E8-BA820C3AC361}"/>
                    </a:ext>
                  </a:extLst>
                </p:cNvPr>
                <p:cNvSpPr/>
                <p:nvPr/>
              </p:nvSpPr>
              <p:spPr>
                <a:xfrm>
                  <a:off x="958894" y="2827593"/>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6" name="六边形 555">
                  <a:extLst>
                    <a:ext uri="{FF2B5EF4-FFF2-40B4-BE49-F238E27FC236}">
                      <a16:creationId xmlns:a16="http://schemas.microsoft.com/office/drawing/2014/main" id="{85CA280C-D2AD-4B92-B853-8C8222275E69}"/>
                    </a:ext>
                  </a:extLst>
                </p:cNvPr>
                <p:cNvSpPr/>
                <p:nvPr/>
              </p:nvSpPr>
              <p:spPr>
                <a:xfrm>
                  <a:off x="1181077" y="2946762"/>
                  <a:ext cx="244045" cy="210383"/>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a:solidFill>
                      <a:srgbClr val="44546A">
                        <a:lumMod val="60000"/>
                        <a:lumOff val="40000"/>
                      </a:srgbClr>
                    </a:solidFill>
                  </a:endParaRPr>
                </a:p>
              </p:txBody>
            </p:sp>
            <p:sp>
              <p:nvSpPr>
                <p:cNvPr id="557" name="六边形 556">
                  <a:extLst>
                    <a:ext uri="{FF2B5EF4-FFF2-40B4-BE49-F238E27FC236}">
                      <a16:creationId xmlns:a16="http://schemas.microsoft.com/office/drawing/2014/main" id="{0C969DE1-AE61-4723-86A3-FAF3F49BA56E}"/>
                    </a:ext>
                  </a:extLst>
                </p:cNvPr>
                <p:cNvSpPr/>
                <p:nvPr/>
              </p:nvSpPr>
              <p:spPr>
                <a:xfrm>
                  <a:off x="963319" y="3070205"/>
                  <a:ext cx="244044" cy="210382"/>
                </a:xfrm>
                <a:prstGeom prst="hexagon">
                  <a:avLst/>
                </a:prstGeom>
                <a:solidFill>
                  <a:srgbClr val="867D98">
                    <a:lumMod val="20000"/>
                    <a:lumOff val="80000"/>
                  </a:srgbClr>
                </a:solid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endParaRPr>
                </a:p>
              </p:txBody>
            </p:sp>
            <p:sp>
              <p:nvSpPr>
                <p:cNvPr id="558" name="矩形 557">
                  <a:extLst>
                    <a:ext uri="{FF2B5EF4-FFF2-40B4-BE49-F238E27FC236}">
                      <a16:creationId xmlns:a16="http://schemas.microsoft.com/office/drawing/2014/main" id="{0B77D82E-E026-424E-B009-DAA6B58B8284}"/>
                    </a:ext>
                  </a:extLst>
                </p:cNvPr>
                <p:cNvSpPr/>
                <p:nvPr/>
              </p:nvSpPr>
              <p:spPr>
                <a:xfrm>
                  <a:off x="1503125" y="2929429"/>
                  <a:ext cx="452062"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59" name="矩形 558">
                  <a:extLst>
                    <a:ext uri="{FF2B5EF4-FFF2-40B4-BE49-F238E27FC236}">
                      <a16:creationId xmlns:a16="http://schemas.microsoft.com/office/drawing/2014/main" id="{4DB09F39-F909-4E31-B594-4541A6628E80}"/>
                    </a:ext>
                  </a:extLst>
                </p:cNvPr>
                <p:cNvSpPr/>
                <p:nvPr/>
              </p:nvSpPr>
              <p:spPr>
                <a:xfrm>
                  <a:off x="1503123" y="3026702"/>
                  <a:ext cx="396000"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560" name="矩形 559">
                  <a:extLst>
                    <a:ext uri="{FF2B5EF4-FFF2-40B4-BE49-F238E27FC236}">
                      <a16:creationId xmlns:a16="http://schemas.microsoft.com/office/drawing/2014/main" id="{9F60DA02-9D3A-4347-B32F-5B3D00206CA0}"/>
                    </a:ext>
                  </a:extLst>
                </p:cNvPr>
                <p:cNvSpPr/>
                <p:nvPr/>
              </p:nvSpPr>
              <p:spPr>
                <a:xfrm>
                  <a:off x="1503123" y="3124751"/>
                  <a:ext cx="339047" cy="54000"/>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48" name="Freeform 499">
                <a:extLst>
                  <a:ext uri="{FF2B5EF4-FFF2-40B4-BE49-F238E27FC236}">
                    <a16:creationId xmlns:a16="http://schemas.microsoft.com/office/drawing/2014/main" id="{03A46AFF-3D3B-40E9-A60F-688EDD456656}"/>
                  </a:ext>
                </a:extLst>
              </p:cNvPr>
              <p:cNvSpPr>
                <a:spLocks noChangeArrowheads="1"/>
              </p:cNvSpPr>
              <p:nvPr/>
            </p:nvSpPr>
            <p:spPr bwMode="auto">
              <a:xfrm>
                <a:off x="9107228" y="3101934"/>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grpSp>
      <p:grpSp>
        <p:nvGrpSpPr>
          <p:cNvPr id="25" name="组合 24">
            <a:extLst>
              <a:ext uri="{FF2B5EF4-FFF2-40B4-BE49-F238E27FC236}">
                <a16:creationId xmlns:a16="http://schemas.microsoft.com/office/drawing/2014/main" id="{F00C8B15-A1F2-4819-87A0-43B4EE2A1E5B}"/>
              </a:ext>
            </a:extLst>
          </p:cNvPr>
          <p:cNvGrpSpPr/>
          <p:nvPr/>
        </p:nvGrpSpPr>
        <p:grpSpPr>
          <a:xfrm>
            <a:off x="4588452" y="1963867"/>
            <a:ext cx="3002400" cy="3002400"/>
            <a:chOff x="4595239" y="1963866"/>
            <a:chExt cx="3002400" cy="3002400"/>
          </a:xfrm>
        </p:grpSpPr>
        <p:sp>
          <p:nvSpPr>
            <p:cNvPr id="302" name="矩形 301">
              <a:extLst>
                <a:ext uri="{FF2B5EF4-FFF2-40B4-BE49-F238E27FC236}">
                  <a16:creationId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335" name="组合 334">
              <a:extLst>
                <a:ext uri="{FF2B5EF4-FFF2-40B4-BE49-F238E27FC236}">
                  <a16:creationId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id="{5F280EC2-D63E-48C8-8C25-014D5494D2B0}"/>
                </a:ext>
              </a:extLst>
            </p:cNvPr>
            <p:cNvGrpSpPr/>
            <p:nvPr/>
          </p:nvGrpSpPr>
          <p:grpSpPr>
            <a:xfrm>
              <a:off x="4716352" y="2686508"/>
              <a:ext cx="2759294" cy="600274"/>
              <a:chOff x="8108849" y="2664061"/>
              <a:chExt cx="2482230" cy="540000"/>
            </a:xfrm>
          </p:grpSpPr>
          <p:sp>
            <p:nvSpPr>
              <p:cNvPr id="498" name="矩形: 圆角 497">
                <a:extLst>
                  <a:ext uri="{FF2B5EF4-FFF2-40B4-BE49-F238E27FC236}">
                    <a16:creationId xmlns:a16="http://schemas.microsoft.com/office/drawing/2014/main" id="{F6744093-6E81-4E08-A533-C23A9AB95163}"/>
                  </a:ext>
                </a:extLst>
              </p:cNvPr>
              <p:cNvSpPr>
                <a:spLocks/>
              </p:cNvSpPr>
              <p:nvPr/>
            </p:nvSpPr>
            <p:spPr>
              <a:xfrm>
                <a:off x="810884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1" name="矩形: 圆角 500">
                <a:extLst>
                  <a:ext uri="{FF2B5EF4-FFF2-40B4-BE49-F238E27FC236}">
                    <a16:creationId xmlns:a16="http://schemas.microsoft.com/office/drawing/2014/main" id="{5FE105D6-B3C4-4015-BA24-A34EFCD47E42}"/>
                  </a:ext>
                </a:extLst>
              </p:cNvPr>
              <p:cNvSpPr>
                <a:spLocks/>
              </p:cNvSpPr>
              <p:nvPr/>
            </p:nvSpPr>
            <p:spPr>
              <a:xfrm>
                <a:off x="875625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3" name="矩形: 圆角 502">
                <a:extLst>
                  <a:ext uri="{FF2B5EF4-FFF2-40B4-BE49-F238E27FC236}">
                    <a16:creationId xmlns:a16="http://schemas.microsoft.com/office/drawing/2014/main" id="{99C184F9-1611-4668-92FF-32794F7F049F}"/>
                  </a:ext>
                </a:extLst>
              </p:cNvPr>
              <p:cNvSpPr>
                <a:spLocks/>
              </p:cNvSpPr>
              <p:nvPr/>
            </p:nvSpPr>
            <p:spPr>
              <a:xfrm>
                <a:off x="940366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05" name="矩形: 圆角 504">
                <a:extLst>
                  <a:ext uri="{FF2B5EF4-FFF2-40B4-BE49-F238E27FC236}">
                    <a16:creationId xmlns:a16="http://schemas.microsoft.com/office/drawing/2014/main" id="{4E270696-E047-47AA-A380-F3CB89176B8B}"/>
                  </a:ext>
                </a:extLst>
              </p:cNvPr>
              <p:cNvSpPr>
                <a:spLocks/>
              </p:cNvSpPr>
              <p:nvPr/>
            </p:nvSpPr>
            <p:spPr>
              <a:xfrm>
                <a:off x="10051079" y="2664061"/>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515" name="矩形: 圆角 514">
              <a:extLst>
                <a:ext uri="{FF2B5EF4-FFF2-40B4-BE49-F238E27FC236}">
                  <a16:creationId xmlns:a16="http://schemas.microsoft.com/office/drawing/2014/main" id="{C56E3699-2F3A-44D6-B8BE-97A13678B45D}"/>
                </a:ext>
              </a:extLst>
            </p:cNvPr>
            <p:cNvSpPr>
              <a:spLocks/>
            </p:cNvSpPr>
            <p:nvPr/>
          </p:nvSpPr>
          <p:spPr>
            <a:xfrm>
              <a:off x="5436026" y="3410069"/>
              <a:ext cx="600274" cy="600274"/>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1" name="组合 10">
              <a:extLst>
                <a:ext uri="{FF2B5EF4-FFF2-40B4-BE49-F238E27FC236}">
                  <a16:creationId xmlns:a16="http://schemas.microsoft.com/office/drawing/2014/main" id="{3A15B1F4-4BA4-461C-A8D5-CD76FF3AD5C8}"/>
                </a:ext>
              </a:extLst>
            </p:cNvPr>
            <p:cNvGrpSpPr/>
            <p:nvPr/>
          </p:nvGrpSpPr>
          <p:grpSpPr>
            <a:xfrm>
              <a:off x="4716352" y="3410069"/>
              <a:ext cx="2759294" cy="600274"/>
              <a:chOff x="8110911" y="3314969"/>
              <a:chExt cx="2482230" cy="540000"/>
            </a:xfrm>
          </p:grpSpPr>
          <p:sp>
            <p:nvSpPr>
              <p:cNvPr id="514" name="矩形: 圆角 513">
                <a:extLst>
                  <a:ext uri="{FF2B5EF4-FFF2-40B4-BE49-F238E27FC236}">
                    <a16:creationId xmlns:a16="http://schemas.microsoft.com/office/drawing/2014/main" id="{9CE95D13-982B-4745-85DC-7E460C919084}"/>
                  </a:ext>
                </a:extLst>
              </p:cNvPr>
              <p:cNvSpPr>
                <a:spLocks/>
              </p:cNvSpPr>
              <p:nvPr/>
            </p:nvSpPr>
            <p:spPr>
              <a:xfrm>
                <a:off x="811091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6" name="矩形: 圆角 515">
                <a:extLst>
                  <a:ext uri="{FF2B5EF4-FFF2-40B4-BE49-F238E27FC236}">
                    <a16:creationId xmlns:a16="http://schemas.microsoft.com/office/drawing/2014/main" id="{259A12CD-C5CF-4D63-8386-3679C4CE4E09}"/>
                  </a:ext>
                </a:extLst>
              </p:cNvPr>
              <p:cNvSpPr>
                <a:spLocks/>
              </p:cNvSpPr>
              <p:nvPr/>
            </p:nvSpPr>
            <p:spPr>
              <a:xfrm>
                <a:off x="940573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17" name="矩形: 圆角 516">
                <a:extLst>
                  <a:ext uri="{FF2B5EF4-FFF2-40B4-BE49-F238E27FC236}">
                    <a16:creationId xmlns:a16="http://schemas.microsoft.com/office/drawing/2014/main" id="{E3CEFF48-7A05-4510-9E38-C0DD3087D172}"/>
                  </a:ext>
                </a:extLst>
              </p:cNvPr>
              <p:cNvSpPr>
                <a:spLocks/>
              </p:cNvSpPr>
              <p:nvPr/>
            </p:nvSpPr>
            <p:spPr>
              <a:xfrm>
                <a:off x="10053141" y="3314969"/>
                <a:ext cx="540000" cy="540000"/>
              </a:xfrm>
              <a:prstGeom prst="roundRect">
                <a:avLst>
                  <a:gd name="adj" fmla="val 4859"/>
                </a:avLst>
              </a:prstGeom>
              <a:solidFill>
                <a:srgbClr val="E7E5EA"/>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19" name="组合 518">
              <a:extLst>
                <a:ext uri="{FF2B5EF4-FFF2-40B4-BE49-F238E27FC236}">
                  <a16:creationId xmlns:a16="http://schemas.microsoft.com/office/drawing/2014/main" id="{E6822575-5437-42EF-9B6D-EB30AA1590CB}"/>
                </a:ext>
              </a:extLst>
            </p:cNvPr>
            <p:cNvGrpSpPr/>
            <p:nvPr/>
          </p:nvGrpSpPr>
          <p:grpSpPr>
            <a:xfrm>
              <a:off x="4716352" y="4133631"/>
              <a:ext cx="2759294" cy="600274"/>
              <a:chOff x="8108849" y="2664061"/>
              <a:chExt cx="2482230" cy="540000"/>
            </a:xfrm>
          </p:grpSpPr>
          <p:sp>
            <p:nvSpPr>
              <p:cNvPr id="520" name="矩形: 圆角 519">
                <a:extLst>
                  <a:ext uri="{FF2B5EF4-FFF2-40B4-BE49-F238E27FC236}">
                    <a16:creationId xmlns:a16="http://schemas.microsoft.com/office/drawing/2014/main" id="{190BA26F-3036-445E-9766-8D3B18851FD3}"/>
                  </a:ext>
                </a:extLst>
              </p:cNvPr>
              <p:cNvSpPr>
                <a:spLocks/>
              </p:cNvSpPr>
              <p:nvPr/>
            </p:nvSpPr>
            <p:spPr>
              <a:xfrm>
                <a:off x="810884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1" name="矩形: 圆角 520">
                <a:extLst>
                  <a:ext uri="{FF2B5EF4-FFF2-40B4-BE49-F238E27FC236}">
                    <a16:creationId xmlns:a16="http://schemas.microsoft.com/office/drawing/2014/main" id="{160EA5D8-C35C-4AF4-A9AE-3DB758D2709C}"/>
                  </a:ext>
                </a:extLst>
              </p:cNvPr>
              <p:cNvSpPr>
                <a:spLocks/>
              </p:cNvSpPr>
              <p:nvPr/>
            </p:nvSpPr>
            <p:spPr>
              <a:xfrm>
                <a:off x="875625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2" name="矩形: 圆角 521">
                <a:extLst>
                  <a:ext uri="{FF2B5EF4-FFF2-40B4-BE49-F238E27FC236}">
                    <a16:creationId xmlns:a16="http://schemas.microsoft.com/office/drawing/2014/main" id="{8E01D07F-3FCF-4EDC-9641-8C34EA5A37CE}"/>
                  </a:ext>
                </a:extLst>
              </p:cNvPr>
              <p:cNvSpPr>
                <a:spLocks/>
              </p:cNvSpPr>
              <p:nvPr/>
            </p:nvSpPr>
            <p:spPr>
              <a:xfrm>
                <a:off x="940366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3" name="矩形: 圆角 522">
                <a:extLst>
                  <a:ext uri="{FF2B5EF4-FFF2-40B4-BE49-F238E27FC236}">
                    <a16:creationId xmlns:a16="http://schemas.microsoft.com/office/drawing/2014/main" id="{4A31D2B2-0783-43E9-9854-EC8CBE4DD058}"/>
                  </a:ext>
                </a:extLst>
              </p:cNvPr>
              <p:cNvSpPr>
                <a:spLocks/>
              </p:cNvSpPr>
              <p:nvPr/>
            </p:nvSpPr>
            <p:spPr>
              <a:xfrm>
                <a:off x="10051079" y="2664061"/>
                <a:ext cx="540000" cy="540000"/>
              </a:xfrm>
              <a:prstGeom prst="roundRect">
                <a:avLst>
                  <a:gd name="adj" fmla="val 4859"/>
                </a:avLst>
              </a:prstGeom>
              <a:gradFill flip="none" rotWithShape="1">
                <a:gsLst>
                  <a:gs pos="27000">
                    <a:srgbClr val="E7E5EA">
                      <a:alpha val="0"/>
                    </a:srgbClr>
                  </a:gs>
                  <a:gs pos="100000">
                    <a:srgbClr val="E7E5EA">
                      <a:alpha val="80000"/>
                    </a:srgbClr>
                  </a:gs>
                </a:gsLst>
                <a:lin ang="16200000" scaled="1"/>
                <a:tileRect/>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sp>
          <p:nvSpPr>
            <p:cNvPr id="635" name="Rounded Rectangle 514_1">
              <a:extLst>
                <a:ext uri="{FF2B5EF4-FFF2-40B4-BE49-F238E27FC236}">
                  <a16:creationId xmlns:a16="http://schemas.microsoft.com/office/drawing/2014/main" id="{082720E7-9CF6-446A-9968-810C366DAF86}"/>
                </a:ext>
              </a:extLst>
            </p:cNvPr>
            <p:cNvSpPr>
              <a:spLocks/>
            </p:cNvSpPr>
            <p:nvPr/>
          </p:nvSpPr>
          <p:spPr>
            <a:xfrm>
              <a:off x="5436026" y="3410069"/>
              <a:ext cx="600274" cy="600274"/>
            </a:xfrm>
            <a:prstGeom prst="roundRect">
              <a:avLst>
                <a:gd name="adj" fmla="val 4859"/>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525" name="Freeform 467">
              <a:extLst>
                <a:ext uri="{FF2B5EF4-FFF2-40B4-BE49-F238E27FC236}">
                  <a16:creationId xmlns:a16="http://schemas.microsoft.com/office/drawing/2014/main" id="{E34E1331-813D-4613-806D-EFFB8B68EBB7}"/>
                </a:ext>
              </a:extLst>
            </p:cNvPr>
            <p:cNvSpPr>
              <a:spLocks noChangeArrowheads="1"/>
            </p:cNvSpPr>
            <p:nvPr/>
          </p:nvSpPr>
          <p:spPr bwMode="auto">
            <a:xfrm>
              <a:off x="5591516" y="3578906"/>
              <a:ext cx="289295" cy="262601"/>
            </a:xfrm>
            <a:custGeom>
              <a:avLst/>
              <a:gdLst>
                <a:gd name="T0" fmla="*/ 12091 w 12800"/>
                <a:gd name="T1" fmla="*/ 0 h 11619"/>
                <a:gd name="T2" fmla="*/ 709 w 12800"/>
                <a:gd name="T3" fmla="*/ 0 h 11619"/>
                <a:gd name="T4" fmla="*/ 0 w 12800"/>
                <a:gd name="T5" fmla="*/ 708 h 11619"/>
                <a:gd name="T6" fmla="*/ 0 w 12800"/>
                <a:gd name="T7" fmla="*/ 8504 h 11619"/>
                <a:gd name="T8" fmla="*/ 709 w 12800"/>
                <a:gd name="T9" fmla="*/ 9212 h 11619"/>
                <a:gd name="T10" fmla="*/ 3860 w 12800"/>
                <a:gd name="T11" fmla="*/ 9212 h 11619"/>
                <a:gd name="T12" fmla="*/ 3860 w 12800"/>
                <a:gd name="T13" fmla="*/ 10556 h 11619"/>
                <a:gd name="T14" fmla="*/ 2131 w 12800"/>
                <a:gd name="T15" fmla="*/ 10556 h 11619"/>
                <a:gd name="T16" fmla="*/ 1600 w 12800"/>
                <a:gd name="T17" fmla="*/ 11087 h 11619"/>
                <a:gd name="T18" fmla="*/ 2131 w 12800"/>
                <a:gd name="T19" fmla="*/ 11619 h 11619"/>
                <a:gd name="T20" fmla="*/ 10669 w 12800"/>
                <a:gd name="T21" fmla="*/ 11619 h 11619"/>
                <a:gd name="T22" fmla="*/ 11200 w 12800"/>
                <a:gd name="T23" fmla="*/ 11087 h 11619"/>
                <a:gd name="T24" fmla="*/ 10669 w 12800"/>
                <a:gd name="T25" fmla="*/ 10556 h 11619"/>
                <a:gd name="T26" fmla="*/ 8941 w 12800"/>
                <a:gd name="T27" fmla="*/ 10556 h 11619"/>
                <a:gd name="T28" fmla="*/ 8941 w 12800"/>
                <a:gd name="T29" fmla="*/ 9212 h 11619"/>
                <a:gd name="T30" fmla="*/ 12091 w 12800"/>
                <a:gd name="T31" fmla="*/ 9212 h 11619"/>
                <a:gd name="T32" fmla="*/ 12800 w 12800"/>
                <a:gd name="T33" fmla="*/ 8504 h 11619"/>
                <a:gd name="T34" fmla="*/ 12800 w 12800"/>
                <a:gd name="T35" fmla="*/ 708 h 11619"/>
                <a:gd name="T36" fmla="*/ 12091 w 12800"/>
                <a:gd name="T37" fmla="*/ 0 h 11619"/>
                <a:gd name="T38" fmla="*/ 12050 w 12800"/>
                <a:gd name="T39" fmla="*/ 8462 h 11619"/>
                <a:gd name="T40" fmla="*/ 750 w 12800"/>
                <a:gd name="T41" fmla="*/ 8462 h 11619"/>
                <a:gd name="T42" fmla="*/ 750 w 12800"/>
                <a:gd name="T43" fmla="*/ 750 h 11619"/>
                <a:gd name="T44" fmla="*/ 12050 w 12800"/>
                <a:gd name="T45" fmla="*/ 750 h 11619"/>
                <a:gd name="T46" fmla="*/ 12050 w 12800"/>
                <a:gd name="T47" fmla="*/ 8462 h 11619"/>
                <a:gd name="T48" fmla="*/ 1971 w 12800"/>
                <a:gd name="T49" fmla="*/ 1948 h 11619"/>
                <a:gd name="T50" fmla="*/ 10829 w 12800"/>
                <a:gd name="T51" fmla="*/ 1948 h 11619"/>
                <a:gd name="T52" fmla="*/ 10829 w 12800"/>
                <a:gd name="T53" fmla="*/ 7263 h 11619"/>
                <a:gd name="T54" fmla="*/ 1971 w 12800"/>
                <a:gd name="T55" fmla="*/ 7263 h 11619"/>
                <a:gd name="T56" fmla="*/ 1971 w 12800"/>
                <a:gd name="T57" fmla="*/ 1948 h 11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2800" h="11619">
                  <a:moveTo>
                    <a:pt x="12091" y="0"/>
                  </a:moveTo>
                  <a:lnTo>
                    <a:pt x="709" y="0"/>
                  </a:lnTo>
                  <a:cubicBezTo>
                    <a:pt x="317" y="0"/>
                    <a:pt x="0" y="317"/>
                    <a:pt x="0" y="708"/>
                  </a:cubicBezTo>
                  <a:lnTo>
                    <a:pt x="0" y="8504"/>
                  </a:lnTo>
                  <a:cubicBezTo>
                    <a:pt x="0" y="8895"/>
                    <a:pt x="317" y="9212"/>
                    <a:pt x="709" y="9212"/>
                  </a:cubicBezTo>
                  <a:lnTo>
                    <a:pt x="3860" y="9212"/>
                  </a:lnTo>
                  <a:lnTo>
                    <a:pt x="3860" y="10556"/>
                  </a:lnTo>
                  <a:lnTo>
                    <a:pt x="2131" y="10556"/>
                  </a:lnTo>
                  <a:cubicBezTo>
                    <a:pt x="1838" y="10556"/>
                    <a:pt x="1600" y="10794"/>
                    <a:pt x="1600" y="11087"/>
                  </a:cubicBezTo>
                  <a:cubicBezTo>
                    <a:pt x="1600" y="11381"/>
                    <a:pt x="1838" y="11619"/>
                    <a:pt x="2131" y="11619"/>
                  </a:cubicBezTo>
                  <a:lnTo>
                    <a:pt x="10669" y="11619"/>
                  </a:lnTo>
                  <a:cubicBezTo>
                    <a:pt x="10962" y="11619"/>
                    <a:pt x="11200" y="11381"/>
                    <a:pt x="11200" y="11087"/>
                  </a:cubicBezTo>
                  <a:cubicBezTo>
                    <a:pt x="11200" y="10794"/>
                    <a:pt x="10962" y="10556"/>
                    <a:pt x="10669" y="10556"/>
                  </a:cubicBezTo>
                  <a:lnTo>
                    <a:pt x="8941" y="10556"/>
                  </a:lnTo>
                  <a:lnTo>
                    <a:pt x="8941" y="9212"/>
                  </a:lnTo>
                  <a:lnTo>
                    <a:pt x="12091" y="9212"/>
                  </a:lnTo>
                  <a:cubicBezTo>
                    <a:pt x="12483" y="9212"/>
                    <a:pt x="12800" y="8895"/>
                    <a:pt x="12800" y="8504"/>
                  </a:cubicBezTo>
                  <a:lnTo>
                    <a:pt x="12800" y="708"/>
                  </a:lnTo>
                  <a:cubicBezTo>
                    <a:pt x="12800" y="317"/>
                    <a:pt x="12483" y="0"/>
                    <a:pt x="12091" y="0"/>
                  </a:cubicBezTo>
                  <a:close/>
                  <a:moveTo>
                    <a:pt x="12050" y="8462"/>
                  </a:moveTo>
                  <a:lnTo>
                    <a:pt x="750" y="8462"/>
                  </a:lnTo>
                  <a:lnTo>
                    <a:pt x="750" y="750"/>
                  </a:lnTo>
                  <a:lnTo>
                    <a:pt x="12050" y="750"/>
                  </a:lnTo>
                  <a:lnTo>
                    <a:pt x="12050" y="8462"/>
                  </a:lnTo>
                  <a:close/>
                  <a:moveTo>
                    <a:pt x="1971" y="1948"/>
                  </a:moveTo>
                  <a:lnTo>
                    <a:pt x="10829" y="1948"/>
                  </a:lnTo>
                  <a:lnTo>
                    <a:pt x="10829" y="7263"/>
                  </a:lnTo>
                  <a:lnTo>
                    <a:pt x="1971" y="7263"/>
                  </a:lnTo>
                  <a:lnTo>
                    <a:pt x="1971" y="1948"/>
                  </a:lnTo>
                  <a:close/>
                </a:path>
              </a:pathLst>
            </a:custGeom>
            <a:solidFill>
              <a:srgbClr val="4E4658"/>
            </a:solidFill>
            <a:ln>
              <a:noFill/>
            </a:ln>
          </p:spPr>
          <p:txBody>
            <a:bodyPr vert="horz" wrap="square" lIns="91440" tIns="45720" rIns="91440" bIns="45720" numCol="1" anchor="t" anchorCtr="0" compatLnSpc="1">
              <a:prstTxWarp prst="textNoShape">
                <a:avLst/>
              </a:prstTxWarp>
              <a:no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grpSp>
          <p:nvGrpSpPr>
            <p:cNvPr id="150" name="组合 149">
              <a:extLst>
                <a:ext uri="{FF2B5EF4-FFF2-40B4-BE49-F238E27FC236}">
                  <a16:creationId xmlns:a16="http://schemas.microsoft.com/office/drawing/2014/main" id="{BDB0E8E0-ED93-46FC-90D5-2715E779C5AC}"/>
                </a:ext>
              </a:extLst>
            </p:cNvPr>
            <p:cNvGrpSpPr/>
            <p:nvPr/>
          </p:nvGrpSpPr>
          <p:grpSpPr>
            <a:xfrm>
              <a:off x="4595239" y="1963866"/>
              <a:ext cx="3002400" cy="320240"/>
              <a:chOff x="4595239" y="1963866"/>
              <a:chExt cx="3002400" cy="320240"/>
            </a:xfrm>
          </p:grpSpPr>
          <p:grpSp>
            <p:nvGrpSpPr>
              <p:cNvPr id="151" name="组合 150">
                <a:extLst>
                  <a:ext uri="{FF2B5EF4-FFF2-40B4-BE49-F238E27FC236}">
                    <a16:creationId xmlns:a16="http://schemas.microsoft.com/office/drawing/2014/main" id="{544BF709-2458-42C5-B9FD-5C0F66BE0330}"/>
                  </a:ext>
                </a:extLst>
              </p:cNvPr>
              <p:cNvGrpSpPr/>
              <p:nvPr/>
            </p:nvGrpSpPr>
            <p:grpSpPr>
              <a:xfrm>
                <a:off x="4595239" y="1963866"/>
                <a:ext cx="3002400" cy="320240"/>
                <a:chOff x="8616223" y="1963866"/>
                <a:chExt cx="3002400" cy="320240"/>
              </a:xfrm>
            </p:grpSpPr>
            <p:sp>
              <p:nvSpPr>
                <p:cNvPr id="153" name="矩形 152">
                  <a:extLst>
                    <a:ext uri="{FF2B5EF4-FFF2-40B4-BE49-F238E27FC236}">
                      <a16:creationId xmlns:a16="http://schemas.microsoft.com/office/drawing/2014/main" id="{28BAB253-E748-40EE-BE86-7F4935434241}"/>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154" name="Multiply 213">
                  <a:extLst>
                    <a:ext uri="{FF2B5EF4-FFF2-40B4-BE49-F238E27FC236}">
                      <a16:creationId xmlns:a16="http://schemas.microsoft.com/office/drawing/2014/main" id="{744B4C5B-D5F4-446A-B63A-279FB5E4FCB6}"/>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152" name="矩形 151">
                <a:extLst>
                  <a:ext uri="{FF2B5EF4-FFF2-40B4-BE49-F238E27FC236}">
                    <a16:creationId xmlns:a16="http://schemas.microsoft.com/office/drawing/2014/main" id="{6BEC8753-670B-4BDF-A3E6-445620C80C4A}"/>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zh-CN" altLang="en-US" sz="1000" kern="0" dirty="0">
                    <a:solidFill>
                      <a:srgbClr val="FFFFFF"/>
                    </a:solidFill>
                  </a:rPr>
                  <a:t>图标库 </a:t>
                </a:r>
                <a:r>
                  <a:rPr lang="en-US" altLang="zh-CN" sz="1000" kern="0" dirty="0">
                    <a:solidFill>
                      <a:srgbClr val="FFFFFF"/>
                    </a:solidFill>
                  </a:rPr>
                  <a:t>/ Icon Library</a:t>
                </a:r>
                <a:endParaRPr lang="zh-CN" altLang="en-US" sz="1000" kern="0" dirty="0">
                  <a:solidFill>
                    <a:srgbClr val="FFFFFF"/>
                  </a:solidFill>
                </a:endParaRPr>
              </a:p>
            </p:txBody>
          </p:sp>
        </p:grpSp>
      </p:grpSp>
      <p:sp>
        <p:nvSpPr>
          <p:cNvPr id="2" name="矩形 1">
            <a:extLst>
              <a:ext uri="{FF2B5EF4-FFF2-40B4-BE49-F238E27FC236}">
                <a16:creationId xmlns:a16="http://schemas.microsoft.com/office/drawing/2014/main" id="{E0F38C24-6AB8-4A87-8935-06692C174C7B}"/>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en-US" altLang="zh-CN" sz="800" dirty="0">
                <a:solidFill>
                  <a:schemeClr val="bg1"/>
                </a:solidFill>
              </a:rPr>
              <a:t>This slide is an instruction. Please delete this slide before using it for presentation.</a:t>
            </a:r>
          </a:p>
        </p:txBody>
      </p:sp>
    </p:spTree>
    <p:extLst>
      <p:ext uri="{BB962C8B-B14F-4D97-AF65-F5344CB8AC3E}">
        <p14:creationId xmlns:p14="http://schemas.microsoft.com/office/powerpoint/2010/main" val="25626015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3" name="组合 2">
            <a:extLst>
              <a:ext uri="{FF2B5EF4-FFF2-40B4-BE49-F238E27FC236}">
                <a16:creationId xmlns:a16="http://schemas.microsoft.com/office/drawing/2014/main" id="{06500485-734D-463E-B159-B8861C906AAC}"/>
              </a:ext>
            </a:extLst>
          </p:cNvPr>
          <p:cNvGrpSpPr/>
          <p:nvPr/>
        </p:nvGrpSpPr>
        <p:grpSpPr>
          <a:xfrm>
            <a:off x="660400" y="5526315"/>
            <a:ext cx="3493913" cy="276343"/>
            <a:chOff x="673100" y="5526315"/>
            <a:chExt cx="3493913" cy="276343"/>
          </a:xfrm>
        </p:grpSpPr>
        <p:sp>
          <p:nvSpPr>
            <p:cNvPr id="351" name="文本框 350"/>
            <p:cNvSpPr txBox="1"/>
            <p:nvPr/>
          </p:nvSpPr>
          <p:spPr>
            <a:xfrm>
              <a:off x="994562" y="5541380"/>
              <a:ext cx="3172451" cy="246221"/>
            </a:xfrm>
            <a:prstGeom prst="rect">
              <a:avLst/>
            </a:prstGeom>
            <a:noFill/>
          </p:spPr>
          <p:txBody>
            <a:bodyPr wrap="square" rtlCol="0" anchor="ctr">
              <a:spAutoFit/>
            </a:bodyPr>
            <a:lstStyle/>
            <a:p>
              <a:r>
                <a:rPr lang="en-US" altLang="zh-CN" sz="1000" dirty="0">
                  <a:solidFill>
                    <a:srgbClr val="2F2F2F"/>
                  </a:solidFill>
                </a:rPr>
                <a:t>Select the shape that</a:t>
              </a:r>
              <a:r>
                <a:rPr lang="zh-CN" altLang="en-US" sz="1000" dirty="0">
                  <a:solidFill>
                    <a:srgbClr val="2F2F2F"/>
                  </a:solidFill>
                </a:rPr>
                <a:t> </a:t>
              </a:r>
              <a:r>
                <a:rPr lang="en-US" altLang="zh-CN" sz="1000" dirty="0">
                  <a:solidFill>
                    <a:srgbClr val="2F2F2F"/>
                  </a:solidFill>
                </a:rPr>
                <a:t>needs</a:t>
              </a:r>
              <a:r>
                <a:rPr lang="zh-CN" altLang="en-US" sz="1000" dirty="0">
                  <a:solidFill>
                    <a:srgbClr val="2F2F2F"/>
                  </a:solidFill>
                </a:rPr>
                <a:t> </a:t>
              </a:r>
              <a:r>
                <a:rPr lang="en-US" altLang="zh-CN" sz="1000" dirty="0">
                  <a:solidFill>
                    <a:srgbClr val="2F2F2F"/>
                  </a:solidFill>
                </a:rPr>
                <a:t>to</a:t>
              </a:r>
              <a:r>
                <a:rPr lang="zh-CN" altLang="en-US" sz="1000" dirty="0">
                  <a:solidFill>
                    <a:srgbClr val="2F2F2F"/>
                  </a:solidFill>
                </a:rPr>
                <a:t> </a:t>
              </a:r>
              <a:r>
                <a:rPr lang="en-US" altLang="zh-CN" sz="1000" dirty="0">
                  <a:solidFill>
                    <a:srgbClr val="2F2F2F"/>
                  </a:solidFill>
                </a:rPr>
                <a:t>be</a:t>
              </a:r>
              <a:r>
                <a:rPr lang="zh-CN" altLang="en-US" sz="1000" dirty="0">
                  <a:solidFill>
                    <a:srgbClr val="2F2F2F"/>
                  </a:solidFill>
                </a:rPr>
                <a:t> </a:t>
              </a:r>
              <a:r>
                <a:rPr lang="en-US" altLang="zh-CN" sz="1000" dirty="0">
                  <a:solidFill>
                    <a:srgbClr val="2F2F2F"/>
                  </a:solidFill>
                </a:rPr>
                <a:t>filled</a:t>
              </a:r>
              <a:r>
                <a:rPr lang="zh-CN" altLang="en-US" sz="1000" dirty="0">
                  <a:solidFill>
                    <a:srgbClr val="2F2F2F"/>
                  </a:solidFill>
                </a:rPr>
                <a:t> </a:t>
              </a:r>
              <a:r>
                <a:rPr lang="en-US" altLang="zh-CN" sz="1000" dirty="0">
                  <a:solidFill>
                    <a:srgbClr val="2F2F2F"/>
                  </a:solidFill>
                </a:rPr>
                <a:t>with</a:t>
              </a:r>
              <a:r>
                <a:rPr lang="zh-CN" altLang="en-US" sz="1000" dirty="0">
                  <a:solidFill>
                    <a:srgbClr val="2F2F2F"/>
                  </a:solidFill>
                </a:rPr>
                <a:t> </a:t>
              </a:r>
              <a:r>
                <a:rPr lang="en-US" altLang="zh-CN" sz="1000" dirty="0">
                  <a:solidFill>
                    <a:srgbClr val="2F2F2F"/>
                  </a:solidFill>
                </a:rPr>
                <a:t>picture</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grpSp>
        <p:nvGrpSpPr>
          <p:cNvPr id="19" name="组合 18">
            <a:extLst>
              <a:ext uri="{FF2B5EF4-FFF2-40B4-BE49-F238E27FC236}">
                <a16:creationId xmlns:a16="http://schemas.microsoft.com/office/drawing/2014/main" id="{3DADE2E2-462A-4DAB-9FCF-67CBE7BC402C}"/>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9" name="矩形: 圆角 158">
                <a:extLst>
                  <a:ext uri="{FF2B5EF4-FFF2-40B4-BE49-F238E27FC236}">
                    <a16:creationId xmlns:a16="http://schemas.microsoft.com/office/drawing/2014/main" id="{30E424DF-74BE-442A-AAB5-9F114C1494C8}"/>
                  </a:ext>
                </a:extLst>
              </p:cNvPr>
              <p:cNvSpPr>
                <a:spLocks noChangeAspect="1"/>
              </p:cNvSpPr>
              <p:nvPr/>
            </p:nvSpPr>
            <p:spPr>
              <a:xfrm>
                <a:off x="6839591" y="3950927"/>
                <a:ext cx="1189177" cy="668912"/>
              </a:xfrm>
              <a:prstGeom prst="roundRect">
                <a:avLst>
                  <a:gd name="adj" fmla="val 4418"/>
                </a:avLst>
              </a:prstGeom>
              <a:blipFill>
                <a:blip r:embed="rId2"/>
                <a:srcRect/>
                <a:stretch>
                  <a:fillRect t="-153" b="-15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defTabSz="914354"/>
                <a:endParaRPr lang="zh-CN" altLang="en-US" kern="0">
                  <a:solidFill>
                    <a:srgbClr val="44546A">
                      <a:lumMod val="60000"/>
                      <a:lumOff val="40000"/>
                    </a:srgbClr>
                  </a:solidFill>
                </a:endParaRPr>
              </a:p>
            </p:txBody>
          </p:sp>
          <p:sp>
            <p:nvSpPr>
              <p:cNvPr id="160" name="矩形: 圆角 159">
                <a:extLst>
                  <a:ext uri="{FF2B5EF4-FFF2-40B4-BE49-F238E27FC236}">
                    <a16:creationId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6" name="组合 15">
              <a:extLst>
                <a:ext uri="{FF2B5EF4-FFF2-40B4-BE49-F238E27FC236}">
                  <a16:creationId xmlns:a16="http://schemas.microsoft.com/office/drawing/2014/main" id="{33AD0B02-1124-4118-881C-CF0D5138955B}"/>
                </a:ext>
              </a:extLst>
            </p:cNvPr>
            <p:cNvGrpSpPr/>
            <p:nvPr/>
          </p:nvGrpSpPr>
          <p:grpSpPr>
            <a:xfrm>
              <a:off x="4595239" y="1963866"/>
              <a:ext cx="3002400" cy="320240"/>
              <a:chOff x="4595239" y="1963866"/>
              <a:chExt cx="3002400" cy="320240"/>
            </a:xfrm>
          </p:grpSpPr>
          <p:grpSp>
            <p:nvGrpSpPr>
              <p:cNvPr id="5" name="组合 4">
                <a:extLst>
                  <a:ext uri="{FF2B5EF4-FFF2-40B4-BE49-F238E27FC236}">
                    <a16:creationId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en-US" altLang="zh-CN" sz="1000" kern="0" dirty="0">
                    <a:solidFill>
                      <a:srgbClr val="FFFFFF"/>
                    </a:solidFill>
                  </a:rPr>
                  <a:t>Picture Library</a:t>
                </a:r>
                <a:endParaRPr lang="zh-CN" altLang="en-US" sz="1000" kern="0" dirty="0">
                  <a:solidFill>
                    <a:srgbClr val="FFFFFF"/>
                  </a:solidFill>
                </a:endParaRPr>
              </a:p>
            </p:txBody>
          </p:sp>
        </p:grpSp>
        <p:grpSp>
          <p:nvGrpSpPr>
            <p:cNvPr id="335" name="组合 334">
              <a:extLst>
                <a:ext uri="{FF2B5EF4-FFF2-40B4-BE49-F238E27FC236}">
                  <a16:creationId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sp>
        <p:nvSpPr>
          <p:cNvPr id="613" name="文本框 612">
            <a:extLst>
              <a:ext uri="{FF2B5EF4-FFF2-40B4-BE49-F238E27FC236}">
                <a16:creationId xmlns:a16="http://schemas.microsoft.com/office/drawing/2014/main" id="{8AD2200D-CA44-4767-84EF-C1856654B4FA}"/>
              </a:ext>
            </a:extLst>
          </p:cNvPr>
          <p:cNvSpPr txBox="1"/>
          <p:nvPr/>
        </p:nvSpPr>
        <p:spPr>
          <a:xfrm>
            <a:off x="4916703" y="5464426"/>
            <a:ext cx="2558947" cy="400110"/>
          </a:xfrm>
          <a:prstGeom prst="rect">
            <a:avLst/>
          </a:prstGeom>
          <a:noFill/>
        </p:spPr>
        <p:txBody>
          <a:bodyPr wrap="square" rtlCol="0" anchor="ctr">
            <a:spAutoFit/>
          </a:bodyPr>
          <a:lstStyle/>
          <a:p>
            <a:r>
              <a:rPr lang="en-US" altLang="zh-CN" sz="1000" dirty="0">
                <a:solidFill>
                  <a:srgbClr val="2F2F2F"/>
                </a:solidFill>
              </a:rPr>
              <a:t>Click the target picture in iSlide “Picture Library” to insert it into the shape</a:t>
            </a:r>
            <a:endParaRPr lang="zh-CN" altLang="en-US" sz="1000" dirty="0">
              <a:solidFill>
                <a:srgbClr val="2F2F2F"/>
              </a:solidFill>
            </a:endParaRPr>
          </a:p>
        </p:txBody>
      </p:sp>
      <p:sp>
        <p:nvSpPr>
          <p:cNvPr id="614" name="椭圆 613">
            <a:extLst>
              <a:ext uri="{FF2B5EF4-FFF2-40B4-BE49-F238E27FC236}">
                <a16:creationId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id="{64E2827D-DD54-493E-8009-F97E8BD7C996}"/>
              </a:ext>
            </a:extLst>
          </p:cNvPr>
          <p:cNvSpPr txBox="1"/>
          <p:nvPr/>
        </p:nvSpPr>
        <p:spPr>
          <a:xfrm>
            <a:off x="8346455" y="5464437"/>
            <a:ext cx="3174039" cy="400110"/>
          </a:xfrm>
          <a:prstGeom prst="rect">
            <a:avLst/>
          </a:prstGeom>
          <a:noFill/>
        </p:spPr>
        <p:txBody>
          <a:bodyPr wrap="square" rtlCol="0" anchor="ctr">
            <a:spAutoFit/>
          </a:bodyPr>
          <a:lstStyle/>
          <a:p>
            <a:r>
              <a:rPr lang="en-US" altLang="zh-CN" sz="1000" dirty="0">
                <a:solidFill>
                  <a:srgbClr val="2F2F2F"/>
                </a:solidFill>
              </a:rPr>
              <a:t>The picture will be filled in the shape automatically while maintaining the original aspect ratio</a:t>
            </a:r>
            <a:endParaRPr lang="zh-CN" altLang="en-US" sz="1000" dirty="0">
              <a:solidFill>
                <a:srgbClr val="2F2F2F"/>
              </a:solidFill>
            </a:endParaRPr>
          </a:p>
        </p:txBody>
      </p:sp>
      <p:sp>
        <p:nvSpPr>
          <p:cNvPr id="754" name="椭圆 753">
            <a:extLst>
              <a:ext uri="{FF2B5EF4-FFF2-40B4-BE49-F238E27FC236}">
                <a16:creationId xmlns:a16="http://schemas.microsoft.com/office/drawing/2014/main" id="{2CAE1083-0567-4F35-9DA3-912D7BA86E08}"/>
              </a:ext>
            </a:extLst>
          </p:cNvPr>
          <p:cNvSpPr/>
          <p:nvPr/>
        </p:nvSpPr>
        <p:spPr>
          <a:xfrm>
            <a:off x="8024992" y="5526324"/>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6" name="组合 5">
            <a:extLst>
              <a:ext uri="{FF2B5EF4-FFF2-40B4-BE49-F238E27FC236}">
                <a16:creationId xmlns:a16="http://schemas.microsoft.com/office/drawing/2014/main" id="{05CB054B-5632-4BEE-B55C-057A66B51EA7}"/>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10" name="组合 9">
              <a:extLst>
                <a:ext uri="{FF2B5EF4-FFF2-40B4-BE49-F238E27FC236}">
                  <a16:creationId xmlns:a16="http://schemas.microsoft.com/office/drawing/2014/main" id="{5B9E7E2D-AC2C-49EF-846B-D2112A03771B}"/>
                </a:ext>
              </a:extLst>
            </p:cNvPr>
            <p:cNvGrpSpPr/>
            <p:nvPr/>
          </p:nvGrpSpPr>
          <p:grpSpPr>
            <a:xfrm>
              <a:off x="660400" y="1959178"/>
              <a:ext cx="3493913" cy="2403813"/>
              <a:chOff x="673100" y="1959176"/>
              <a:chExt cx="3493913" cy="2403813"/>
            </a:xfrm>
          </p:grpSpPr>
          <p:grpSp>
            <p:nvGrpSpPr>
              <p:cNvPr id="630" name="组合 629">
                <a:extLst>
                  <a:ext uri="{FF2B5EF4-FFF2-40B4-BE49-F238E27FC236}">
                    <a16:creationId xmlns:a16="http://schemas.microsoft.com/office/drawing/2014/main" id="{510829D3-93DD-45B8-B4CA-857E2EF8EBCC}"/>
                  </a:ext>
                </a:extLst>
              </p:cNvPr>
              <p:cNvGrpSpPr/>
              <p:nvPr/>
            </p:nvGrpSpPr>
            <p:grpSpPr>
              <a:xfrm>
                <a:off x="673100" y="1959176"/>
                <a:ext cx="3493913" cy="2403813"/>
                <a:chOff x="673100" y="1959176"/>
                <a:chExt cx="3493913" cy="2403813"/>
              </a:xfrm>
            </p:grpSpPr>
            <p:sp>
              <p:nvSpPr>
                <p:cNvPr id="631" name="Freeform 6">
                  <a:extLst>
                    <a:ext uri="{FF2B5EF4-FFF2-40B4-BE49-F238E27FC236}">
                      <a16:creationId xmlns:a16="http://schemas.microsoft.com/office/drawing/2014/main" id="{72294BB5-13DA-4B6E-865D-2BD4E411B558}"/>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dirty="0"/>
                </a:p>
              </p:txBody>
            </p:sp>
            <p:sp>
              <p:nvSpPr>
                <p:cNvPr id="632" name="矩形: 圆角 631">
                  <a:extLst>
                    <a:ext uri="{FF2B5EF4-FFF2-40B4-BE49-F238E27FC236}">
                      <a16:creationId xmlns:a16="http://schemas.microsoft.com/office/drawing/2014/main" id="{B0A9673E-E45E-40E8-8394-D4D234EB83B1}"/>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33" name="Rectangle 8">
                  <a:extLst>
                    <a:ext uri="{FF2B5EF4-FFF2-40B4-BE49-F238E27FC236}">
                      <a16:creationId xmlns:a16="http://schemas.microsoft.com/office/drawing/2014/main" id="{2DF9B9B3-2C87-4FB7-B3F8-0991D49AA9E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4" name="Rectangle 9">
                  <a:extLst>
                    <a:ext uri="{FF2B5EF4-FFF2-40B4-BE49-F238E27FC236}">
                      <a16:creationId xmlns:a16="http://schemas.microsoft.com/office/drawing/2014/main" id="{F1ABC1A6-AE5D-408B-A4FD-9442DE6B2C82}"/>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5" name="Oval 14">
                  <a:extLst>
                    <a:ext uri="{FF2B5EF4-FFF2-40B4-BE49-F238E27FC236}">
                      <a16:creationId xmlns:a16="http://schemas.microsoft.com/office/drawing/2014/main" id="{596E97CB-AB40-4317-A22D-F6D78AB0F39B}"/>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6" name="Oval 15">
                  <a:extLst>
                    <a:ext uri="{FF2B5EF4-FFF2-40B4-BE49-F238E27FC236}">
                      <a16:creationId xmlns:a16="http://schemas.microsoft.com/office/drawing/2014/main" id="{D75A818A-89BB-43FB-8B83-1FD85B898D84}"/>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7" name="Oval 16">
                  <a:extLst>
                    <a:ext uri="{FF2B5EF4-FFF2-40B4-BE49-F238E27FC236}">
                      <a16:creationId xmlns:a16="http://schemas.microsoft.com/office/drawing/2014/main" id="{7DD10C7C-7BA7-4453-B2C4-FD8894F5B431}"/>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8" name="Freeform 18">
                  <a:extLst>
                    <a:ext uri="{FF2B5EF4-FFF2-40B4-BE49-F238E27FC236}">
                      <a16:creationId xmlns:a16="http://schemas.microsoft.com/office/drawing/2014/main" id="{67CF1F31-08E2-4A01-993C-B31C6A9CB311}"/>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39" name="Rectangle 19">
                  <a:extLst>
                    <a:ext uri="{FF2B5EF4-FFF2-40B4-BE49-F238E27FC236}">
                      <a16:creationId xmlns:a16="http://schemas.microsoft.com/office/drawing/2014/main" id="{841C6BD3-6051-4CC5-8012-F63265A7490C}"/>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0" name="Freeform 20">
                  <a:extLst>
                    <a:ext uri="{FF2B5EF4-FFF2-40B4-BE49-F238E27FC236}">
                      <a16:creationId xmlns:a16="http://schemas.microsoft.com/office/drawing/2014/main" id="{D0B48CBB-7BBA-4DC2-92BE-77F3A8AE7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1" name="Freeform 21">
                  <a:extLst>
                    <a:ext uri="{FF2B5EF4-FFF2-40B4-BE49-F238E27FC236}">
                      <a16:creationId xmlns:a16="http://schemas.microsoft.com/office/drawing/2014/main" id="{D77522F3-359C-4A76-8CFB-E98210318674}"/>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2" name="Freeform 22">
                  <a:extLst>
                    <a:ext uri="{FF2B5EF4-FFF2-40B4-BE49-F238E27FC236}">
                      <a16:creationId xmlns:a16="http://schemas.microsoft.com/office/drawing/2014/main" id="{D29031B0-D856-4AC0-A389-2000EA566C1B}"/>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3" name="Freeform 23">
                  <a:extLst>
                    <a:ext uri="{FF2B5EF4-FFF2-40B4-BE49-F238E27FC236}">
                      <a16:creationId xmlns:a16="http://schemas.microsoft.com/office/drawing/2014/main" id="{FE055015-7E94-4650-A93E-2EB94EA8FCFE}"/>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44" name="矩形: 圆角 643">
                  <a:extLst>
                    <a:ext uri="{FF2B5EF4-FFF2-40B4-BE49-F238E27FC236}">
                      <a16:creationId xmlns:a16="http://schemas.microsoft.com/office/drawing/2014/main" id="{A7E978AF-0551-4504-BBDB-E5F72BFA97CA}"/>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5" name="矩形: 圆角 644">
                  <a:extLst>
                    <a:ext uri="{FF2B5EF4-FFF2-40B4-BE49-F238E27FC236}">
                      <a16:creationId xmlns:a16="http://schemas.microsoft.com/office/drawing/2014/main" id="{1D92DB09-1A26-43BD-AC9B-598C9F3BAB5C}"/>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6" name="矩形: 圆角 645">
                  <a:extLst>
                    <a:ext uri="{FF2B5EF4-FFF2-40B4-BE49-F238E27FC236}">
                      <a16:creationId xmlns:a16="http://schemas.microsoft.com/office/drawing/2014/main" id="{B292DAEA-71EC-4C54-BF5B-3F603C828145}"/>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7" name="矩形: 圆角 646">
                  <a:extLst>
                    <a:ext uri="{FF2B5EF4-FFF2-40B4-BE49-F238E27FC236}">
                      <a16:creationId xmlns:a16="http://schemas.microsoft.com/office/drawing/2014/main" id="{FC5AB78D-1183-44FB-B882-A5C05D3FAEE8}"/>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48" name="矩形: 圆角 647">
                  <a:extLst>
                    <a:ext uri="{FF2B5EF4-FFF2-40B4-BE49-F238E27FC236}">
                      <a16:creationId xmlns:a16="http://schemas.microsoft.com/office/drawing/2014/main" id="{E7793187-92B2-493B-8B2F-C1D87DCE8C84}"/>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9" name="组合 8">
                <a:extLst>
                  <a:ext uri="{FF2B5EF4-FFF2-40B4-BE49-F238E27FC236}">
                    <a16:creationId xmlns:a16="http://schemas.microsoft.com/office/drawing/2014/main" id="{276AC502-71BC-4226-8EC2-9CE0C1B80C6A}"/>
                  </a:ext>
                </a:extLst>
              </p:cNvPr>
              <p:cNvGrpSpPr/>
              <p:nvPr/>
            </p:nvGrpSpPr>
            <p:grpSpPr>
              <a:xfrm>
                <a:off x="1642158" y="3169834"/>
                <a:ext cx="2158596" cy="669284"/>
                <a:chOff x="1642158" y="3169834"/>
                <a:chExt cx="2158596" cy="669284"/>
              </a:xfrm>
            </p:grpSpPr>
            <p:sp>
              <p:nvSpPr>
                <p:cNvPr id="420" name="矩形 419">
                  <a:extLst>
                    <a:ext uri="{FF2B5EF4-FFF2-40B4-BE49-F238E27FC236}">
                      <a16:creationId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8" name="组合 7">
                  <a:extLst>
                    <a:ext uri="{FF2B5EF4-FFF2-40B4-BE49-F238E27FC236}">
                      <a16:creationId xmlns:a16="http://schemas.microsoft.com/office/drawing/2014/main" id="{2745541B-888E-4007-BA79-52D8C8B54A33}"/>
                    </a:ext>
                  </a:extLst>
                </p:cNvPr>
                <p:cNvGrpSpPr/>
                <p:nvPr/>
              </p:nvGrpSpPr>
              <p:grpSpPr>
                <a:xfrm>
                  <a:off x="1687146" y="3211004"/>
                  <a:ext cx="2101734" cy="587141"/>
                  <a:chOff x="1633218" y="3294045"/>
                  <a:chExt cx="2101734" cy="587141"/>
                </a:xfrm>
              </p:grpSpPr>
              <p:sp>
                <p:nvSpPr>
                  <p:cNvPr id="125" name="圆角矩形 13">
                    <a:extLst>
                      <a:ext uri="{FF2B5EF4-FFF2-40B4-BE49-F238E27FC236}">
                        <a16:creationId xmlns:a16="http://schemas.microsoft.com/office/drawing/2014/main" id="{488858F3-69A3-4E36-933E-A60BB21CB6F5}"/>
                      </a:ext>
                    </a:extLst>
                  </p:cNvPr>
                  <p:cNvSpPr/>
                  <p:nvPr/>
                </p:nvSpPr>
                <p:spPr>
                  <a:xfrm>
                    <a:off x="1633218" y="3294045"/>
                    <a:ext cx="875309" cy="587141"/>
                  </a:xfrm>
                  <a:prstGeom prst="roundRect">
                    <a:avLst>
                      <a:gd name="adj" fmla="val 8038"/>
                    </a:avLst>
                  </a:prstGeom>
                  <a:pattFill prst="pct5">
                    <a:fgClr>
                      <a:srgbClr val="867D98">
                        <a:lumMod val="20000"/>
                        <a:lumOff val="80000"/>
                      </a:srgbClr>
                    </a:fgClr>
                    <a:bgClr>
                      <a:srgbClr val="ADB5BF"/>
                    </a:bgClr>
                  </a:pattFill>
                  <a:ln w="381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endParaRPr lang="zh-CN" altLang="en-US" kern="0" dirty="0">
                      <a:solidFill>
                        <a:srgbClr val="44546A">
                          <a:lumMod val="60000"/>
                          <a:lumOff val="40000"/>
                        </a:srgbClr>
                      </a:solidFill>
                      <a:latin typeface="Arial"/>
                      <a:ea typeface="微软雅黑"/>
                    </a:endParaRPr>
                  </a:p>
                </p:txBody>
              </p:sp>
              <p:grpSp>
                <p:nvGrpSpPr>
                  <p:cNvPr id="144" name="组合 143">
                    <a:extLst>
                      <a:ext uri="{FF2B5EF4-FFF2-40B4-BE49-F238E27FC236}">
                        <a16:creationId xmlns:a16="http://schemas.microsoft.com/office/drawing/2014/main" id="{428E477C-F4CA-49FF-BCAA-14A401D6124F}"/>
                      </a:ext>
                    </a:extLst>
                  </p:cNvPr>
                  <p:cNvGrpSpPr/>
                  <p:nvPr/>
                </p:nvGrpSpPr>
                <p:grpSpPr>
                  <a:xfrm>
                    <a:off x="2634832" y="3294045"/>
                    <a:ext cx="1100120" cy="587141"/>
                    <a:chOff x="1703214" y="3185928"/>
                    <a:chExt cx="582258" cy="521425"/>
                  </a:xfrm>
                </p:grpSpPr>
                <p:sp>
                  <p:nvSpPr>
                    <p:cNvPr id="145" name="矩形 144">
                      <a:extLst>
                        <a:ext uri="{FF2B5EF4-FFF2-40B4-BE49-F238E27FC236}">
                          <a16:creationId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69" name="组合 168">
                  <a:extLst>
                    <a:ext uri="{FF2B5EF4-FFF2-40B4-BE49-F238E27FC236}">
                      <a16:creationId xmlns:a16="http://schemas.microsoft.com/office/drawing/2014/main" id="{EC3F73D4-F515-4140-8158-87AE57BCA18E}"/>
                    </a:ext>
                  </a:extLst>
                </p:cNvPr>
                <p:cNvGrpSpPr/>
                <p:nvPr/>
              </p:nvGrpSpPr>
              <p:grpSpPr>
                <a:xfrm>
                  <a:off x="1642158" y="3169834"/>
                  <a:ext cx="956891" cy="669284"/>
                  <a:chOff x="4979129" y="5045363"/>
                  <a:chExt cx="526932" cy="368557"/>
                </a:xfrm>
              </p:grpSpPr>
              <p:sp>
                <p:nvSpPr>
                  <p:cNvPr id="170" name="矩形 169">
                    <a:extLst>
                      <a:ext uri="{FF2B5EF4-FFF2-40B4-BE49-F238E27FC236}">
                        <a16:creationId xmlns:a16="http://schemas.microsoft.com/office/drawing/2014/main" id="{E1A6343C-E9AF-4F6B-8807-64C6D3898212}"/>
                      </a:ext>
                    </a:extLst>
                  </p:cNvPr>
                  <p:cNvSpPr/>
                  <p:nvPr/>
                </p:nvSpPr>
                <p:spPr>
                  <a:xfrm>
                    <a:off x="5001992" y="5068224"/>
                    <a:ext cx="481727" cy="323135"/>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71" name="椭圆 170">
                    <a:extLst>
                      <a:ext uri="{FF2B5EF4-FFF2-40B4-BE49-F238E27FC236}">
                        <a16:creationId xmlns:a16="http://schemas.microsoft.com/office/drawing/2014/main" id="{369817C5-79D9-4864-8C51-E8A19B7DA008}"/>
                      </a:ext>
                    </a:extLst>
                  </p:cNvPr>
                  <p:cNvSpPr/>
                  <p:nvPr/>
                </p:nvSpPr>
                <p:spPr>
                  <a:xfrm flipH="1">
                    <a:off x="4979129"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2" name="椭圆 171">
                    <a:extLst>
                      <a:ext uri="{FF2B5EF4-FFF2-40B4-BE49-F238E27FC236}">
                        <a16:creationId xmlns:a16="http://schemas.microsoft.com/office/drawing/2014/main" id="{0264495B-17CB-4E7B-BFE8-5DF7A0249796}"/>
                      </a:ext>
                    </a:extLst>
                  </p:cNvPr>
                  <p:cNvSpPr/>
                  <p:nvPr/>
                </p:nvSpPr>
                <p:spPr>
                  <a:xfrm flipH="1">
                    <a:off x="5219995"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3" name="椭圆 172">
                    <a:extLst>
                      <a:ext uri="{FF2B5EF4-FFF2-40B4-BE49-F238E27FC236}">
                        <a16:creationId xmlns:a16="http://schemas.microsoft.com/office/drawing/2014/main" id="{07318BFA-8529-4CB7-A1DF-AE3F0CAF4B3B}"/>
                      </a:ext>
                    </a:extLst>
                  </p:cNvPr>
                  <p:cNvSpPr/>
                  <p:nvPr/>
                </p:nvSpPr>
                <p:spPr>
                  <a:xfrm flipH="1">
                    <a:off x="5460337" y="5045363"/>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7" name="椭圆 176">
                    <a:extLst>
                      <a:ext uri="{FF2B5EF4-FFF2-40B4-BE49-F238E27FC236}">
                        <a16:creationId xmlns:a16="http://schemas.microsoft.com/office/drawing/2014/main" id="{01C057E9-76C3-4DCD-B579-9BB383218B7D}"/>
                      </a:ext>
                    </a:extLst>
                  </p:cNvPr>
                  <p:cNvSpPr/>
                  <p:nvPr/>
                </p:nvSpPr>
                <p:spPr>
                  <a:xfrm flipH="1">
                    <a:off x="4979129"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8" name="椭圆 177">
                    <a:extLst>
                      <a:ext uri="{FF2B5EF4-FFF2-40B4-BE49-F238E27FC236}">
                        <a16:creationId xmlns:a16="http://schemas.microsoft.com/office/drawing/2014/main" id="{4D360A41-2751-4012-85FB-FB320C5FDC4E}"/>
                      </a:ext>
                    </a:extLst>
                  </p:cNvPr>
                  <p:cNvSpPr/>
                  <p:nvPr/>
                </p:nvSpPr>
                <p:spPr>
                  <a:xfrm flipH="1">
                    <a:off x="5460341" y="5206931"/>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0" name="椭圆 189">
                    <a:extLst>
                      <a:ext uri="{FF2B5EF4-FFF2-40B4-BE49-F238E27FC236}">
                        <a16:creationId xmlns:a16="http://schemas.microsoft.com/office/drawing/2014/main" id="{98AAFF81-4D05-4193-AD73-8D53438272E5}"/>
                      </a:ext>
                    </a:extLst>
                  </p:cNvPr>
                  <p:cNvSpPr/>
                  <p:nvPr/>
                </p:nvSpPr>
                <p:spPr>
                  <a:xfrm flipH="1">
                    <a:off x="4979129" y="5368200"/>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1" name="椭圆 190">
                    <a:extLst>
                      <a:ext uri="{FF2B5EF4-FFF2-40B4-BE49-F238E27FC236}">
                        <a16:creationId xmlns:a16="http://schemas.microsoft.com/office/drawing/2014/main" id="{51B80C2F-8B0A-4B59-A45E-11544A481C29}"/>
                      </a:ext>
                    </a:extLst>
                  </p:cNvPr>
                  <p:cNvSpPr/>
                  <p:nvPr/>
                </p:nvSpPr>
                <p:spPr>
                  <a:xfrm flipH="1">
                    <a:off x="5219995"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2" name="椭圆 191">
                    <a:extLst>
                      <a:ext uri="{FF2B5EF4-FFF2-40B4-BE49-F238E27FC236}">
                        <a16:creationId xmlns:a16="http://schemas.microsoft.com/office/drawing/2014/main" id="{2D68CCDA-A842-4953-913F-5D57DD0DA445}"/>
                      </a:ext>
                    </a:extLst>
                  </p:cNvPr>
                  <p:cNvSpPr/>
                  <p:nvPr/>
                </p:nvSpPr>
                <p:spPr>
                  <a:xfrm flipH="1">
                    <a:off x="5460337" y="5368198"/>
                    <a:ext cx="45720" cy="45720"/>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sp>
        <p:nvSpPr>
          <p:cNvPr id="211" name="矩形 210">
            <a:extLst>
              <a:ext uri="{FF2B5EF4-FFF2-40B4-BE49-F238E27FC236}">
                <a16:creationId xmlns:a16="http://schemas.microsoft.com/office/drawing/2014/main" id="{0510714D-1063-4116-9681-56D6C11586DB}"/>
              </a:ext>
            </a:extLst>
          </p:cNvPr>
          <p:cNvSpPr/>
          <p:nvPr/>
        </p:nvSpPr>
        <p:spPr>
          <a:xfrm>
            <a:off x="9010199" y="3180644"/>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1" name="组合 10">
            <a:extLst>
              <a:ext uri="{FF2B5EF4-FFF2-40B4-BE49-F238E27FC236}">
                <a16:creationId xmlns:a16="http://schemas.microsoft.com/office/drawing/2014/main" id="{956C0B5D-F5F6-4391-BA8D-37F22BE68FDA}"/>
              </a:ext>
            </a:extLst>
          </p:cNvPr>
          <p:cNvGrpSpPr/>
          <p:nvPr/>
        </p:nvGrpSpPr>
        <p:grpSpPr>
          <a:xfrm>
            <a:off x="8024987" y="1959178"/>
            <a:ext cx="3493913" cy="2403813"/>
            <a:chOff x="8024986" y="1959176"/>
            <a:chExt cx="3493913" cy="2403813"/>
          </a:xfrm>
        </p:grpSpPr>
        <p:grpSp>
          <p:nvGrpSpPr>
            <p:cNvPr id="608" name="组合 607">
              <a:extLst>
                <a:ext uri="{FF2B5EF4-FFF2-40B4-BE49-F238E27FC236}">
                  <a16:creationId xmlns:a16="http://schemas.microsoft.com/office/drawing/2014/main" id="{DCCD8EAC-8413-4950-94D6-6E1EB4F34DD5}"/>
                </a:ext>
              </a:extLst>
            </p:cNvPr>
            <p:cNvGrpSpPr/>
            <p:nvPr/>
          </p:nvGrpSpPr>
          <p:grpSpPr>
            <a:xfrm>
              <a:off x="8024986" y="1959176"/>
              <a:ext cx="3493913" cy="2403813"/>
              <a:chOff x="8024986" y="1959176"/>
              <a:chExt cx="3493913" cy="2403813"/>
            </a:xfrm>
          </p:grpSpPr>
          <p:sp>
            <p:nvSpPr>
              <p:cNvPr id="609" name="Freeform 6">
                <a:extLst>
                  <a:ext uri="{FF2B5EF4-FFF2-40B4-BE49-F238E27FC236}">
                    <a16:creationId xmlns:a16="http://schemas.microsoft.com/office/drawing/2014/main" id="{FF69F6C2-47FC-4959-84F0-F8BCB61C572F}"/>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0" name="矩形: 圆角 609">
                <a:extLst>
                  <a:ext uri="{FF2B5EF4-FFF2-40B4-BE49-F238E27FC236}">
                    <a16:creationId xmlns:a16="http://schemas.microsoft.com/office/drawing/2014/main" id="{6C5B2963-ECA9-4700-AEF1-D4F9D0446EA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11" name="Rectangle 8">
                <a:extLst>
                  <a:ext uri="{FF2B5EF4-FFF2-40B4-BE49-F238E27FC236}">
                    <a16:creationId xmlns:a16="http://schemas.microsoft.com/office/drawing/2014/main" id="{FC9BDBEC-A273-4FEB-892A-E0B9D85FAD0F}"/>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2" name="Rectangle 9">
                <a:extLst>
                  <a:ext uri="{FF2B5EF4-FFF2-40B4-BE49-F238E27FC236}">
                    <a16:creationId xmlns:a16="http://schemas.microsoft.com/office/drawing/2014/main" id="{9A98051B-AB98-43BD-8039-1C62FB08D8B8}"/>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15" name="Oval 14">
                <a:extLst>
                  <a:ext uri="{FF2B5EF4-FFF2-40B4-BE49-F238E27FC236}">
                    <a16:creationId xmlns:a16="http://schemas.microsoft.com/office/drawing/2014/main" id="{471121A1-F8F1-44CB-8F2F-C0D1C37860A8}"/>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6" name="Oval 15">
                <a:extLst>
                  <a:ext uri="{FF2B5EF4-FFF2-40B4-BE49-F238E27FC236}">
                    <a16:creationId xmlns:a16="http://schemas.microsoft.com/office/drawing/2014/main" id="{A40A8446-7E8E-4B21-9495-3CF22B7C42C3}"/>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7" name="Oval 16">
                <a:extLst>
                  <a:ext uri="{FF2B5EF4-FFF2-40B4-BE49-F238E27FC236}">
                    <a16:creationId xmlns:a16="http://schemas.microsoft.com/office/drawing/2014/main" id="{BE987962-30BE-4B9B-9CA4-6D7883091721}"/>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19" name="Freeform 18">
                <a:extLst>
                  <a:ext uri="{FF2B5EF4-FFF2-40B4-BE49-F238E27FC236}">
                    <a16:creationId xmlns:a16="http://schemas.microsoft.com/office/drawing/2014/main" id="{30E2C5FC-33B1-47E5-AD36-4E6B4FAEBBCC}"/>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0" name="Rectangle 19">
                <a:extLst>
                  <a:ext uri="{FF2B5EF4-FFF2-40B4-BE49-F238E27FC236}">
                    <a16:creationId xmlns:a16="http://schemas.microsoft.com/office/drawing/2014/main" id="{28F7A2CC-66F3-42CD-9732-C1AA1859EC83}"/>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621" name="Freeform 20">
                <a:extLst>
                  <a:ext uri="{FF2B5EF4-FFF2-40B4-BE49-F238E27FC236}">
                    <a16:creationId xmlns:a16="http://schemas.microsoft.com/office/drawing/2014/main" id="{4DD48F52-1F9A-476B-8A9A-20C8F508B49F}"/>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2" name="Freeform 21">
                <a:extLst>
                  <a:ext uri="{FF2B5EF4-FFF2-40B4-BE49-F238E27FC236}">
                    <a16:creationId xmlns:a16="http://schemas.microsoft.com/office/drawing/2014/main" id="{472B9D02-8F50-440D-9F55-2E34EDD06C2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3" name="Freeform 22">
                <a:extLst>
                  <a:ext uri="{FF2B5EF4-FFF2-40B4-BE49-F238E27FC236}">
                    <a16:creationId xmlns:a16="http://schemas.microsoft.com/office/drawing/2014/main" id="{A5F8C765-92B7-41C1-87CB-C17E9F46333C}"/>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4" name="Freeform 23">
                <a:extLst>
                  <a:ext uri="{FF2B5EF4-FFF2-40B4-BE49-F238E27FC236}">
                    <a16:creationId xmlns:a16="http://schemas.microsoft.com/office/drawing/2014/main" id="{0BA9A71E-D138-4574-8EE0-19A441C6AF2A}"/>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625" name="矩形: 圆角 624">
                <a:extLst>
                  <a:ext uri="{FF2B5EF4-FFF2-40B4-BE49-F238E27FC236}">
                    <a16:creationId xmlns:a16="http://schemas.microsoft.com/office/drawing/2014/main" id="{92E768DA-EF1D-42C2-9B38-20445A9E3BC3}"/>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6" name="矩形: 圆角 625">
                <a:extLst>
                  <a:ext uri="{FF2B5EF4-FFF2-40B4-BE49-F238E27FC236}">
                    <a16:creationId xmlns:a16="http://schemas.microsoft.com/office/drawing/2014/main" id="{7AFD250F-B882-418A-B79A-AE329F8692B0}"/>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7" name="矩形: 圆角 626">
                <a:extLst>
                  <a:ext uri="{FF2B5EF4-FFF2-40B4-BE49-F238E27FC236}">
                    <a16:creationId xmlns:a16="http://schemas.microsoft.com/office/drawing/2014/main" id="{3CA75934-C292-46AD-9325-128D972B839C}"/>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8" name="矩形: 圆角 627">
                <a:extLst>
                  <a:ext uri="{FF2B5EF4-FFF2-40B4-BE49-F238E27FC236}">
                    <a16:creationId xmlns:a16="http://schemas.microsoft.com/office/drawing/2014/main" id="{5E37EE48-49D9-4743-98F1-815E336336AA}"/>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629" name="矩形: 圆角 628">
                <a:extLst>
                  <a:ext uri="{FF2B5EF4-FFF2-40B4-BE49-F238E27FC236}">
                    <a16:creationId xmlns:a16="http://schemas.microsoft.com/office/drawing/2014/main" id="{7396136D-056B-45EB-853B-366205E7375D}"/>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214" name="组合 213">
              <a:extLst>
                <a:ext uri="{FF2B5EF4-FFF2-40B4-BE49-F238E27FC236}">
                  <a16:creationId xmlns:a16="http://schemas.microsoft.com/office/drawing/2014/main" id="{7FEAF294-79A2-4F9A-89C4-B17D5389BFEF}"/>
                </a:ext>
              </a:extLst>
            </p:cNvPr>
            <p:cNvGrpSpPr/>
            <p:nvPr/>
          </p:nvGrpSpPr>
          <p:grpSpPr>
            <a:xfrm>
              <a:off x="9039034" y="3211004"/>
              <a:ext cx="2101734" cy="587141"/>
              <a:chOff x="1633218" y="3294045"/>
              <a:chExt cx="2101734" cy="587141"/>
            </a:xfrm>
          </p:grpSpPr>
          <p:sp>
            <p:nvSpPr>
              <p:cNvPr id="231" name="圆角矩形 13">
                <a:extLst>
                  <a:ext uri="{FF2B5EF4-FFF2-40B4-BE49-F238E27FC236}">
                    <a16:creationId xmlns:a16="http://schemas.microsoft.com/office/drawing/2014/main" id="{9491DAE1-4CEA-4AFC-A030-4E6E6F3F2EDA}"/>
                  </a:ext>
                </a:extLst>
              </p:cNvPr>
              <p:cNvSpPr/>
              <p:nvPr/>
            </p:nvSpPr>
            <p:spPr>
              <a:xfrm>
                <a:off x="1633218" y="3294045"/>
                <a:ext cx="875309" cy="587141"/>
              </a:xfrm>
              <a:prstGeom prst="roundRect">
                <a:avLst>
                  <a:gd name="adj" fmla="val 8038"/>
                </a:avLst>
              </a:prstGeom>
              <a:blipFill>
                <a:blip r:embed="rId2"/>
                <a:srcRect/>
                <a:stretch>
                  <a:fillRect l="-9443" r="-9443"/>
                </a:stretch>
              </a:blipFill>
              <a:ln w="3175">
                <a:noFill/>
                <a:prstDash val="solid"/>
                <a:miter lim="800000"/>
                <a:headEnd/>
                <a:tailEnd/>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endParaRPr lang="zh-CN" altLang="en-US" kern="0" dirty="0">
                  <a:solidFill>
                    <a:srgbClr val="44546A">
                      <a:lumMod val="60000"/>
                      <a:lumOff val="40000"/>
                    </a:srgbClr>
                  </a:solidFill>
                </a:endParaRPr>
              </a:p>
            </p:txBody>
          </p:sp>
          <p:grpSp>
            <p:nvGrpSpPr>
              <p:cNvPr id="232" name="组合 231">
                <a:extLst>
                  <a:ext uri="{FF2B5EF4-FFF2-40B4-BE49-F238E27FC236}">
                    <a16:creationId xmlns:a16="http://schemas.microsoft.com/office/drawing/2014/main" id="{E2391124-F265-4DB1-8229-74D602D19143}"/>
                  </a:ext>
                </a:extLst>
              </p:cNvPr>
              <p:cNvGrpSpPr/>
              <p:nvPr/>
            </p:nvGrpSpPr>
            <p:grpSpPr>
              <a:xfrm>
                <a:off x="2634832" y="3294045"/>
                <a:ext cx="1100120" cy="587141"/>
                <a:chOff x="1703214" y="3185928"/>
                <a:chExt cx="582258" cy="521425"/>
              </a:xfrm>
            </p:grpSpPr>
            <p:sp>
              <p:nvSpPr>
                <p:cNvPr id="233" name="矩形 232">
                  <a:extLst>
                    <a:ext uri="{FF2B5EF4-FFF2-40B4-BE49-F238E27FC236}">
                      <a16:creationId xmlns:a16="http://schemas.microsoft.com/office/drawing/2014/main" id="{C24C1FF5-F911-419A-917D-EE3BC6FF1575}"/>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4" name="矩形 233">
                  <a:extLst>
                    <a:ext uri="{FF2B5EF4-FFF2-40B4-BE49-F238E27FC236}">
                      <a16:creationId xmlns:a16="http://schemas.microsoft.com/office/drawing/2014/main" id="{B1784DD8-9CF9-4CAD-AAE1-28E2859DB9ED}"/>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35" name="矩形 234">
                  <a:extLst>
                    <a:ext uri="{FF2B5EF4-FFF2-40B4-BE49-F238E27FC236}">
                      <a16:creationId xmlns:a16="http://schemas.microsoft.com/office/drawing/2014/main" id="{FFF26157-FF7D-42F5-8741-B0B5675BACE1}"/>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sp>
        <p:nvSpPr>
          <p:cNvPr id="2" name="标题 1">
            <a:extLst>
              <a:ext uri="{FF2B5EF4-FFF2-40B4-BE49-F238E27FC236}">
                <a16:creationId xmlns:a16="http://schemas.microsoft.com/office/drawing/2014/main" id="{02F5592C-255D-433F-8125-698E99B5A828}"/>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en-US" altLang="zh-CN" sz="2800" b="1" dirty="0"/>
              <a:t>Fill Pictures in Diagram</a:t>
            </a:r>
            <a:endParaRPr lang="zh-CN" altLang="en-US" sz="2800" b="1" dirty="0"/>
          </a:p>
        </p:txBody>
      </p:sp>
      <p:sp>
        <p:nvSpPr>
          <p:cNvPr id="4" name="矩形 3">
            <a:extLst>
              <a:ext uri="{FF2B5EF4-FFF2-40B4-BE49-F238E27FC236}">
                <a16:creationId xmlns:a16="http://schemas.microsoft.com/office/drawing/2014/main" id="{E43AC282-26A4-4B89-9254-20067634254A}"/>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en-US" altLang="zh-CN" sz="800" dirty="0">
                <a:solidFill>
                  <a:schemeClr val="bg1"/>
                </a:solidFill>
              </a:rPr>
              <a:t>This slide is an instruction. Please delete this slide before using it for presentation.</a:t>
            </a:r>
          </a:p>
        </p:txBody>
      </p:sp>
    </p:spTree>
    <p:extLst>
      <p:ext uri="{BB962C8B-B14F-4D97-AF65-F5344CB8AC3E}">
        <p14:creationId xmlns:p14="http://schemas.microsoft.com/office/powerpoint/2010/main" val="32998908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12" name="组合 11">
            <a:extLst>
              <a:ext uri="{FF2B5EF4-FFF2-40B4-BE49-F238E27FC236}">
                <a16:creationId xmlns:a16="http://schemas.microsoft.com/office/drawing/2014/main" id="{5F6B81AB-CE69-4C9D-8320-3B89A6421073}"/>
              </a:ext>
            </a:extLst>
          </p:cNvPr>
          <p:cNvGrpSpPr/>
          <p:nvPr/>
        </p:nvGrpSpPr>
        <p:grpSpPr>
          <a:xfrm>
            <a:off x="660400" y="5464436"/>
            <a:ext cx="3493913" cy="400110"/>
            <a:chOff x="673100" y="5464436"/>
            <a:chExt cx="3493913" cy="400110"/>
          </a:xfrm>
        </p:grpSpPr>
        <p:sp>
          <p:nvSpPr>
            <p:cNvPr id="351" name="文本框 350"/>
            <p:cNvSpPr txBox="1"/>
            <p:nvPr/>
          </p:nvSpPr>
          <p:spPr>
            <a:xfrm>
              <a:off x="994562" y="5464436"/>
              <a:ext cx="3172451" cy="400110"/>
            </a:xfrm>
            <a:prstGeom prst="rect">
              <a:avLst/>
            </a:prstGeom>
            <a:noFill/>
          </p:spPr>
          <p:txBody>
            <a:bodyPr wrap="square" rtlCol="0" anchor="ctr">
              <a:spAutoFit/>
            </a:bodyPr>
            <a:lstStyle/>
            <a:p>
              <a:r>
                <a:rPr lang="en-US" altLang="zh-CN" sz="1000" dirty="0">
                  <a:solidFill>
                    <a:srgbClr val="2F2F2F"/>
                  </a:solidFill>
                </a:rPr>
                <a:t>Ungroup the diagram and select the shape that needs to be replaced</a:t>
              </a:r>
              <a:endParaRPr lang="zh-CN" altLang="en-US" sz="1000" dirty="0">
                <a:solidFill>
                  <a:srgbClr val="2F2F2F"/>
                </a:solidFill>
              </a:endParaRPr>
            </a:p>
          </p:txBody>
        </p:sp>
        <p:sp>
          <p:nvSpPr>
            <p:cNvPr id="350" name="椭圆 349"/>
            <p:cNvSpPr/>
            <p:nvPr/>
          </p:nvSpPr>
          <p:spPr>
            <a:xfrm>
              <a:off x="673100"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1</a:t>
              </a:r>
              <a:endParaRPr lang="zh-CN" altLang="en-US" sz="1200" dirty="0"/>
            </a:p>
          </p:txBody>
        </p:sp>
      </p:grpSp>
      <p:sp>
        <p:nvSpPr>
          <p:cNvPr id="890" name="Right Arrow 16">
            <a:extLst>
              <a:ext uri="{FF2B5EF4-FFF2-40B4-BE49-F238E27FC236}">
                <a16:creationId xmlns:a16="http://schemas.microsoft.com/office/drawing/2014/main" id="{C18997BC-8A46-4480-BDE2-8A42CE9D6E96}"/>
              </a:ext>
            </a:extLst>
          </p:cNvPr>
          <p:cNvSpPr/>
          <p:nvPr/>
        </p:nvSpPr>
        <p:spPr>
          <a:xfrm>
            <a:off x="4284308"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613" name="文本框 612">
            <a:extLst>
              <a:ext uri="{FF2B5EF4-FFF2-40B4-BE49-F238E27FC236}">
                <a16:creationId xmlns:a16="http://schemas.microsoft.com/office/drawing/2014/main" id="{8AD2200D-CA44-4767-84EF-C1856654B4FA}"/>
              </a:ext>
            </a:extLst>
          </p:cNvPr>
          <p:cNvSpPr txBox="1"/>
          <p:nvPr/>
        </p:nvSpPr>
        <p:spPr>
          <a:xfrm>
            <a:off x="4916703" y="5464426"/>
            <a:ext cx="2558947" cy="400110"/>
          </a:xfrm>
          <a:prstGeom prst="rect">
            <a:avLst/>
          </a:prstGeom>
          <a:noFill/>
        </p:spPr>
        <p:txBody>
          <a:bodyPr wrap="square" rtlCol="0" anchor="ctr">
            <a:spAutoFit/>
          </a:bodyPr>
          <a:lstStyle/>
          <a:p>
            <a:r>
              <a:rPr lang="en-US" altLang="zh-CN" sz="1000" dirty="0">
                <a:solidFill>
                  <a:srgbClr val="2F2F2F"/>
                </a:solidFill>
              </a:rPr>
              <a:t>Click the target vector in iSlide “Vector Library” to insert it into the diagram</a:t>
            </a:r>
            <a:endParaRPr lang="zh-CN" altLang="en-US" sz="1000" dirty="0">
              <a:solidFill>
                <a:srgbClr val="2F2F2F"/>
              </a:solidFill>
            </a:endParaRPr>
          </a:p>
        </p:txBody>
      </p:sp>
      <p:sp>
        <p:nvSpPr>
          <p:cNvPr id="614" name="椭圆 613">
            <a:extLst>
              <a:ext uri="{FF2B5EF4-FFF2-40B4-BE49-F238E27FC236}">
                <a16:creationId xmlns:a16="http://schemas.microsoft.com/office/drawing/2014/main" id="{0EF98DBB-FD28-4F75-8C30-91D37F4F411F}"/>
              </a:ext>
            </a:extLst>
          </p:cNvPr>
          <p:cNvSpPr/>
          <p:nvPr/>
        </p:nvSpPr>
        <p:spPr>
          <a:xfrm>
            <a:off x="4595244" y="5526315"/>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2</a:t>
            </a:r>
            <a:endParaRPr lang="zh-CN" altLang="en-US" sz="1200" dirty="0"/>
          </a:p>
        </p:txBody>
      </p:sp>
      <p:sp>
        <p:nvSpPr>
          <p:cNvPr id="891" name="Right Arrow 751">
            <a:extLst>
              <a:ext uri="{FF2B5EF4-FFF2-40B4-BE49-F238E27FC236}">
                <a16:creationId xmlns:a16="http://schemas.microsoft.com/office/drawing/2014/main" id="{262E38B2-0226-44BA-9105-CB532FA15FCA}"/>
              </a:ext>
            </a:extLst>
          </p:cNvPr>
          <p:cNvSpPr/>
          <p:nvPr/>
        </p:nvSpPr>
        <p:spPr>
          <a:xfrm>
            <a:off x="7720845" y="3338119"/>
            <a:ext cx="174147" cy="156344"/>
          </a:xfrm>
          <a:custGeom>
            <a:avLst/>
            <a:gdLst>
              <a:gd name="T0" fmla="*/ 4048 w 6714"/>
              <a:gd name="T1" fmla="*/ 194 h 6036"/>
              <a:gd name="T2" fmla="*/ 3696 w 6714"/>
              <a:gd name="T3" fmla="*/ 340 h 6036"/>
              <a:gd name="T4" fmla="*/ 3696 w 6714"/>
              <a:gd name="T5" fmla="*/ 1283 h 6036"/>
              <a:gd name="T6" fmla="*/ 199 w 6714"/>
              <a:gd name="T7" fmla="*/ 1283 h 6036"/>
              <a:gd name="T8" fmla="*/ 0 w 6714"/>
              <a:gd name="T9" fmla="*/ 1482 h 6036"/>
              <a:gd name="T10" fmla="*/ 0 w 6714"/>
              <a:gd name="T11" fmla="*/ 4553 h 6036"/>
              <a:gd name="T12" fmla="*/ 199 w 6714"/>
              <a:gd name="T13" fmla="*/ 4752 h 6036"/>
              <a:gd name="T14" fmla="*/ 3696 w 6714"/>
              <a:gd name="T15" fmla="*/ 4752 h 6036"/>
              <a:gd name="T16" fmla="*/ 3696 w 6714"/>
              <a:gd name="T17" fmla="*/ 5696 h 6036"/>
              <a:gd name="T18" fmla="*/ 4048 w 6714"/>
              <a:gd name="T19" fmla="*/ 5842 h 6036"/>
              <a:gd name="T20" fmla="*/ 6520 w 6714"/>
              <a:gd name="T21" fmla="*/ 3369 h 6036"/>
              <a:gd name="T22" fmla="*/ 6520 w 6714"/>
              <a:gd name="T23" fmla="*/ 2666 h 6036"/>
              <a:gd name="T24" fmla="*/ 4048 w 6714"/>
              <a:gd name="T25" fmla="*/ 194 h 6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714" h="6036">
                <a:moveTo>
                  <a:pt x="4048" y="194"/>
                </a:moveTo>
                <a:cubicBezTo>
                  <a:pt x="3853" y="0"/>
                  <a:pt x="3696" y="65"/>
                  <a:pt x="3696" y="340"/>
                </a:cubicBezTo>
                <a:lnTo>
                  <a:pt x="3696" y="1283"/>
                </a:lnTo>
                <a:lnTo>
                  <a:pt x="199" y="1283"/>
                </a:lnTo>
                <a:cubicBezTo>
                  <a:pt x="89" y="1283"/>
                  <a:pt x="0" y="1372"/>
                  <a:pt x="0" y="1482"/>
                </a:cubicBezTo>
                <a:lnTo>
                  <a:pt x="0" y="4553"/>
                </a:lnTo>
                <a:cubicBezTo>
                  <a:pt x="0" y="4663"/>
                  <a:pt x="89" y="4752"/>
                  <a:pt x="199" y="4752"/>
                </a:cubicBezTo>
                <a:lnTo>
                  <a:pt x="3696" y="4752"/>
                </a:lnTo>
                <a:lnTo>
                  <a:pt x="3696" y="5696"/>
                </a:lnTo>
                <a:cubicBezTo>
                  <a:pt x="3696" y="5971"/>
                  <a:pt x="3853" y="6036"/>
                  <a:pt x="4048" y="5842"/>
                </a:cubicBezTo>
                <a:lnTo>
                  <a:pt x="6520" y="3369"/>
                </a:lnTo>
                <a:cubicBezTo>
                  <a:pt x="6714" y="3175"/>
                  <a:pt x="6714" y="2860"/>
                  <a:pt x="6520" y="2666"/>
                </a:cubicBezTo>
                <a:lnTo>
                  <a:pt x="4048" y="194"/>
                </a:lnTo>
                <a:close/>
              </a:path>
            </a:pathLst>
          </a:custGeom>
          <a:solidFill>
            <a:srgbClr val="867B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753" name="文本框 752">
            <a:extLst>
              <a:ext uri="{FF2B5EF4-FFF2-40B4-BE49-F238E27FC236}">
                <a16:creationId xmlns:a16="http://schemas.microsoft.com/office/drawing/2014/main" id="{64E2827D-DD54-493E-8009-F97E8BD7C996}"/>
              </a:ext>
            </a:extLst>
          </p:cNvPr>
          <p:cNvSpPr txBox="1"/>
          <p:nvPr/>
        </p:nvSpPr>
        <p:spPr>
          <a:xfrm>
            <a:off x="8346455" y="5541380"/>
            <a:ext cx="3174039" cy="246221"/>
          </a:xfrm>
          <a:prstGeom prst="rect">
            <a:avLst/>
          </a:prstGeom>
          <a:noFill/>
        </p:spPr>
        <p:txBody>
          <a:bodyPr wrap="square" rtlCol="0" anchor="ctr">
            <a:spAutoFit/>
          </a:bodyPr>
          <a:lstStyle/>
          <a:p>
            <a:r>
              <a:rPr lang="en-US" altLang="zh-CN" sz="1000" dirty="0">
                <a:solidFill>
                  <a:srgbClr val="2F2F2F"/>
                </a:solidFill>
              </a:rPr>
              <a:t>Done</a:t>
            </a:r>
            <a:endParaRPr lang="zh-CN" altLang="en-US" sz="1000" dirty="0">
              <a:solidFill>
                <a:srgbClr val="2F2F2F"/>
              </a:solidFill>
            </a:endParaRPr>
          </a:p>
        </p:txBody>
      </p:sp>
      <p:sp>
        <p:nvSpPr>
          <p:cNvPr id="754" name="椭圆 753">
            <a:extLst>
              <a:ext uri="{FF2B5EF4-FFF2-40B4-BE49-F238E27FC236}">
                <a16:creationId xmlns:a16="http://schemas.microsoft.com/office/drawing/2014/main" id="{2CAE1083-0567-4F35-9DA3-912D7BA86E08}"/>
              </a:ext>
            </a:extLst>
          </p:cNvPr>
          <p:cNvSpPr/>
          <p:nvPr/>
        </p:nvSpPr>
        <p:spPr>
          <a:xfrm>
            <a:off x="8024992" y="5526321"/>
            <a:ext cx="276343" cy="276343"/>
          </a:xfrm>
          <a:prstGeom prst="ellipse">
            <a:avLst/>
          </a:prstGeom>
          <a:solidFill>
            <a:srgbClr val="2F2F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dirty="0"/>
              <a:t>3</a:t>
            </a:r>
            <a:endParaRPr lang="zh-CN" altLang="en-US" sz="1200" dirty="0"/>
          </a:p>
        </p:txBody>
      </p:sp>
      <p:grpSp>
        <p:nvGrpSpPr>
          <p:cNvPr id="13" name="组合 12">
            <a:extLst>
              <a:ext uri="{FF2B5EF4-FFF2-40B4-BE49-F238E27FC236}">
                <a16:creationId xmlns:a16="http://schemas.microsoft.com/office/drawing/2014/main" id="{D81B7CF2-C7AA-46F9-ACA8-EBB3BF1C5334}"/>
              </a:ext>
            </a:extLst>
          </p:cNvPr>
          <p:cNvGrpSpPr/>
          <p:nvPr/>
        </p:nvGrpSpPr>
        <p:grpSpPr>
          <a:xfrm>
            <a:off x="4588450" y="1963867"/>
            <a:ext cx="3002400" cy="3200416"/>
            <a:chOff x="4595239" y="1963866"/>
            <a:chExt cx="3002400" cy="3200416"/>
          </a:xfrm>
        </p:grpSpPr>
        <p:sp>
          <p:nvSpPr>
            <p:cNvPr id="302" name="矩形 301">
              <a:extLst>
                <a:ext uri="{FF2B5EF4-FFF2-40B4-BE49-F238E27FC236}">
                  <a16:creationId xmlns:a16="http://schemas.microsoft.com/office/drawing/2014/main" id="{EB95F60D-A0A5-4CA6-84FF-3A5E2CC59F42}"/>
                </a:ext>
              </a:extLst>
            </p:cNvPr>
            <p:cNvSpPr/>
            <p:nvPr/>
          </p:nvSpPr>
          <p:spPr>
            <a:xfrm>
              <a:off x="4595239" y="1963866"/>
              <a:ext cx="3002400" cy="3002400"/>
            </a:xfrm>
            <a:prstGeom prst="rect">
              <a:avLst/>
            </a:prstGeom>
            <a:gradFill>
              <a:gsLst>
                <a:gs pos="80000">
                  <a:schemeClr val="bg1"/>
                </a:gs>
                <a:gs pos="100000">
                  <a:schemeClr val="bg1">
                    <a:alpha val="0"/>
                  </a:schemeClr>
                </a:gs>
              </a:gsLst>
              <a:lin ang="5400000" scaled="1"/>
            </a:gradFill>
            <a:ln w="9525">
              <a:noFill/>
            </a:ln>
            <a:effectLst>
              <a:outerShdw blurRad="63500" sx="102000" sy="102000" algn="ctr" rotWithShape="0">
                <a:srgbClr val="E7E5EA">
                  <a:alpha val="5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nvGrpSpPr>
            <p:cNvPr id="153" name="组合 152">
              <a:extLst>
                <a:ext uri="{FF2B5EF4-FFF2-40B4-BE49-F238E27FC236}">
                  <a16:creationId xmlns:a16="http://schemas.microsoft.com/office/drawing/2014/main" id="{A63C04F4-C358-4500-9952-9EF5BBBE121E}"/>
                </a:ext>
              </a:extLst>
            </p:cNvPr>
            <p:cNvGrpSpPr/>
            <p:nvPr/>
          </p:nvGrpSpPr>
          <p:grpSpPr>
            <a:xfrm>
              <a:off x="4706067" y="2686508"/>
              <a:ext cx="2780745" cy="2477774"/>
              <a:chOff x="5543523" y="3950927"/>
              <a:chExt cx="2485245" cy="2214470"/>
            </a:xfrm>
            <a:solidFill>
              <a:srgbClr val="E7E5EA"/>
            </a:solidFill>
          </p:grpSpPr>
          <p:sp>
            <p:nvSpPr>
              <p:cNvPr id="154" name="矩形: 圆角 153">
                <a:extLst>
                  <a:ext uri="{FF2B5EF4-FFF2-40B4-BE49-F238E27FC236}">
                    <a16:creationId xmlns:a16="http://schemas.microsoft.com/office/drawing/2014/main" id="{F6ABABC0-F43F-4F7C-A81E-B32B79EAE147}"/>
                  </a:ext>
                </a:extLst>
              </p:cNvPr>
              <p:cNvSpPr>
                <a:spLocks noChangeAspect="1"/>
              </p:cNvSpPr>
              <p:nvPr/>
            </p:nvSpPr>
            <p:spPr>
              <a:xfrm>
                <a:off x="5543523" y="3950927"/>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5" name="矩形: 圆角 154">
                <a:extLst>
                  <a:ext uri="{FF2B5EF4-FFF2-40B4-BE49-F238E27FC236}">
                    <a16:creationId xmlns:a16="http://schemas.microsoft.com/office/drawing/2014/main" id="{EF1FB13C-2546-480B-A3F8-637DD57A2E9A}"/>
                  </a:ext>
                </a:extLst>
              </p:cNvPr>
              <p:cNvSpPr>
                <a:spLocks noChangeAspect="1"/>
              </p:cNvSpPr>
              <p:nvPr/>
            </p:nvSpPr>
            <p:spPr>
              <a:xfrm>
                <a:off x="5543523" y="4723706"/>
                <a:ext cx="1189177" cy="668912"/>
              </a:xfrm>
              <a:prstGeom prst="roundRect">
                <a:avLst>
                  <a:gd name="adj" fmla="val 4418"/>
                </a:avLst>
              </a:prstGeom>
              <a:grp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6" name="矩形: 圆角 155">
                <a:extLst>
                  <a:ext uri="{FF2B5EF4-FFF2-40B4-BE49-F238E27FC236}">
                    <a16:creationId xmlns:a16="http://schemas.microsoft.com/office/drawing/2014/main" id="{BC5AD51A-7A84-49B0-B8D0-BFC3CEC38872}"/>
                  </a:ext>
                </a:extLst>
              </p:cNvPr>
              <p:cNvSpPr>
                <a:spLocks noChangeAspect="1"/>
              </p:cNvSpPr>
              <p:nvPr/>
            </p:nvSpPr>
            <p:spPr>
              <a:xfrm>
                <a:off x="5543523"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7" name="矩形: 圆角 156">
                <a:extLst>
                  <a:ext uri="{FF2B5EF4-FFF2-40B4-BE49-F238E27FC236}">
                    <a16:creationId xmlns:a16="http://schemas.microsoft.com/office/drawing/2014/main" id="{20717845-5E08-43BB-B73D-0D6866386EE2}"/>
                  </a:ext>
                </a:extLst>
              </p:cNvPr>
              <p:cNvSpPr>
                <a:spLocks noChangeAspect="1"/>
              </p:cNvSpPr>
              <p:nvPr/>
            </p:nvSpPr>
            <p:spPr>
              <a:xfrm>
                <a:off x="6839591" y="5496485"/>
                <a:ext cx="1189177" cy="668912"/>
              </a:xfrm>
              <a:prstGeom prst="roundRect">
                <a:avLst>
                  <a:gd name="adj" fmla="val 4418"/>
                </a:avLst>
              </a:prstGeom>
              <a:gradFill>
                <a:gsLst>
                  <a:gs pos="0">
                    <a:srgbClr val="E7E5EA"/>
                  </a:gs>
                  <a:gs pos="62000">
                    <a:srgbClr val="E7E5EA">
                      <a:alpha val="0"/>
                    </a:srgbClr>
                  </a:gs>
                </a:gsLst>
                <a:lin ang="5400000" scaled="1"/>
              </a:gra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58" name="矩形: 圆角 157">
                <a:extLst>
                  <a:ext uri="{FF2B5EF4-FFF2-40B4-BE49-F238E27FC236}">
                    <a16:creationId xmlns:a16="http://schemas.microsoft.com/office/drawing/2014/main" id="{04273410-3874-4C71-9C4E-4D25FA658C6F}"/>
                  </a:ext>
                </a:extLst>
              </p:cNvPr>
              <p:cNvSpPr>
                <a:spLocks noChangeAspect="1"/>
              </p:cNvSpPr>
              <p:nvPr/>
            </p:nvSpPr>
            <p:spPr>
              <a:xfrm>
                <a:off x="6839591" y="4723706"/>
                <a:ext cx="1189177" cy="668912"/>
              </a:xfrm>
              <a:prstGeom prst="roundRect">
                <a:avLst>
                  <a:gd name="adj" fmla="val 4418"/>
                </a:avLst>
              </a:prstGeom>
              <a:grp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160" name="矩形: 圆角 159">
                <a:extLst>
                  <a:ext uri="{FF2B5EF4-FFF2-40B4-BE49-F238E27FC236}">
                    <a16:creationId xmlns:a16="http://schemas.microsoft.com/office/drawing/2014/main" id="{4491213B-312B-4965-A8AF-91558B9C4872}"/>
                  </a:ext>
                </a:extLst>
              </p:cNvPr>
              <p:cNvSpPr>
                <a:spLocks noChangeAspect="1"/>
              </p:cNvSpPr>
              <p:nvPr/>
            </p:nvSpPr>
            <p:spPr>
              <a:xfrm>
                <a:off x="6839591" y="3950927"/>
                <a:ext cx="1189177" cy="668912"/>
              </a:xfrm>
              <a:prstGeom prst="roundRect">
                <a:avLst>
                  <a:gd name="adj" fmla="val 4418"/>
                </a:avLst>
              </a:prstGeom>
              <a:noFill/>
              <a:ln w="19050">
                <a:solidFill>
                  <a:srgbClr val="F7343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5" name="组合 4">
              <a:extLst>
                <a:ext uri="{FF2B5EF4-FFF2-40B4-BE49-F238E27FC236}">
                  <a16:creationId xmlns:a16="http://schemas.microsoft.com/office/drawing/2014/main" id="{6771DD05-1958-4BBA-A29F-081CA2709801}"/>
                </a:ext>
              </a:extLst>
            </p:cNvPr>
            <p:cNvGrpSpPr/>
            <p:nvPr/>
          </p:nvGrpSpPr>
          <p:grpSpPr>
            <a:xfrm>
              <a:off x="4595239" y="1963866"/>
              <a:ext cx="3002400" cy="320240"/>
              <a:chOff x="8616223" y="1963866"/>
              <a:chExt cx="3002400" cy="320240"/>
            </a:xfrm>
          </p:grpSpPr>
          <p:sp>
            <p:nvSpPr>
              <p:cNvPr id="304" name="矩形 303">
                <a:extLst>
                  <a:ext uri="{FF2B5EF4-FFF2-40B4-BE49-F238E27FC236}">
                    <a16:creationId xmlns:a16="http://schemas.microsoft.com/office/drawing/2014/main" id="{7398D68E-9E0E-4C67-8760-46BFB1A0317C}"/>
                  </a:ext>
                </a:extLst>
              </p:cNvPr>
              <p:cNvSpPr/>
              <p:nvPr/>
            </p:nvSpPr>
            <p:spPr>
              <a:xfrm>
                <a:off x="8616223" y="1963866"/>
                <a:ext cx="3002400" cy="320240"/>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306" name="Multiply 213">
                <a:extLst>
                  <a:ext uri="{FF2B5EF4-FFF2-40B4-BE49-F238E27FC236}">
                    <a16:creationId xmlns:a16="http://schemas.microsoft.com/office/drawing/2014/main" id="{43E705A9-8DE1-4719-A1A7-37B0C64B2F5A}"/>
                  </a:ext>
                </a:extLst>
              </p:cNvPr>
              <p:cNvSpPr>
                <a:spLocks noChangeAspect="1"/>
              </p:cNvSpPr>
              <p:nvPr/>
            </p:nvSpPr>
            <p:spPr>
              <a:xfrm>
                <a:off x="11404732" y="2067944"/>
                <a:ext cx="112084" cy="112084"/>
              </a:xfrm>
              <a:custGeom>
                <a:avLst/>
                <a:gdLst>
                  <a:gd name="T0" fmla="*/ 11040 w 11360"/>
                  <a:gd name="T1" fmla="*/ 320 h 11360"/>
                  <a:gd name="T2" fmla="*/ 11040 w 11360"/>
                  <a:gd name="T3" fmla="*/ 1360 h 11360"/>
                  <a:gd name="T4" fmla="*/ 6720 w 11360"/>
                  <a:gd name="T5" fmla="*/ 5680 h 11360"/>
                  <a:gd name="T6" fmla="*/ 11040 w 11360"/>
                  <a:gd name="T7" fmla="*/ 10000 h 11360"/>
                  <a:gd name="T8" fmla="*/ 11040 w 11360"/>
                  <a:gd name="T9" fmla="*/ 11040 h 11360"/>
                  <a:gd name="T10" fmla="*/ 10000 w 11360"/>
                  <a:gd name="T11" fmla="*/ 11040 h 11360"/>
                  <a:gd name="T12" fmla="*/ 5680 w 11360"/>
                  <a:gd name="T13" fmla="*/ 6720 h 11360"/>
                  <a:gd name="T14" fmla="*/ 1360 w 11360"/>
                  <a:gd name="T15" fmla="*/ 11040 h 11360"/>
                  <a:gd name="T16" fmla="*/ 320 w 11360"/>
                  <a:gd name="T17" fmla="*/ 11040 h 11360"/>
                  <a:gd name="T18" fmla="*/ 320 w 11360"/>
                  <a:gd name="T19" fmla="*/ 10000 h 11360"/>
                  <a:gd name="T20" fmla="*/ 4640 w 11360"/>
                  <a:gd name="T21" fmla="*/ 5680 h 11360"/>
                  <a:gd name="T22" fmla="*/ 320 w 11360"/>
                  <a:gd name="T23" fmla="*/ 1360 h 11360"/>
                  <a:gd name="T24" fmla="*/ 320 w 11360"/>
                  <a:gd name="T25" fmla="*/ 320 h 11360"/>
                  <a:gd name="T26" fmla="*/ 1360 w 11360"/>
                  <a:gd name="T27" fmla="*/ 320 h 11360"/>
                  <a:gd name="T28" fmla="*/ 5680 w 11360"/>
                  <a:gd name="T29" fmla="*/ 4640 h 11360"/>
                  <a:gd name="T30" fmla="*/ 10000 w 11360"/>
                  <a:gd name="T31" fmla="*/ 320 h 11360"/>
                  <a:gd name="T32" fmla="*/ 11040 w 11360"/>
                  <a:gd name="T33" fmla="*/ 320 h 1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60" h="11360">
                    <a:moveTo>
                      <a:pt x="11040" y="320"/>
                    </a:moveTo>
                    <a:cubicBezTo>
                      <a:pt x="11360" y="640"/>
                      <a:pt x="11360" y="1120"/>
                      <a:pt x="11040" y="1360"/>
                    </a:cubicBezTo>
                    <a:lnTo>
                      <a:pt x="6720" y="5680"/>
                    </a:lnTo>
                    <a:lnTo>
                      <a:pt x="11040" y="10000"/>
                    </a:lnTo>
                    <a:cubicBezTo>
                      <a:pt x="11360" y="10320"/>
                      <a:pt x="11360" y="10800"/>
                      <a:pt x="11040" y="11040"/>
                    </a:cubicBezTo>
                    <a:cubicBezTo>
                      <a:pt x="10720" y="11360"/>
                      <a:pt x="10240" y="11360"/>
                      <a:pt x="10000" y="11040"/>
                    </a:cubicBezTo>
                    <a:lnTo>
                      <a:pt x="5680" y="6720"/>
                    </a:lnTo>
                    <a:lnTo>
                      <a:pt x="1360" y="11040"/>
                    </a:lnTo>
                    <a:cubicBezTo>
                      <a:pt x="1040" y="11360"/>
                      <a:pt x="560" y="11360"/>
                      <a:pt x="320" y="11040"/>
                    </a:cubicBezTo>
                    <a:cubicBezTo>
                      <a:pt x="0" y="10720"/>
                      <a:pt x="0" y="10240"/>
                      <a:pt x="320" y="10000"/>
                    </a:cubicBezTo>
                    <a:lnTo>
                      <a:pt x="4640" y="5680"/>
                    </a:lnTo>
                    <a:lnTo>
                      <a:pt x="320" y="1360"/>
                    </a:lnTo>
                    <a:cubicBezTo>
                      <a:pt x="0" y="1040"/>
                      <a:pt x="0" y="560"/>
                      <a:pt x="320" y="320"/>
                    </a:cubicBezTo>
                    <a:cubicBezTo>
                      <a:pt x="640" y="80"/>
                      <a:pt x="1120" y="0"/>
                      <a:pt x="1360" y="320"/>
                    </a:cubicBezTo>
                    <a:lnTo>
                      <a:pt x="5680" y="4640"/>
                    </a:lnTo>
                    <a:lnTo>
                      <a:pt x="10000" y="320"/>
                    </a:lnTo>
                    <a:cubicBezTo>
                      <a:pt x="10240" y="0"/>
                      <a:pt x="10800" y="0"/>
                      <a:pt x="11040" y="320"/>
                    </a:cubicBezTo>
                    <a:close/>
                  </a:path>
                </a:pathLst>
              </a:custGeom>
              <a:solidFill>
                <a:schemeClr val="bg1"/>
              </a:solidFill>
              <a:ln w="12700" cap="flat" cmpd="sng" algn="ctr">
                <a:noFill/>
                <a:prstDash val="solid"/>
                <a:miter lim="800000"/>
              </a:ln>
              <a:effectLst/>
            </p:spPr>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914354">
                  <a:defRPr/>
                </a:pPr>
                <a:endParaRPr lang="zh-CN" altLang="en-US" kern="0">
                  <a:solidFill>
                    <a:srgbClr val="FFFFFF"/>
                  </a:solidFill>
                  <a:latin typeface="Arial"/>
                  <a:ea typeface="微软雅黑"/>
                </a:endParaRPr>
              </a:p>
            </p:txBody>
          </p:sp>
        </p:grpSp>
        <p:sp>
          <p:nvSpPr>
            <p:cNvPr id="332" name="矩形 331">
              <a:extLst>
                <a:ext uri="{FF2B5EF4-FFF2-40B4-BE49-F238E27FC236}">
                  <a16:creationId xmlns:a16="http://schemas.microsoft.com/office/drawing/2014/main" id="{45B452B5-600E-402C-A6E0-97D72A78CA3F}"/>
                </a:ext>
              </a:extLst>
            </p:cNvPr>
            <p:cNvSpPr/>
            <p:nvPr/>
          </p:nvSpPr>
          <p:spPr>
            <a:xfrm>
              <a:off x="4715292" y="2038873"/>
              <a:ext cx="1548011" cy="153888"/>
            </a:xfrm>
            <a:prstGeom prst="rect">
              <a:avLst/>
            </a:prstGeom>
          </p:spPr>
          <p:txBody>
            <a:bodyPr wrap="square" lIns="0" tIns="0" rIns="0" bIns="0">
              <a:spAutoFit/>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914354">
                <a:defRPr/>
              </a:pPr>
              <a:r>
                <a:rPr lang="en-US" altLang="zh-CN" sz="1000" kern="0" dirty="0">
                  <a:solidFill>
                    <a:srgbClr val="FFFFFF"/>
                  </a:solidFill>
                </a:rPr>
                <a:t>Vector Library</a:t>
              </a:r>
              <a:endParaRPr lang="zh-CN" altLang="en-US" sz="1000" kern="0" dirty="0">
                <a:solidFill>
                  <a:srgbClr val="FFFFFF"/>
                </a:solidFill>
              </a:endParaRPr>
            </a:p>
          </p:txBody>
        </p:sp>
        <p:grpSp>
          <p:nvGrpSpPr>
            <p:cNvPr id="335" name="组合 334">
              <a:extLst>
                <a:ext uri="{FF2B5EF4-FFF2-40B4-BE49-F238E27FC236}">
                  <a16:creationId xmlns:a16="http://schemas.microsoft.com/office/drawing/2014/main" id="{CEBCA69B-D1BD-4ED3-8A2A-EB25AD703A2E}"/>
                </a:ext>
              </a:extLst>
            </p:cNvPr>
            <p:cNvGrpSpPr/>
            <p:nvPr/>
          </p:nvGrpSpPr>
          <p:grpSpPr>
            <a:xfrm>
              <a:off x="4715293" y="2404041"/>
              <a:ext cx="1638861" cy="160073"/>
              <a:chOff x="4248155" y="2141651"/>
              <a:chExt cx="1474301" cy="144000"/>
            </a:xfrm>
            <a:solidFill>
              <a:srgbClr val="E7E5EA"/>
            </a:solidFill>
          </p:grpSpPr>
          <p:sp>
            <p:nvSpPr>
              <p:cNvPr id="489" name="矩形 488">
                <a:extLst>
                  <a:ext uri="{FF2B5EF4-FFF2-40B4-BE49-F238E27FC236}">
                    <a16:creationId xmlns:a16="http://schemas.microsoft.com/office/drawing/2014/main" id="{0F78271F-C2BF-49C2-BC46-681981BE5043}"/>
                  </a:ext>
                </a:extLst>
              </p:cNvPr>
              <p:cNvSpPr>
                <a:spLocks/>
              </p:cNvSpPr>
              <p:nvPr/>
            </p:nvSpPr>
            <p:spPr>
              <a:xfrm>
                <a:off x="424815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0" name="矩形 489">
                <a:extLst>
                  <a:ext uri="{FF2B5EF4-FFF2-40B4-BE49-F238E27FC236}">
                    <a16:creationId xmlns:a16="http://schemas.microsoft.com/office/drawing/2014/main" id="{A3015197-78E9-42A1-B8A4-70DAA4C54124}"/>
                  </a:ext>
                </a:extLst>
              </p:cNvPr>
              <p:cNvSpPr>
                <a:spLocks/>
              </p:cNvSpPr>
              <p:nvPr/>
            </p:nvSpPr>
            <p:spPr>
              <a:xfrm>
                <a:off x="4648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91" name="矩形 490">
                <a:extLst>
                  <a:ext uri="{FF2B5EF4-FFF2-40B4-BE49-F238E27FC236}">
                    <a16:creationId xmlns:a16="http://schemas.microsoft.com/office/drawing/2014/main" id="{BBC16AC2-873F-45AE-B3C1-DA18A14F30AD}"/>
                  </a:ext>
                </a:extLst>
              </p:cNvPr>
              <p:cNvSpPr>
                <a:spLocks/>
              </p:cNvSpPr>
              <p:nvPr/>
            </p:nvSpPr>
            <p:spPr>
              <a:xfrm>
                <a:off x="5044245"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sp>
            <p:nvSpPr>
              <p:cNvPr id="495" name="矩形 494">
                <a:extLst>
                  <a:ext uri="{FF2B5EF4-FFF2-40B4-BE49-F238E27FC236}">
                    <a16:creationId xmlns:a16="http://schemas.microsoft.com/office/drawing/2014/main" id="{9C5D8EE9-3878-48C8-9E66-C90EC64D4EC8}"/>
                  </a:ext>
                </a:extLst>
              </p:cNvPr>
              <p:cNvSpPr>
                <a:spLocks/>
              </p:cNvSpPr>
              <p:nvPr/>
            </p:nvSpPr>
            <p:spPr>
              <a:xfrm>
                <a:off x="5434456"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dirty="0"/>
              </a:p>
            </p:txBody>
          </p:sp>
        </p:grpSp>
        <p:grpSp>
          <p:nvGrpSpPr>
            <p:cNvPr id="336" name="组合 335">
              <a:extLst>
                <a:ext uri="{FF2B5EF4-FFF2-40B4-BE49-F238E27FC236}">
                  <a16:creationId xmlns:a16="http://schemas.microsoft.com/office/drawing/2014/main" id="{9E841455-3E39-47E0-89F1-4A6589854638}"/>
                </a:ext>
              </a:extLst>
            </p:cNvPr>
            <p:cNvGrpSpPr/>
            <p:nvPr/>
          </p:nvGrpSpPr>
          <p:grpSpPr>
            <a:xfrm>
              <a:off x="6715511" y="2404041"/>
              <a:ext cx="761195" cy="160073"/>
              <a:chOff x="6047529" y="2141651"/>
              <a:chExt cx="684762" cy="144000"/>
            </a:xfrm>
            <a:solidFill>
              <a:srgbClr val="E7E5EA"/>
            </a:solidFill>
          </p:grpSpPr>
          <p:sp>
            <p:nvSpPr>
              <p:cNvPr id="487" name="矩形 486">
                <a:extLst>
                  <a:ext uri="{FF2B5EF4-FFF2-40B4-BE49-F238E27FC236}">
                    <a16:creationId xmlns:a16="http://schemas.microsoft.com/office/drawing/2014/main" id="{AAE592BD-4F78-41C6-A563-482A2416386F}"/>
                  </a:ext>
                </a:extLst>
              </p:cNvPr>
              <p:cNvSpPr>
                <a:spLocks/>
              </p:cNvSpPr>
              <p:nvPr/>
            </p:nvSpPr>
            <p:spPr>
              <a:xfrm>
                <a:off x="6047529"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488" name="矩形 487">
                <a:extLst>
                  <a:ext uri="{FF2B5EF4-FFF2-40B4-BE49-F238E27FC236}">
                    <a16:creationId xmlns:a16="http://schemas.microsoft.com/office/drawing/2014/main" id="{42C3DBA0-3D8A-43C4-BDE9-15381F8C0043}"/>
                  </a:ext>
                </a:extLst>
              </p:cNvPr>
              <p:cNvSpPr>
                <a:spLocks/>
              </p:cNvSpPr>
              <p:nvPr/>
            </p:nvSpPr>
            <p:spPr>
              <a:xfrm>
                <a:off x="6444291" y="2141651"/>
                <a:ext cx="288000" cy="144000"/>
              </a:xfrm>
              <a:prstGeom prst="rect">
                <a:avLst/>
              </a:prstGeom>
              <a:solidFill>
                <a:srgbClr val="F0EE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pic>
          <p:nvPicPr>
            <p:cNvPr id="3" name="图形 2">
              <a:extLst>
                <a:ext uri="{FF2B5EF4-FFF2-40B4-BE49-F238E27FC236}">
                  <a16:creationId xmlns:a16="http://schemas.microsoft.com/office/drawing/2014/main" id="{FB29E73C-E73F-4438-A526-FE94FF16031F}"/>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6354959" y="2791001"/>
              <a:ext cx="921528" cy="557932"/>
            </a:xfrm>
            <a:prstGeom prst="rect">
              <a:avLst/>
            </a:prstGeom>
          </p:spPr>
        </p:pic>
      </p:grpSp>
      <p:grpSp>
        <p:nvGrpSpPr>
          <p:cNvPr id="7" name="组合 6">
            <a:extLst>
              <a:ext uri="{FF2B5EF4-FFF2-40B4-BE49-F238E27FC236}">
                <a16:creationId xmlns:a16="http://schemas.microsoft.com/office/drawing/2014/main" id="{09D0D9AA-EB60-4923-BEF0-22333512DE9F}"/>
              </a:ext>
            </a:extLst>
          </p:cNvPr>
          <p:cNvGrpSpPr/>
          <p:nvPr/>
        </p:nvGrpSpPr>
        <p:grpSpPr>
          <a:xfrm>
            <a:off x="8024987" y="1959178"/>
            <a:ext cx="3493913" cy="2403813"/>
            <a:chOff x="8024986" y="1959176"/>
            <a:chExt cx="3493913" cy="2403813"/>
          </a:xfrm>
        </p:grpSpPr>
        <p:grpSp>
          <p:nvGrpSpPr>
            <p:cNvPr id="228" name="组合 227">
              <a:extLst>
                <a:ext uri="{FF2B5EF4-FFF2-40B4-BE49-F238E27FC236}">
                  <a16:creationId xmlns:a16="http://schemas.microsoft.com/office/drawing/2014/main" id="{F07805C6-3B6B-4AF9-9448-282317B3FEB6}"/>
                </a:ext>
              </a:extLst>
            </p:cNvPr>
            <p:cNvGrpSpPr/>
            <p:nvPr/>
          </p:nvGrpSpPr>
          <p:grpSpPr>
            <a:xfrm>
              <a:off x="8024986" y="1959176"/>
              <a:ext cx="3493913" cy="2403813"/>
              <a:chOff x="8024986" y="1959176"/>
              <a:chExt cx="3493913" cy="2403813"/>
            </a:xfrm>
          </p:grpSpPr>
          <p:sp>
            <p:nvSpPr>
              <p:cNvPr id="229" name="Freeform 6">
                <a:extLst>
                  <a:ext uri="{FF2B5EF4-FFF2-40B4-BE49-F238E27FC236}">
                    <a16:creationId xmlns:a16="http://schemas.microsoft.com/office/drawing/2014/main" id="{79502B8B-CFDB-43D8-A905-DFE5C5BD4280}"/>
                  </a:ext>
                </a:extLst>
              </p:cNvPr>
              <p:cNvSpPr>
                <a:spLocks/>
              </p:cNvSpPr>
              <p:nvPr/>
            </p:nvSpPr>
            <p:spPr bwMode="auto">
              <a:xfrm>
                <a:off x="8024986"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0" name="矩形: 圆角 229">
                <a:extLst>
                  <a:ext uri="{FF2B5EF4-FFF2-40B4-BE49-F238E27FC236}">
                    <a16:creationId xmlns:a16="http://schemas.microsoft.com/office/drawing/2014/main" id="{752F09D3-948F-4292-8DE2-B8068FAE905E}"/>
                  </a:ext>
                </a:extLst>
              </p:cNvPr>
              <p:cNvSpPr>
                <a:spLocks noChangeAspect="1"/>
              </p:cNvSpPr>
              <p:nvPr/>
            </p:nvSpPr>
            <p:spPr>
              <a:xfrm>
                <a:off x="8162338"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31" name="Rectangle 8">
                <a:extLst>
                  <a:ext uri="{FF2B5EF4-FFF2-40B4-BE49-F238E27FC236}">
                    <a16:creationId xmlns:a16="http://schemas.microsoft.com/office/drawing/2014/main" id="{9E424521-AF73-4143-B27F-AB4CA52F8AC5}"/>
                  </a:ext>
                </a:extLst>
              </p:cNvPr>
              <p:cNvSpPr>
                <a:spLocks noChangeArrowheads="1"/>
              </p:cNvSpPr>
              <p:nvPr/>
            </p:nvSpPr>
            <p:spPr bwMode="auto">
              <a:xfrm>
                <a:off x="8162340"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2" name="Rectangle 9">
                <a:extLst>
                  <a:ext uri="{FF2B5EF4-FFF2-40B4-BE49-F238E27FC236}">
                    <a16:creationId xmlns:a16="http://schemas.microsoft.com/office/drawing/2014/main" id="{0A670824-3D53-4F25-9305-B5E61610ACEF}"/>
                  </a:ext>
                </a:extLst>
              </p:cNvPr>
              <p:cNvSpPr>
                <a:spLocks noChangeArrowheads="1"/>
              </p:cNvSpPr>
              <p:nvPr/>
            </p:nvSpPr>
            <p:spPr bwMode="auto">
              <a:xfrm>
                <a:off x="8162340"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dirty="0"/>
              </a:p>
            </p:txBody>
          </p:sp>
          <p:sp>
            <p:nvSpPr>
              <p:cNvPr id="233" name="Oval 14">
                <a:extLst>
                  <a:ext uri="{FF2B5EF4-FFF2-40B4-BE49-F238E27FC236}">
                    <a16:creationId xmlns:a16="http://schemas.microsoft.com/office/drawing/2014/main" id="{3000338F-035C-4A39-8F0D-0B0F4BF1FBC6}"/>
                  </a:ext>
                </a:extLst>
              </p:cNvPr>
              <p:cNvSpPr>
                <a:spLocks noChangeArrowheads="1"/>
              </p:cNvSpPr>
              <p:nvPr/>
            </p:nvSpPr>
            <p:spPr bwMode="auto">
              <a:xfrm>
                <a:off x="8523496"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4" name="Oval 15">
                <a:extLst>
                  <a:ext uri="{FF2B5EF4-FFF2-40B4-BE49-F238E27FC236}">
                    <a16:creationId xmlns:a16="http://schemas.microsoft.com/office/drawing/2014/main" id="{C35FFD29-58F4-44EE-BF85-050C901FFFC2}"/>
                  </a:ext>
                </a:extLst>
              </p:cNvPr>
              <p:cNvSpPr>
                <a:spLocks noChangeArrowheads="1"/>
              </p:cNvSpPr>
              <p:nvPr/>
            </p:nvSpPr>
            <p:spPr bwMode="auto">
              <a:xfrm>
                <a:off x="862819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5" name="Oval 16">
                <a:extLst>
                  <a:ext uri="{FF2B5EF4-FFF2-40B4-BE49-F238E27FC236}">
                    <a16:creationId xmlns:a16="http://schemas.microsoft.com/office/drawing/2014/main" id="{97F69D09-85DB-44A5-A24E-80C55BD5603A}"/>
                  </a:ext>
                </a:extLst>
              </p:cNvPr>
              <p:cNvSpPr>
                <a:spLocks noChangeArrowheads="1"/>
              </p:cNvSpPr>
              <p:nvPr/>
            </p:nvSpPr>
            <p:spPr bwMode="auto">
              <a:xfrm>
                <a:off x="8732889"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7" name="Freeform 18">
                <a:extLst>
                  <a:ext uri="{FF2B5EF4-FFF2-40B4-BE49-F238E27FC236}">
                    <a16:creationId xmlns:a16="http://schemas.microsoft.com/office/drawing/2014/main" id="{90231FE4-5E4A-45A4-90B3-6CE270211D8F}"/>
                  </a:ext>
                </a:extLst>
              </p:cNvPr>
              <p:cNvSpPr>
                <a:spLocks/>
              </p:cNvSpPr>
              <p:nvPr/>
            </p:nvSpPr>
            <p:spPr bwMode="auto">
              <a:xfrm>
                <a:off x="8967257"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8" name="Rectangle 19">
                <a:extLst>
                  <a:ext uri="{FF2B5EF4-FFF2-40B4-BE49-F238E27FC236}">
                    <a16:creationId xmlns:a16="http://schemas.microsoft.com/office/drawing/2014/main" id="{F5CB09CD-EA7B-4323-98CD-E0818B8A5E5C}"/>
                  </a:ext>
                </a:extLst>
              </p:cNvPr>
              <p:cNvSpPr>
                <a:spLocks noChangeArrowheads="1"/>
              </p:cNvSpPr>
              <p:nvPr/>
            </p:nvSpPr>
            <p:spPr bwMode="auto">
              <a:xfrm>
                <a:off x="9089243"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zh-CN" altLang="en-US"/>
              </a:p>
            </p:txBody>
          </p:sp>
          <p:sp>
            <p:nvSpPr>
              <p:cNvPr id="239" name="Freeform 20">
                <a:extLst>
                  <a:ext uri="{FF2B5EF4-FFF2-40B4-BE49-F238E27FC236}">
                    <a16:creationId xmlns:a16="http://schemas.microsoft.com/office/drawing/2014/main" id="{9E308F54-DF39-45B6-81B7-DB95BBBDC8EB}"/>
                  </a:ext>
                </a:extLst>
              </p:cNvPr>
              <p:cNvSpPr>
                <a:spLocks/>
              </p:cNvSpPr>
              <p:nvPr/>
            </p:nvSpPr>
            <p:spPr bwMode="auto">
              <a:xfrm>
                <a:off x="8491798"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0" name="Freeform 21">
                <a:extLst>
                  <a:ext uri="{FF2B5EF4-FFF2-40B4-BE49-F238E27FC236}">
                    <a16:creationId xmlns:a16="http://schemas.microsoft.com/office/drawing/2014/main" id="{AACED065-E1E1-4CB9-A30A-E07933F7ACB6}"/>
                  </a:ext>
                </a:extLst>
              </p:cNvPr>
              <p:cNvSpPr>
                <a:spLocks/>
              </p:cNvSpPr>
              <p:nvPr/>
            </p:nvSpPr>
            <p:spPr bwMode="auto">
              <a:xfrm>
                <a:off x="9669398"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1" name="Freeform 22">
                <a:extLst>
                  <a:ext uri="{FF2B5EF4-FFF2-40B4-BE49-F238E27FC236}">
                    <a16:creationId xmlns:a16="http://schemas.microsoft.com/office/drawing/2014/main" id="{2152015E-3C4D-4CA0-90C5-4D1D7DF55BCD}"/>
                  </a:ext>
                </a:extLst>
              </p:cNvPr>
              <p:cNvSpPr>
                <a:spLocks/>
              </p:cNvSpPr>
              <p:nvPr/>
            </p:nvSpPr>
            <p:spPr bwMode="auto">
              <a:xfrm>
                <a:off x="10109316"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2" name="Freeform 23">
                <a:extLst>
                  <a:ext uri="{FF2B5EF4-FFF2-40B4-BE49-F238E27FC236}">
                    <a16:creationId xmlns:a16="http://schemas.microsoft.com/office/drawing/2014/main" id="{222B65CD-2DCC-4C25-B9F3-88E22F8EFCBF}"/>
                  </a:ext>
                </a:extLst>
              </p:cNvPr>
              <p:cNvSpPr>
                <a:spLocks/>
              </p:cNvSpPr>
              <p:nvPr/>
            </p:nvSpPr>
            <p:spPr bwMode="auto">
              <a:xfrm>
                <a:off x="10549235"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43" name="矩形: 圆角 242">
                <a:extLst>
                  <a:ext uri="{FF2B5EF4-FFF2-40B4-BE49-F238E27FC236}">
                    <a16:creationId xmlns:a16="http://schemas.microsoft.com/office/drawing/2014/main" id="{143380E5-1914-4C09-9478-A3B7CC7F2082}"/>
                  </a:ext>
                </a:extLst>
              </p:cNvPr>
              <p:cNvSpPr>
                <a:spLocks noChangeAspect="1"/>
              </p:cNvSpPr>
              <p:nvPr/>
            </p:nvSpPr>
            <p:spPr>
              <a:xfrm>
                <a:off x="8162338"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4" name="矩形: 圆角 243">
                <a:extLst>
                  <a:ext uri="{FF2B5EF4-FFF2-40B4-BE49-F238E27FC236}">
                    <a16:creationId xmlns:a16="http://schemas.microsoft.com/office/drawing/2014/main" id="{7D41D53B-93CF-4F50-95E0-532B3A0F489E}"/>
                  </a:ext>
                </a:extLst>
              </p:cNvPr>
              <p:cNvSpPr>
                <a:spLocks noChangeAspect="1"/>
              </p:cNvSpPr>
              <p:nvPr/>
            </p:nvSpPr>
            <p:spPr>
              <a:xfrm>
                <a:off x="8162338"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5" name="矩形: 圆角 244">
                <a:extLst>
                  <a:ext uri="{FF2B5EF4-FFF2-40B4-BE49-F238E27FC236}">
                    <a16:creationId xmlns:a16="http://schemas.microsoft.com/office/drawing/2014/main" id="{729EE4D2-12C4-47C9-8526-205B5F461C5E}"/>
                  </a:ext>
                </a:extLst>
              </p:cNvPr>
              <p:cNvSpPr>
                <a:spLocks noChangeAspect="1"/>
              </p:cNvSpPr>
              <p:nvPr/>
            </p:nvSpPr>
            <p:spPr>
              <a:xfrm>
                <a:off x="8162338"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6" name="矩形: 圆角 245">
                <a:extLst>
                  <a:ext uri="{FF2B5EF4-FFF2-40B4-BE49-F238E27FC236}">
                    <a16:creationId xmlns:a16="http://schemas.microsoft.com/office/drawing/2014/main" id="{624B437F-52C2-4B5A-A7F7-AB3734317FD7}"/>
                  </a:ext>
                </a:extLst>
              </p:cNvPr>
              <p:cNvSpPr>
                <a:spLocks noChangeAspect="1"/>
              </p:cNvSpPr>
              <p:nvPr/>
            </p:nvSpPr>
            <p:spPr>
              <a:xfrm>
                <a:off x="8800745"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47" name="矩形: 圆角 246">
                <a:extLst>
                  <a:ext uri="{FF2B5EF4-FFF2-40B4-BE49-F238E27FC236}">
                    <a16:creationId xmlns:a16="http://schemas.microsoft.com/office/drawing/2014/main" id="{DBE45890-BEE4-4CC2-954A-359AEB3349DF}"/>
                  </a:ext>
                </a:extLst>
              </p:cNvPr>
              <p:cNvSpPr>
                <a:spLocks noChangeAspect="1"/>
              </p:cNvSpPr>
              <p:nvPr/>
            </p:nvSpPr>
            <p:spPr>
              <a:xfrm>
                <a:off x="8162338"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10" name="组合 9">
              <a:extLst>
                <a:ext uri="{FF2B5EF4-FFF2-40B4-BE49-F238E27FC236}">
                  <a16:creationId xmlns:a16="http://schemas.microsoft.com/office/drawing/2014/main" id="{CFA48FDE-21A2-4B5B-A060-950102760C79}"/>
                </a:ext>
              </a:extLst>
            </p:cNvPr>
            <p:cNvGrpSpPr/>
            <p:nvPr/>
          </p:nvGrpSpPr>
          <p:grpSpPr>
            <a:xfrm>
              <a:off x="9010193" y="3211004"/>
              <a:ext cx="2127585" cy="587141"/>
              <a:chOff x="9010193" y="3211004"/>
              <a:chExt cx="2127585" cy="587141"/>
            </a:xfrm>
          </p:grpSpPr>
          <p:grpSp>
            <p:nvGrpSpPr>
              <p:cNvPr id="143" name="组合 142">
                <a:extLst>
                  <a:ext uri="{FF2B5EF4-FFF2-40B4-BE49-F238E27FC236}">
                    <a16:creationId xmlns:a16="http://schemas.microsoft.com/office/drawing/2014/main" id="{009585A0-D562-4C9F-B5A6-071E8AA3C2BA}"/>
                  </a:ext>
                </a:extLst>
              </p:cNvPr>
              <p:cNvGrpSpPr/>
              <p:nvPr/>
            </p:nvGrpSpPr>
            <p:grpSpPr>
              <a:xfrm>
                <a:off x="10629190" y="3211004"/>
                <a:ext cx="508588" cy="587141"/>
                <a:chOff x="1703214" y="3185928"/>
                <a:chExt cx="582258" cy="521425"/>
              </a:xfrm>
            </p:grpSpPr>
            <p:sp>
              <p:nvSpPr>
                <p:cNvPr id="167" name="矩形 166">
                  <a:extLst>
                    <a:ext uri="{FF2B5EF4-FFF2-40B4-BE49-F238E27FC236}">
                      <a16:creationId xmlns:a16="http://schemas.microsoft.com/office/drawing/2014/main" id="{309EB08F-A938-40D0-9A34-596ABEC4C1DD}"/>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68" name="矩形 167">
                  <a:extLst>
                    <a:ext uri="{FF2B5EF4-FFF2-40B4-BE49-F238E27FC236}">
                      <a16:creationId xmlns:a16="http://schemas.microsoft.com/office/drawing/2014/main" id="{EA556D63-A4AF-466F-9BA4-4A76DE8E7A63}"/>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74" name="矩形 173">
                  <a:extLst>
                    <a:ext uri="{FF2B5EF4-FFF2-40B4-BE49-F238E27FC236}">
                      <a16:creationId xmlns:a16="http://schemas.microsoft.com/office/drawing/2014/main" id="{702E4932-2853-468B-8CEE-8E8DEB08335C}"/>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47" name="组合 146">
                <a:extLst>
                  <a:ext uri="{FF2B5EF4-FFF2-40B4-BE49-F238E27FC236}">
                    <a16:creationId xmlns:a16="http://schemas.microsoft.com/office/drawing/2014/main" id="{5864092F-3936-4E3B-AC38-C65A1D396CA8}"/>
                  </a:ext>
                </a:extLst>
              </p:cNvPr>
              <p:cNvGrpSpPr/>
              <p:nvPr/>
            </p:nvGrpSpPr>
            <p:grpSpPr>
              <a:xfrm>
                <a:off x="9010193" y="3211004"/>
                <a:ext cx="508588" cy="587141"/>
                <a:chOff x="1703214" y="3185928"/>
                <a:chExt cx="582258" cy="521425"/>
              </a:xfrm>
            </p:grpSpPr>
            <p:sp>
              <p:nvSpPr>
                <p:cNvPr id="149" name="矩形 148">
                  <a:extLst>
                    <a:ext uri="{FF2B5EF4-FFF2-40B4-BE49-F238E27FC236}">
                      <a16:creationId xmlns:a16="http://schemas.microsoft.com/office/drawing/2014/main" id="{F5CE67A9-7F46-47EE-A182-EEDC7671BE84}"/>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0" name="矩形 149">
                  <a:extLst>
                    <a:ext uri="{FF2B5EF4-FFF2-40B4-BE49-F238E27FC236}">
                      <a16:creationId xmlns:a16="http://schemas.microsoft.com/office/drawing/2014/main" id="{B2641C79-6356-47FF-A04C-975EFC5BC261}"/>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2" name="矩形 151">
                  <a:extLst>
                    <a:ext uri="{FF2B5EF4-FFF2-40B4-BE49-F238E27FC236}">
                      <a16:creationId xmlns:a16="http://schemas.microsoft.com/office/drawing/2014/main" id="{C55A7A23-0C58-4770-A615-E9A2CEB20583}"/>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pic>
            <p:nvPicPr>
              <p:cNvPr id="176" name="图形 175">
                <a:extLst>
                  <a:ext uri="{FF2B5EF4-FFF2-40B4-BE49-F238E27FC236}">
                    <a16:creationId xmlns:a16="http://schemas.microsoft.com/office/drawing/2014/main" id="{3BCA95A1-5BA3-4682-BB46-744197EA8B37}"/>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9610087" y="3216083"/>
                <a:ext cx="921528" cy="557932"/>
              </a:xfrm>
              <a:prstGeom prst="rect">
                <a:avLst/>
              </a:prstGeom>
            </p:spPr>
          </p:pic>
        </p:grpSp>
      </p:grpSp>
      <p:sp>
        <p:nvSpPr>
          <p:cNvPr id="4" name="标题 1">
            <a:extLst>
              <a:ext uri="{FF2B5EF4-FFF2-40B4-BE49-F238E27FC236}">
                <a16:creationId xmlns:a16="http://schemas.microsoft.com/office/drawing/2014/main" id="{EB39E194-01C4-46CF-B8A6-9AD2197F24D4}"/>
              </a:ext>
            </a:extLst>
          </p:cNvPr>
          <p:cNvSpPr txBox="1">
            <a:spLocks/>
          </p:cNvSpPr>
          <p:nvPr/>
        </p:nvSpPr>
        <p:spPr>
          <a:xfrm>
            <a:off x="660400" y="0"/>
            <a:ext cx="10858500" cy="1028700"/>
          </a:xfrm>
          <a:prstGeom prst="rect">
            <a:avLst/>
          </a:prstGeom>
        </p:spPr>
        <p:txBody>
          <a:bodyPr vert="horz" lIns="91440" tIns="45720" rIns="91440" bIns="45720" rtlCol="0" anchor="b">
            <a:normAutofit/>
          </a:bodyPr>
          <a:lstStyle>
            <a:lvl1pPr algn="l" defTabSz="914354" rtl="0" eaLnBrk="1" latinLnBrk="0" hangingPunct="1">
              <a:lnSpc>
                <a:spcPct val="90000"/>
              </a:lnSpc>
              <a:spcBef>
                <a:spcPct val="0"/>
              </a:spcBef>
              <a:buNone/>
              <a:defRPr sz="4400" kern="1200">
                <a:solidFill>
                  <a:schemeClr val="tx1"/>
                </a:solidFill>
                <a:latin typeface="+mj-lt"/>
                <a:ea typeface="+mj-ea"/>
                <a:cs typeface="+mj-cs"/>
              </a:defRPr>
            </a:lvl1pPr>
          </a:lstStyle>
          <a:p>
            <a:pPr defTabSz="914309"/>
            <a:r>
              <a:rPr lang="en-US" altLang="zh-CN" sz="2800" b="1" dirty="0"/>
              <a:t>Replace Vectors in Diagram</a:t>
            </a:r>
            <a:endParaRPr lang="zh-CN" altLang="en-US" sz="2800" b="1" dirty="0"/>
          </a:p>
        </p:txBody>
      </p:sp>
      <p:grpSp>
        <p:nvGrpSpPr>
          <p:cNvPr id="11" name="组合 10">
            <a:extLst>
              <a:ext uri="{FF2B5EF4-FFF2-40B4-BE49-F238E27FC236}">
                <a16:creationId xmlns:a16="http://schemas.microsoft.com/office/drawing/2014/main" id="{41340CDE-3267-4179-B203-21C1D373AC7C}"/>
              </a:ext>
            </a:extLst>
          </p:cNvPr>
          <p:cNvGrpSpPr/>
          <p:nvPr/>
        </p:nvGrpSpPr>
        <p:grpSpPr>
          <a:xfrm>
            <a:off x="660400" y="1959178"/>
            <a:ext cx="3493913" cy="2403813"/>
            <a:chOff x="660400" y="1959178"/>
            <a:chExt cx="3493913" cy="2403813"/>
          </a:xfrm>
        </p:grpSpPr>
        <p:sp>
          <p:nvSpPr>
            <p:cNvPr id="795" name="Rectangle 10">
              <a:extLst>
                <a:ext uri="{FF2B5EF4-FFF2-40B4-BE49-F238E27FC236}">
                  <a16:creationId xmlns:a16="http://schemas.microsoft.com/office/drawing/2014/main" id="{EB08811A-69A0-4B03-AD69-4D4093A4A1A1}"/>
                </a:ext>
              </a:extLst>
            </p:cNvPr>
            <p:cNvSpPr>
              <a:spLocks noChangeArrowheads="1"/>
            </p:cNvSpPr>
            <p:nvPr/>
          </p:nvSpPr>
          <p:spPr bwMode="auto">
            <a:xfrm>
              <a:off x="809622" y="2219171"/>
              <a:ext cx="3240163" cy="175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grpSp>
          <p:nvGrpSpPr>
            <p:cNvPr id="9" name="组合 8">
              <a:extLst>
                <a:ext uri="{FF2B5EF4-FFF2-40B4-BE49-F238E27FC236}">
                  <a16:creationId xmlns:a16="http://schemas.microsoft.com/office/drawing/2014/main" id="{57827EC8-4212-4214-BEC6-635EE8E79011}"/>
                </a:ext>
              </a:extLst>
            </p:cNvPr>
            <p:cNvGrpSpPr/>
            <p:nvPr/>
          </p:nvGrpSpPr>
          <p:grpSpPr>
            <a:xfrm>
              <a:off x="660400" y="1959178"/>
              <a:ext cx="3493913" cy="2403813"/>
              <a:chOff x="673100" y="1959176"/>
              <a:chExt cx="3493913" cy="2403813"/>
            </a:xfrm>
          </p:grpSpPr>
          <p:grpSp>
            <p:nvGrpSpPr>
              <p:cNvPr id="248" name="组合 247">
                <a:extLst>
                  <a:ext uri="{FF2B5EF4-FFF2-40B4-BE49-F238E27FC236}">
                    <a16:creationId xmlns:a16="http://schemas.microsoft.com/office/drawing/2014/main" id="{7740B1D8-836E-4790-9DD0-E1EA943A1D9C}"/>
                  </a:ext>
                </a:extLst>
              </p:cNvPr>
              <p:cNvGrpSpPr/>
              <p:nvPr/>
            </p:nvGrpSpPr>
            <p:grpSpPr>
              <a:xfrm>
                <a:off x="673100" y="1959176"/>
                <a:ext cx="3493913" cy="2403813"/>
                <a:chOff x="673100" y="1959176"/>
                <a:chExt cx="3493913" cy="2403813"/>
              </a:xfrm>
            </p:grpSpPr>
            <p:sp>
              <p:nvSpPr>
                <p:cNvPr id="249" name="Freeform 6">
                  <a:extLst>
                    <a:ext uri="{FF2B5EF4-FFF2-40B4-BE49-F238E27FC236}">
                      <a16:creationId xmlns:a16="http://schemas.microsoft.com/office/drawing/2014/main" id="{EF67C987-3113-4318-8AC6-E739BB42568A}"/>
                    </a:ext>
                  </a:extLst>
                </p:cNvPr>
                <p:cNvSpPr>
                  <a:spLocks/>
                </p:cNvSpPr>
                <p:nvPr/>
              </p:nvSpPr>
              <p:spPr bwMode="auto">
                <a:xfrm>
                  <a:off x="673100" y="1959176"/>
                  <a:ext cx="3493913" cy="2403813"/>
                </a:xfrm>
                <a:prstGeom prst="rect">
                  <a:avLst/>
                </a:prstGeom>
                <a:gradFill>
                  <a:gsLst>
                    <a:gs pos="83000">
                      <a:schemeClr val="bg1"/>
                    </a:gs>
                    <a:gs pos="100000">
                      <a:schemeClr val="bg1">
                        <a:alpha val="0"/>
                      </a:schemeClr>
                    </a:gs>
                  </a:gsLst>
                  <a:lin ang="5400000" scaled="1"/>
                </a:gradFill>
                <a:ln w="9525">
                  <a:noFill/>
                  <a:round/>
                  <a:headEnd/>
                  <a:tailEnd/>
                </a:ln>
                <a:effectLst>
                  <a:outerShdw blurRad="63500" sx="102000" sy="102000" algn="ctr" rotWithShape="0">
                    <a:srgbClr val="E7E5EA">
                      <a:alpha val="50000"/>
                    </a:srgbClr>
                  </a:outerShdw>
                </a:effectLst>
              </p:spPr>
              <p:txBody>
                <a:bodyPr vert="horz" wrap="square" lIns="91440" tIns="45720" rIns="91440" bIns="45720" numCol="1" anchor="t" anchorCtr="0" compatLnSpc="1">
                  <a:prstTxWarp prst="textNoShape">
                    <a:avLst/>
                  </a:prstTxWarp>
                </a:bodyPr>
                <a:lstStyle/>
                <a:p>
                  <a:endParaRPr lang="zh-CN" altLang="en-US"/>
                </a:p>
              </p:txBody>
            </p:sp>
            <p:sp>
              <p:nvSpPr>
                <p:cNvPr id="250" name="矩形: 圆角 249">
                  <a:extLst>
                    <a:ext uri="{FF2B5EF4-FFF2-40B4-BE49-F238E27FC236}">
                      <a16:creationId xmlns:a16="http://schemas.microsoft.com/office/drawing/2014/main" id="{A0006912-9DA4-43EF-8BD5-EF546FCE3339}"/>
                    </a:ext>
                  </a:extLst>
                </p:cNvPr>
                <p:cNvSpPr>
                  <a:spLocks noChangeAspect="1"/>
                </p:cNvSpPr>
                <p:nvPr/>
              </p:nvSpPr>
              <p:spPr>
                <a:xfrm>
                  <a:off x="810452" y="2742993"/>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51" name="Rectangle 8">
                  <a:extLst>
                    <a:ext uri="{FF2B5EF4-FFF2-40B4-BE49-F238E27FC236}">
                      <a16:creationId xmlns:a16="http://schemas.microsoft.com/office/drawing/2014/main" id="{556C6F3A-7655-4359-A6CC-0479F824F891}"/>
                    </a:ext>
                  </a:extLst>
                </p:cNvPr>
                <p:cNvSpPr>
                  <a:spLocks noChangeArrowheads="1"/>
                </p:cNvSpPr>
                <p:nvPr/>
              </p:nvSpPr>
              <p:spPr bwMode="auto">
                <a:xfrm>
                  <a:off x="810454" y="2228518"/>
                  <a:ext cx="3240163" cy="311711"/>
                </a:xfrm>
                <a:prstGeom prst="rect">
                  <a:avLst/>
                </a:prstGeom>
                <a:solidFill>
                  <a:srgbClr val="F0EEF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2" name="Rectangle 9">
                  <a:extLst>
                    <a:ext uri="{FF2B5EF4-FFF2-40B4-BE49-F238E27FC236}">
                      <a16:creationId xmlns:a16="http://schemas.microsoft.com/office/drawing/2014/main" id="{C6106673-43BC-4DD8-A493-EDA9B6B2D456}"/>
                    </a:ext>
                  </a:extLst>
                </p:cNvPr>
                <p:cNvSpPr>
                  <a:spLocks noChangeArrowheads="1"/>
                </p:cNvSpPr>
                <p:nvPr/>
              </p:nvSpPr>
              <p:spPr bwMode="auto">
                <a:xfrm>
                  <a:off x="810454" y="2228518"/>
                  <a:ext cx="3240163" cy="181579"/>
                </a:xfrm>
                <a:prstGeom prst="rect">
                  <a:avLst/>
                </a:prstGeom>
                <a:solidFill>
                  <a:srgbClr val="B4B4B4"/>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3" name="Oval 14">
                  <a:extLst>
                    <a:ext uri="{FF2B5EF4-FFF2-40B4-BE49-F238E27FC236}">
                      <a16:creationId xmlns:a16="http://schemas.microsoft.com/office/drawing/2014/main" id="{1B8CD3B4-C3D2-4456-B988-B5F3C2205217}"/>
                    </a:ext>
                  </a:extLst>
                </p:cNvPr>
                <p:cNvSpPr>
                  <a:spLocks noChangeArrowheads="1"/>
                </p:cNvSpPr>
                <p:nvPr/>
              </p:nvSpPr>
              <p:spPr bwMode="auto">
                <a:xfrm>
                  <a:off x="1171610" y="2098386"/>
                  <a:ext cx="59552"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4" name="Oval 15">
                  <a:extLst>
                    <a:ext uri="{FF2B5EF4-FFF2-40B4-BE49-F238E27FC236}">
                      <a16:creationId xmlns:a16="http://schemas.microsoft.com/office/drawing/2014/main" id="{3D1BADA4-D749-46AD-8E50-EEA49550C016}"/>
                    </a:ext>
                  </a:extLst>
                </p:cNvPr>
                <p:cNvSpPr>
                  <a:spLocks noChangeArrowheads="1"/>
                </p:cNvSpPr>
                <p:nvPr/>
              </p:nvSpPr>
              <p:spPr bwMode="auto">
                <a:xfrm>
                  <a:off x="1276307"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5" name="Oval 16">
                  <a:extLst>
                    <a:ext uri="{FF2B5EF4-FFF2-40B4-BE49-F238E27FC236}">
                      <a16:creationId xmlns:a16="http://schemas.microsoft.com/office/drawing/2014/main" id="{C93A76CA-F9DB-4B79-A4FE-0C3902E5B9CF}"/>
                    </a:ext>
                  </a:extLst>
                </p:cNvPr>
                <p:cNvSpPr>
                  <a:spLocks noChangeArrowheads="1"/>
                </p:cNvSpPr>
                <p:nvPr/>
              </p:nvSpPr>
              <p:spPr bwMode="auto">
                <a:xfrm>
                  <a:off x="1381003" y="2098386"/>
                  <a:ext cx="60514" cy="62543"/>
                </a:xfrm>
                <a:prstGeom prst="ellipse">
                  <a:avLst/>
                </a:pr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6" name="Freeform 18">
                  <a:extLst>
                    <a:ext uri="{FF2B5EF4-FFF2-40B4-BE49-F238E27FC236}">
                      <a16:creationId xmlns:a16="http://schemas.microsoft.com/office/drawing/2014/main" id="{5F916865-589E-4D0F-BACC-2570FF5D044A}"/>
                    </a:ext>
                  </a:extLst>
                </p:cNvPr>
                <p:cNvSpPr>
                  <a:spLocks/>
                </p:cNvSpPr>
                <p:nvPr/>
              </p:nvSpPr>
              <p:spPr bwMode="auto">
                <a:xfrm>
                  <a:off x="1615371" y="2262817"/>
                  <a:ext cx="505234" cy="164430"/>
                </a:xfrm>
                <a:custGeom>
                  <a:avLst/>
                  <a:gdLst>
                    <a:gd name="T0" fmla="*/ 520 w 547"/>
                    <a:gd name="T1" fmla="*/ 170 h 170"/>
                    <a:gd name="T2" fmla="*/ 27 w 547"/>
                    <a:gd name="T3" fmla="*/ 170 h 170"/>
                    <a:gd name="T4" fmla="*/ 0 w 547"/>
                    <a:gd name="T5" fmla="*/ 143 h 170"/>
                    <a:gd name="T6" fmla="*/ 0 w 547"/>
                    <a:gd name="T7" fmla="*/ 27 h 170"/>
                    <a:gd name="T8" fmla="*/ 27 w 547"/>
                    <a:gd name="T9" fmla="*/ 0 h 170"/>
                    <a:gd name="T10" fmla="*/ 520 w 547"/>
                    <a:gd name="T11" fmla="*/ 0 h 170"/>
                    <a:gd name="T12" fmla="*/ 547 w 547"/>
                    <a:gd name="T13" fmla="*/ 27 h 170"/>
                    <a:gd name="T14" fmla="*/ 547 w 547"/>
                    <a:gd name="T15" fmla="*/ 143 h 170"/>
                    <a:gd name="T16" fmla="*/ 520 w 547"/>
                    <a:gd name="T17" fmla="*/ 170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7" h="170">
                      <a:moveTo>
                        <a:pt x="520" y="170"/>
                      </a:moveTo>
                      <a:cubicBezTo>
                        <a:pt x="27" y="170"/>
                        <a:pt x="27" y="170"/>
                        <a:pt x="27" y="170"/>
                      </a:cubicBezTo>
                      <a:cubicBezTo>
                        <a:pt x="12" y="170"/>
                        <a:pt x="0" y="158"/>
                        <a:pt x="0" y="143"/>
                      </a:cubicBezTo>
                      <a:cubicBezTo>
                        <a:pt x="0" y="27"/>
                        <a:pt x="0" y="27"/>
                        <a:pt x="0" y="27"/>
                      </a:cubicBezTo>
                      <a:cubicBezTo>
                        <a:pt x="0" y="12"/>
                        <a:pt x="12" y="0"/>
                        <a:pt x="27" y="0"/>
                      </a:cubicBezTo>
                      <a:cubicBezTo>
                        <a:pt x="520" y="0"/>
                        <a:pt x="520" y="0"/>
                        <a:pt x="520" y="0"/>
                      </a:cubicBezTo>
                      <a:cubicBezTo>
                        <a:pt x="535" y="0"/>
                        <a:pt x="547" y="12"/>
                        <a:pt x="547" y="27"/>
                      </a:cubicBezTo>
                      <a:cubicBezTo>
                        <a:pt x="547" y="143"/>
                        <a:pt x="547" y="143"/>
                        <a:pt x="547" y="143"/>
                      </a:cubicBezTo>
                      <a:cubicBezTo>
                        <a:pt x="547" y="158"/>
                        <a:pt x="535" y="170"/>
                        <a:pt x="520" y="170"/>
                      </a:cubicBezTo>
                      <a:close/>
                    </a:path>
                  </a:pathLst>
                </a:custGeom>
                <a:solidFill>
                  <a:srgbClr val="F0EE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7" name="Rectangle 19">
                  <a:extLst>
                    <a:ext uri="{FF2B5EF4-FFF2-40B4-BE49-F238E27FC236}">
                      <a16:creationId xmlns:a16="http://schemas.microsoft.com/office/drawing/2014/main" id="{65AB37D2-4B39-47BE-A62E-7B7BF58E328E}"/>
                    </a:ext>
                  </a:extLst>
                </p:cNvPr>
                <p:cNvSpPr>
                  <a:spLocks noChangeArrowheads="1"/>
                </p:cNvSpPr>
                <p:nvPr/>
              </p:nvSpPr>
              <p:spPr bwMode="auto">
                <a:xfrm>
                  <a:off x="1737357" y="2320316"/>
                  <a:ext cx="243973" cy="49430"/>
                </a:xfrm>
                <a:prstGeom prst="rect">
                  <a:avLst/>
                </a:prstGeom>
                <a:solidFill>
                  <a:srgbClr val="CFCBD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8" name="Freeform 20">
                  <a:extLst>
                    <a:ext uri="{FF2B5EF4-FFF2-40B4-BE49-F238E27FC236}">
                      <a16:creationId xmlns:a16="http://schemas.microsoft.com/office/drawing/2014/main" id="{BB9DC8A1-3C26-407A-A297-CFB927165CC7}"/>
                    </a:ext>
                  </a:extLst>
                </p:cNvPr>
                <p:cNvSpPr>
                  <a:spLocks/>
                </p:cNvSpPr>
                <p:nvPr/>
              </p:nvSpPr>
              <p:spPr bwMode="auto">
                <a:xfrm>
                  <a:off x="1139912" y="2306193"/>
                  <a:ext cx="232445" cy="49430"/>
                </a:xfrm>
                <a:custGeom>
                  <a:avLst/>
                  <a:gdLst>
                    <a:gd name="T0" fmla="*/ 227 w 251"/>
                    <a:gd name="T1" fmla="*/ 0 h 51"/>
                    <a:gd name="T2" fmla="*/ 24 w 251"/>
                    <a:gd name="T3" fmla="*/ 0 h 51"/>
                    <a:gd name="T4" fmla="*/ 0 w 251"/>
                    <a:gd name="T5" fmla="*/ 24 h 51"/>
                    <a:gd name="T6" fmla="*/ 0 w 251"/>
                    <a:gd name="T7" fmla="*/ 27 h 51"/>
                    <a:gd name="T8" fmla="*/ 24 w 251"/>
                    <a:gd name="T9" fmla="*/ 51 h 51"/>
                    <a:gd name="T10" fmla="*/ 227 w 251"/>
                    <a:gd name="T11" fmla="*/ 51 h 51"/>
                    <a:gd name="T12" fmla="*/ 251 w 251"/>
                    <a:gd name="T13" fmla="*/ 27 h 51"/>
                    <a:gd name="T14" fmla="*/ 251 w 251"/>
                    <a:gd name="T15" fmla="*/ 24 h 51"/>
                    <a:gd name="T16" fmla="*/ 227 w 251"/>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1"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1" y="41"/>
                        <a:pt x="251" y="27"/>
                      </a:cubicBezTo>
                      <a:cubicBezTo>
                        <a:pt x="251" y="24"/>
                        <a:pt x="251" y="24"/>
                        <a:pt x="251" y="24"/>
                      </a:cubicBezTo>
                      <a:cubicBezTo>
                        <a:pt x="251"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59" name="Freeform 21">
                  <a:extLst>
                    <a:ext uri="{FF2B5EF4-FFF2-40B4-BE49-F238E27FC236}">
                      <a16:creationId xmlns:a16="http://schemas.microsoft.com/office/drawing/2014/main" id="{CBCB1766-A52D-4E2C-9918-788DA4E64C75}"/>
                    </a:ext>
                  </a:extLst>
                </p:cNvPr>
                <p:cNvSpPr>
                  <a:spLocks/>
                </p:cNvSpPr>
                <p:nvPr/>
              </p:nvSpPr>
              <p:spPr bwMode="auto">
                <a:xfrm>
                  <a:off x="2317512"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0" y="0"/>
                        <a:pt x="0" y="11"/>
                        <a:pt x="0" y="24"/>
                      </a:cubicBezTo>
                      <a:cubicBezTo>
                        <a:pt x="0" y="27"/>
                        <a:pt x="0" y="27"/>
                        <a:pt x="0" y="27"/>
                      </a:cubicBezTo>
                      <a:cubicBezTo>
                        <a:pt x="0" y="41"/>
                        <a:pt x="10" y="51"/>
                        <a:pt x="24" y="51"/>
                      </a:cubicBezTo>
                      <a:cubicBezTo>
                        <a:pt x="226" y="51"/>
                        <a:pt x="226" y="51"/>
                        <a:pt x="226" y="51"/>
                      </a:cubicBezTo>
                      <a:cubicBezTo>
                        <a:pt x="239" y="51"/>
                        <a:pt x="250" y="41"/>
                        <a:pt x="250" y="27"/>
                      </a:cubicBezTo>
                      <a:cubicBezTo>
                        <a:pt x="250" y="24"/>
                        <a:pt x="250" y="24"/>
                        <a:pt x="250" y="24"/>
                      </a:cubicBezTo>
                      <a:cubicBezTo>
                        <a:pt x="250" y="11"/>
                        <a:pt x="239"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0" name="Freeform 22">
                  <a:extLst>
                    <a:ext uri="{FF2B5EF4-FFF2-40B4-BE49-F238E27FC236}">
                      <a16:creationId xmlns:a16="http://schemas.microsoft.com/office/drawing/2014/main" id="{5DD5BED3-191E-4BD6-9FE9-141C415A5202}"/>
                    </a:ext>
                  </a:extLst>
                </p:cNvPr>
                <p:cNvSpPr>
                  <a:spLocks/>
                </p:cNvSpPr>
                <p:nvPr/>
              </p:nvSpPr>
              <p:spPr bwMode="auto">
                <a:xfrm>
                  <a:off x="2757430" y="2306193"/>
                  <a:ext cx="231486" cy="49430"/>
                </a:xfrm>
                <a:custGeom>
                  <a:avLst/>
                  <a:gdLst>
                    <a:gd name="T0" fmla="*/ 226 w 250"/>
                    <a:gd name="T1" fmla="*/ 0 h 51"/>
                    <a:gd name="T2" fmla="*/ 24 w 250"/>
                    <a:gd name="T3" fmla="*/ 0 h 51"/>
                    <a:gd name="T4" fmla="*/ 0 w 250"/>
                    <a:gd name="T5" fmla="*/ 24 h 51"/>
                    <a:gd name="T6" fmla="*/ 0 w 250"/>
                    <a:gd name="T7" fmla="*/ 27 h 51"/>
                    <a:gd name="T8" fmla="*/ 24 w 250"/>
                    <a:gd name="T9" fmla="*/ 51 h 51"/>
                    <a:gd name="T10" fmla="*/ 226 w 250"/>
                    <a:gd name="T11" fmla="*/ 51 h 51"/>
                    <a:gd name="T12" fmla="*/ 250 w 250"/>
                    <a:gd name="T13" fmla="*/ 27 h 51"/>
                    <a:gd name="T14" fmla="*/ 250 w 250"/>
                    <a:gd name="T15" fmla="*/ 24 h 51"/>
                    <a:gd name="T16" fmla="*/ 226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6" y="0"/>
                      </a:moveTo>
                      <a:cubicBezTo>
                        <a:pt x="24" y="0"/>
                        <a:pt x="24" y="0"/>
                        <a:pt x="24" y="0"/>
                      </a:cubicBezTo>
                      <a:cubicBezTo>
                        <a:pt x="11" y="0"/>
                        <a:pt x="0" y="11"/>
                        <a:pt x="0" y="24"/>
                      </a:cubicBezTo>
                      <a:cubicBezTo>
                        <a:pt x="0" y="27"/>
                        <a:pt x="0" y="27"/>
                        <a:pt x="0" y="27"/>
                      </a:cubicBezTo>
                      <a:cubicBezTo>
                        <a:pt x="0" y="41"/>
                        <a:pt x="11" y="51"/>
                        <a:pt x="24" y="51"/>
                      </a:cubicBezTo>
                      <a:cubicBezTo>
                        <a:pt x="226" y="51"/>
                        <a:pt x="226" y="51"/>
                        <a:pt x="226" y="51"/>
                      </a:cubicBezTo>
                      <a:cubicBezTo>
                        <a:pt x="240" y="51"/>
                        <a:pt x="250" y="41"/>
                        <a:pt x="250" y="27"/>
                      </a:cubicBezTo>
                      <a:cubicBezTo>
                        <a:pt x="250" y="24"/>
                        <a:pt x="250" y="24"/>
                        <a:pt x="250" y="24"/>
                      </a:cubicBezTo>
                      <a:cubicBezTo>
                        <a:pt x="250" y="11"/>
                        <a:pt x="240" y="0"/>
                        <a:pt x="226"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1" name="Freeform 23">
                  <a:extLst>
                    <a:ext uri="{FF2B5EF4-FFF2-40B4-BE49-F238E27FC236}">
                      <a16:creationId xmlns:a16="http://schemas.microsoft.com/office/drawing/2014/main" id="{61B3D93D-CA1C-4835-8048-01774ABDA816}"/>
                    </a:ext>
                  </a:extLst>
                </p:cNvPr>
                <p:cNvSpPr>
                  <a:spLocks/>
                </p:cNvSpPr>
                <p:nvPr/>
              </p:nvSpPr>
              <p:spPr bwMode="auto">
                <a:xfrm>
                  <a:off x="3197349" y="2306193"/>
                  <a:ext cx="231486" cy="49430"/>
                </a:xfrm>
                <a:custGeom>
                  <a:avLst/>
                  <a:gdLst>
                    <a:gd name="T0" fmla="*/ 227 w 250"/>
                    <a:gd name="T1" fmla="*/ 0 h 51"/>
                    <a:gd name="T2" fmla="*/ 24 w 250"/>
                    <a:gd name="T3" fmla="*/ 0 h 51"/>
                    <a:gd name="T4" fmla="*/ 0 w 250"/>
                    <a:gd name="T5" fmla="*/ 24 h 51"/>
                    <a:gd name="T6" fmla="*/ 0 w 250"/>
                    <a:gd name="T7" fmla="*/ 27 h 51"/>
                    <a:gd name="T8" fmla="*/ 24 w 250"/>
                    <a:gd name="T9" fmla="*/ 51 h 51"/>
                    <a:gd name="T10" fmla="*/ 227 w 250"/>
                    <a:gd name="T11" fmla="*/ 51 h 51"/>
                    <a:gd name="T12" fmla="*/ 250 w 250"/>
                    <a:gd name="T13" fmla="*/ 27 h 51"/>
                    <a:gd name="T14" fmla="*/ 250 w 250"/>
                    <a:gd name="T15" fmla="*/ 24 h 51"/>
                    <a:gd name="T16" fmla="*/ 227 w 250"/>
                    <a:gd name="T17"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0" h="51">
                      <a:moveTo>
                        <a:pt x="227" y="0"/>
                      </a:moveTo>
                      <a:cubicBezTo>
                        <a:pt x="24" y="0"/>
                        <a:pt x="24" y="0"/>
                        <a:pt x="24" y="0"/>
                      </a:cubicBezTo>
                      <a:cubicBezTo>
                        <a:pt x="11" y="0"/>
                        <a:pt x="0" y="11"/>
                        <a:pt x="0" y="24"/>
                      </a:cubicBezTo>
                      <a:cubicBezTo>
                        <a:pt x="0" y="27"/>
                        <a:pt x="0" y="27"/>
                        <a:pt x="0" y="27"/>
                      </a:cubicBezTo>
                      <a:cubicBezTo>
                        <a:pt x="0" y="41"/>
                        <a:pt x="11" y="51"/>
                        <a:pt x="24" y="51"/>
                      </a:cubicBezTo>
                      <a:cubicBezTo>
                        <a:pt x="227" y="51"/>
                        <a:pt x="227" y="51"/>
                        <a:pt x="227" y="51"/>
                      </a:cubicBezTo>
                      <a:cubicBezTo>
                        <a:pt x="240" y="51"/>
                        <a:pt x="250" y="41"/>
                        <a:pt x="250" y="27"/>
                      </a:cubicBezTo>
                      <a:cubicBezTo>
                        <a:pt x="250" y="24"/>
                        <a:pt x="250" y="24"/>
                        <a:pt x="250" y="24"/>
                      </a:cubicBezTo>
                      <a:cubicBezTo>
                        <a:pt x="250" y="11"/>
                        <a:pt x="240" y="0"/>
                        <a:pt x="227" y="0"/>
                      </a:cubicBezTo>
                    </a:path>
                  </a:pathLst>
                </a:custGeom>
                <a:solidFill>
                  <a:srgbClr val="EAECEF">
                    <a:alpha val="66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zh-CN" altLang="en-US"/>
                </a:p>
              </p:txBody>
            </p:sp>
            <p:sp>
              <p:nvSpPr>
                <p:cNvPr id="262" name="矩形: 圆角 261">
                  <a:extLst>
                    <a:ext uri="{FF2B5EF4-FFF2-40B4-BE49-F238E27FC236}">
                      <a16:creationId xmlns:a16="http://schemas.microsoft.com/office/drawing/2014/main" id="{41055386-139A-442D-91A8-1B5CD97B491E}"/>
                    </a:ext>
                  </a:extLst>
                </p:cNvPr>
                <p:cNvSpPr>
                  <a:spLocks noChangeAspect="1"/>
                </p:cNvSpPr>
                <p:nvPr/>
              </p:nvSpPr>
              <p:spPr>
                <a:xfrm>
                  <a:off x="810452" y="3480441"/>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3" name="矩形: 圆角 262">
                  <a:extLst>
                    <a:ext uri="{FF2B5EF4-FFF2-40B4-BE49-F238E27FC236}">
                      <a16:creationId xmlns:a16="http://schemas.microsoft.com/office/drawing/2014/main" id="{F5DC8E02-0625-4CA9-A210-3FA760F32058}"/>
                    </a:ext>
                  </a:extLst>
                </p:cNvPr>
                <p:cNvSpPr>
                  <a:spLocks noChangeAspect="1"/>
                </p:cNvSpPr>
                <p:nvPr/>
              </p:nvSpPr>
              <p:spPr>
                <a:xfrm>
                  <a:off x="810452" y="3849165"/>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4" name="矩形: 圆角 263">
                  <a:extLst>
                    <a:ext uri="{FF2B5EF4-FFF2-40B4-BE49-F238E27FC236}">
                      <a16:creationId xmlns:a16="http://schemas.microsoft.com/office/drawing/2014/main" id="{174F4A25-7A8F-4CA3-A664-254C0F10638E}"/>
                    </a:ext>
                  </a:extLst>
                </p:cNvPr>
                <p:cNvSpPr>
                  <a:spLocks noChangeAspect="1"/>
                </p:cNvSpPr>
                <p:nvPr/>
              </p:nvSpPr>
              <p:spPr>
                <a:xfrm>
                  <a:off x="810452" y="4216750"/>
                  <a:ext cx="526366" cy="127814"/>
                </a:xfrm>
                <a:prstGeom prst="roundRect">
                  <a:avLst>
                    <a:gd name="adj" fmla="val 14540"/>
                  </a:avLst>
                </a:prstGeom>
                <a:gradFill>
                  <a:gsLst>
                    <a:gs pos="8000">
                      <a:srgbClr val="F0EEF2"/>
                    </a:gs>
                    <a:gs pos="100000">
                      <a:srgbClr val="F0EEF2">
                        <a:alpha val="0"/>
                      </a:srgbClr>
                    </a:gs>
                  </a:gsLst>
                  <a:lin ang="54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5" name="矩形: 圆角 264">
                  <a:extLst>
                    <a:ext uri="{FF2B5EF4-FFF2-40B4-BE49-F238E27FC236}">
                      <a16:creationId xmlns:a16="http://schemas.microsoft.com/office/drawing/2014/main" id="{41F79B51-FB01-48E2-B2CF-C41B66B2F234}"/>
                    </a:ext>
                  </a:extLst>
                </p:cNvPr>
                <p:cNvSpPr>
                  <a:spLocks noChangeAspect="1"/>
                </p:cNvSpPr>
                <p:nvPr/>
              </p:nvSpPr>
              <p:spPr>
                <a:xfrm>
                  <a:off x="1448859" y="2742992"/>
                  <a:ext cx="2578310" cy="1523165"/>
                </a:xfrm>
                <a:prstGeom prst="roundRect">
                  <a:avLst>
                    <a:gd name="adj" fmla="val 2829"/>
                  </a:avLst>
                </a:prstGeom>
                <a:noFill/>
                <a:ln w="25400">
                  <a:gradFill>
                    <a:gsLst>
                      <a:gs pos="62000">
                        <a:srgbClr val="F0EEF2"/>
                      </a:gs>
                      <a:gs pos="100000">
                        <a:srgbClr val="F0EEF2">
                          <a:alpha val="0"/>
                        </a:srgb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sp>
              <p:nvSpPr>
                <p:cNvPr id="266" name="矩形: 圆角 265">
                  <a:extLst>
                    <a:ext uri="{FF2B5EF4-FFF2-40B4-BE49-F238E27FC236}">
                      <a16:creationId xmlns:a16="http://schemas.microsoft.com/office/drawing/2014/main" id="{E3E0C10E-F4B3-4762-8F9D-7B6A06EDF4DF}"/>
                    </a:ext>
                  </a:extLst>
                </p:cNvPr>
                <p:cNvSpPr>
                  <a:spLocks noChangeAspect="1"/>
                </p:cNvSpPr>
                <p:nvPr/>
              </p:nvSpPr>
              <p:spPr>
                <a:xfrm>
                  <a:off x="810452" y="3111717"/>
                  <a:ext cx="526366" cy="310957"/>
                </a:xfrm>
                <a:prstGeom prst="roundRect">
                  <a:avLst>
                    <a:gd name="adj" fmla="val 4418"/>
                  </a:avLst>
                </a:prstGeom>
                <a:solidFill>
                  <a:srgbClr val="F0EE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a:p>
              </p:txBody>
            </p:sp>
          </p:grpSp>
          <p:grpSp>
            <p:nvGrpSpPr>
              <p:cNvPr id="8" name="组合 7">
                <a:extLst>
                  <a:ext uri="{FF2B5EF4-FFF2-40B4-BE49-F238E27FC236}">
                    <a16:creationId xmlns:a16="http://schemas.microsoft.com/office/drawing/2014/main" id="{ABD70613-6096-41EC-8B8D-800DD72A4ADC}"/>
                  </a:ext>
                </a:extLst>
              </p:cNvPr>
              <p:cNvGrpSpPr/>
              <p:nvPr/>
            </p:nvGrpSpPr>
            <p:grpSpPr>
              <a:xfrm>
                <a:off x="1658305" y="3112822"/>
                <a:ext cx="2142449" cy="735267"/>
                <a:chOff x="1658305" y="3112822"/>
                <a:chExt cx="2142449" cy="735267"/>
              </a:xfrm>
            </p:grpSpPr>
            <p:grpSp>
              <p:nvGrpSpPr>
                <p:cNvPr id="6" name="组合 5">
                  <a:extLst>
                    <a:ext uri="{FF2B5EF4-FFF2-40B4-BE49-F238E27FC236}">
                      <a16:creationId xmlns:a16="http://schemas.microsoft.com/office/drawing/2014/main" id="{8930CAB5-8483-4337-9A7A-AF126B78CB83}"/>
                    </a:ext>
                  </a:extLst>
                </p:cNvPr>
                <p:cNvGrpSpPr/>
                <p:nvPr/>
              </p:nvGrpSpPr>
              <p:grpSpPr>
                <a:xfrm>
                  <a:off x="1658305" y="3180638"/>
                  <a:ext cx="2142449" cy="617507"/>
                  <a:chOff x="1658305" y="3180638"/>
                  <a:chExt cx="2142449" cy="617507"/>
                </a:xfrm>
              </p:grpSpPr>
              <p:sp>
                <p:nvSpPr>
                  <p:cNvPr id="420" name="矩形 419">
                    <a:extLst>
                      <a:ext uri="{FF2B5EF4-FFF2-40B4-BE49-F238E27FC236}">
                        <a16:creationId xmlns:a16="http://schemas.microsoft.com/office/drawing/2014/main" id="{B63E4F93-58FC-4CD9-A34C-1104C0B05951}"/>
                      </a:ext>
                    </a:extLst>
                  </p:cNvPr>
                  <p:cNvSpPr/>
                  <p:nvPr/>
                </p:nvSpPr>
                <p:spPr>
                  <a:xfrm>
                    <a:off x="1658305" y="3180638"/>
                    <a:ext cx="2142449" cy="1097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nvGrpSpPr>
                  <p:cNvPr id="144" name="组合 143">
                    <a:extLst>
                      <a:ext uri="{FF2B5EF4-FFF2-40B4-BE49-F238E27FC236}">
                        <a16:creationId xmlns:a16="http://schemas.microsoft.com/office/drawing/2014/main" id="{428E477C-F4CA-49FF-BCAA-14A401D6124F}"/>
                      </a:ext>
                    </a:extLst>
                  </p:cNvPr>
                  <p:cNvGrpSpPr/>
                  <p:nvPr/>
                </p:nvGrpSpPr>
                <p:grpSpPr>
                  <a:xfrm>
                    <a:off x="3277302" y="3211004"/>
                    <a:ext cx="508588" cy="587141"/>
                    <a:chOff x="1703214" y="3185928"/>
                    <a:chExt cx="582258" cy="521425"/>
                  </a:xfrm>
                </p:grpSpPr>
                <p:sp>
                  <p:nvSpPr>
                    <p:cNvPr id="145" name="矩形 144">
                      <a:extLst>
                        <a:ext uri="{FF2B5EF4-FFF2-40B4-BE49-F238E27FC236}">
                          <a16:creationId xmlns:a16="http://schemas.microsoft.com/office/drawing/2014/main" id="{249614F1-31F8-42D0-BCAF-3758E46C4D47}"/>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46" name="矩形 145">
                      <a:extLst>
                        <a:ext uri="{FF2B5EF4-FFF2-40B4-BE49-F238E27FC236}">
                          <a16:creationId xmlns:a16="http://schemas.microsoft.com/office/drawing/2014/main" id="{184CA460-5482-4CA9-949D-41F2E9F5C978}"/>
                        </a:ext>
                      </a:extLst>
                    </p:cNvPr>
                    <p:cNvSpPr/>
                    <p:nvPr/>
                  </p:nvSpPr>
                  <p:spPr>
                    <a:xfrm>
                      <a:off x="1703214"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51" name="矩形 150">
                      <a:extLst>
                        <a:ext uri="{FF2B5EF4-FFF2-40B4-BE49-F238E27FC236}">
                          <a16:creationId xmlns:a16="http://schemas.microsoft.com/office/drawing/2014/main" id="{8F9D1724-52B7-4FFD-845E-8DBA04B24E52}"/>
                        </a:ext>
                      </a:extLst>
                    </p:cNvPr>
                    <p:cNvSpPr/>
                    <p:nvPr/>
                  </p:nvSpPr>
                  <p:spPr>
                    <a:xfrm>
                      <a:off x="1703214"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nvGrpSpPr>
                  <p:cNvPr id="115" name="组合 114">
                    <a:extLst>
                      <a:ext uri="{FF2B5EF4-FFF2-40B4-BE49-F238E27FC236}">
                        <a16:creationId xmlns:a16="http://schemas.microsoft.com/office/drawing/2014/main" id="{6FCD523C-D437-4D55-B9CC-5D9A81B8C342}"/>
                      </a:ext>
                    </a:extLst>
                  </p:cNvPr>
                  <p:cNvGrpSpPr/>
                  <p:nvPr/>
                </p:nvGrpSpPr>
                <p:grpSpPr>
                  <a:xfrm>
                    <a:off x="1658305" y="3211004"/>
                    <a:ext cx="508588" cy="587141"/>
                    <a:chOff x="1703214" y="3185928"/>
                    <a:chExt cx="582258" cy="521425"/>
                  </a:xfrm>
                </p:grpSpPr>
                <p:sp>
                  <p:nvSpPr>
                    <p:cNvPr id="116" name="矩形 115">
                      <a:extLst>
                        <a:ext uri="{FF2B5EF4-FFF2-40B4-BE49-F238E27FC236}">
                          <a16:creationId xmlns:a16="http://schemas.microsoft.com/office/drawing/2014/main" id="{B5D3C64A-AEE1-4FD6-9C15-31AA498B0F1B}"/>
                        </a:ext>
                      </a:extLst>
                    </p:cNvPr>
                    <p:cNvSpPr/>
                    <p:nvPr/>
                  </p:nvSpPr>
                  <p:spPr>
                    <a:xfrm>
                      <a:off x="1703214" y="3185928"/>
                      <a:ext cx="582258"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7" name="矩形 116">
                      <a:extLst>
                        <a:ext uri="{FF2B5EF4-FFF2-40B4-BE49-F238E27FC236}">
                          <a16:creationId xmlns:a16="http://schemas.microsoft.com/office/drawing/2014/main" id="{B2E1FCBE-42A4-437B-8553-EAB3B53856F9}"/>
                        </a:ext>
                      </a:extLst>
                    </p:cNvPr>
                    <p:cNvSpPr/>
                    <p:nvPr/>
                  </p:nvSpPr>
                  <p:spPr>
                    <a:xfrm>
                      <a:off x="1755000" y="3388853"/>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18" name="矩形 117">
                      <a:extLst>
                        <a:ext uri="{FF2B5EF4-FFF2-40B4-BE49-F238E27FC236}">
                          <a16:creationId xmlns:a16="http://schemas.microsoft.com/office/drawing/2014/main" id="{7474610A-07F9-4CF1-BC40-89C9BB9BB0CD}"/>
                        </a:ext>
                      </a:extLst>
                    </p:cNvPr>
                    <p:cNvSpPr/>
                    <p:nvPr/>
                  </p:nvSpPr>
                  <p:spPr>
                    <a:xfrm>
                      <a:off x="1755000" y="3602089"/>
                      <a:ext cx="530472" cy="105264"/>
                    </a:xfrm>
                    <a:prstGeom prst="rect">
                      <a:avLst/>
                    </a:prstGeom>
                    <a:solidFill>
                      <a:srgbClr val="E7E5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grpSp>
            <p:grpSp>
              <p:nvGrpSpPr>
                <p:cNvPr id="125" name="组合 124">
                  <a:extLst>
                    <a:ext uri="{FF2B5EF4-FFF2-40B4-BE49-F238E27FC236}">
                      <a16:creationId xmlns:a16="http://schemas.microsoft.com/office/drawing/2014/main" id="{D547E991-E245-4756-ABC3-162D239AE546}"/>
                    </a:ext>
                  </a:extLst>
                </p:cNvPr>
                <p:cNvGrpSpPr/>
                <p:nvPr/>
              </p:nvGrpSpPr>
              <p:grpSpPr>
                <a:xfrm>
                  <a:off x="2346134" y="3112822"/>
                  <a:ext cx="735363" cy="735267"/>
                  <a:chOff x="2347940" y="3126117"/>
                  <a:chExt cx="483318" cy="483256"/>
                </a:xfrm>
              </p:grpSpPr>
              <p:grpSp>
                <p:nvGrpSpPr>
                  <p:cNvPr id="148" name="组合 14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792ECA9-35B8-4DAA-8E32-FF776BEFAA8C}"/>
                      </a:ext>
                    </a:extLst>
                  </p:cNvPr>
                  <p:cNvGrpSpPr/>
                  <p:nvPr/>
                </p:nvGrpSpPr>
                <p:grpSpPr>
                  <a:xfrm>
                    <a:off x="2390718" y="3167761"/>
                    <a:ext cx="439014" cy="405868"/>
                    <a:chOff x="3614738" y="1136650"/>
                    <a:chExt cx="4983163" cy="4606926"/>
                  </a:xfrm>
                </p:grpSpPr>
                <p:sp>
                  <p:nvSpPr>
                    <p:cNvPr id="172" name="is1íḍe">
                      <a:extLst>
                        <a:ext uri="{FF2B5EF4-FFF2-40B4-BE49-F238E27FC236}">
                          <a16:creationId xmlns:a16="http://schemas.microsoft.com/office/drawing/2014/main" id="{7300A892-52D6-4FC8-97C8-F014231C6371}"/>
                        </a:ext>
                      </a:extLst>
                    </p:cNvPr>
                    <p:cNvSpPr/>
                    <p:nvPr/>
                  </p:nvSpPr>
                  <p:spPr bwMode="auto">
                    <a:xfrm>
                      <a:off x="3614738" y="2106613"/>
                      <a:ext cx="749300" cy="36369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3" name="í$1idè">
                      <a:extLst>
                        <a:ext uri="{FF2B5EF4-FFF2-40B4-BE49-F238E27FC236}">
                          <a16:creationId xmlns:a16="http://schemas.microsoft.com/office/drawing/2014/main" id="{E651A605-77AA-4A19-882D-2205DD97AE5C}"/>
                        </a:ext>
                      </a:extLst>
                    </p:cNvPr>
                    <p:cNvSpPr/>
                    <p:nvPr/>
                  </p:nvSpPr>
                  <p:spPr bwMode="auto">
                    <a:xfrm>
                      <a:off x="3614738" y="2106613"/>
                      <a:ext cx="749300" cy="1123950"/>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5" name="ïšļíḋe">
                      <a:extLst>
                        <a:ext uri="{FF2B5EF4-FFF2-40B4-BE49-F238E27FC236}">
                          <a16:creationId xmlns:a16="http://schemas.microsoft.com/office/drawing/2014/main" id="{93BCA23C-0BFA-4276-A259-9BC068380DFF}"/>
                        </a:ext>
                      </a:extLst>
                    </p:cNvPr>
                    <p:cNvSpPr/>
                    <p:nvPr/>
                  </p:nvSpPr>
                  <p:spPr bwMode="auto">
                    <a:xfrm>
                      <a:off x="4651376" y="2459038"/>
                      <a:ext cx="771525" cy="328453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7" name="îŝ1iḑé">
                      <a:extLst>
                        <a:ext uri="{FF2B5EF4-FFF2-40B4-BE49-F238E27FC236}">
                          <a16:creationId xmlns:a16="http://schemas.microsoft.com/office/drawing/2014/main" id="{10B7CF8B-66AA-467E-8697-5CD2EDB1B7A3}"/>
                        </a:ext>
                      </a:extLst>
                    </p:cNvPr>
                    <p:cNvSpPr/>
                    <p:nvPr/>
                  </p:nvSpPr>
                  <p:spPr bwMode="auto">
                    <a:xfrm>
                      <a:off x="4651376" y="2459038"/>
                      <a:ext cx="771525" cy="5730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8" name="iṥľiďè">
                      <a:extLst>
                        <a:ext uri="{FF2B5EF4-FFF2-40B4-BE49-F238E27FC236}">
                          <a16:creationId xmlns:a16="http://schemas.microsoft.com/office/drawing/2014/main" id="{FE9EF3D1-92DD-492C-98B9-A091F0878257}"/>
                        </a:ext>
                      </a:extLst>
                    </p:cNvPr>
                    <p:cNvSpPr/>
                    <p:nvPr/>
                  </p:nvSpPr>
                  <p:spPr bwMode="auto">
                    <a:xfrm>
                      <a:off x="5708651" y="2833688"/>
                      <a:ext cx="750888" cy="2909888"/>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79" name="ïšļiḓè">
                      <a:extLst>
                        <a:ext uri="{FF2B5EF4-FFF2-40B4-BE49-F238E27FC236}">
                          <a16:creationId xmlns:a16="http://schemas.microsoft.com/office/drawing/2014/main" id="{A9986595-E9BD-4DFA-8305-0106C2BBC0C4}"/>
                        </a:ext>
                      </a:extLst>
                    </p:cNvPr>
                    <p:cNvSpPr/>
                    <p:nvPr/>
                  </p:nvSpPr>
                  <p:spPr bwMode="auto">
                    <a:xfrm>
                      <a:off x="5708651" y="2833688"/>
                      <a:ext cx="750888" cy="6619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0" name="î$ḷîdê">
                      <a:extLst>
                        <a:ext uri="{FF2B5EF4-FFF2-40B4-BE49-F238E27FC236}">
                          <a16:creationId xmlns:a16="http://schemas.microsoft.com/office/drawing/2014/main" id="{FDBF8C09-95F1-4988-94D3-41A044816D66}"/>
                        </a:ext>
                      </a:extLst>
                    </p:cNvPr>
                    <p:cNvSpPr/>
                    <p:nvPr/>
                  </p:nvSpPr>
                  <p:spPr bwMode="auto">
                    <a:xfrm>
                      <a:off x="6745288" y="3605213"/>
                      <a:ext cx="750888" cy="2138363"/>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81" name="ïṡḻïdê">
                      <a:extLst>
                        <a:ext uri="{FF2B5EF4-FFF2-40B4-BE49-F238E27FC236}">
                          <a16:creationId xmlns:a16="http://schemas.microsoft.com/office/drawing/2014/main" id="{583D8013-84F0-4EA1-A878-6EB6329FEE7B}"/>
                        </a:ext>
                      </a:extLst>
                    </p:cNvPr>
                    <p:cNvSpPr/>
                    <p:nvPr/>
                  </p:nvSpPr>
                  <p:spPr bwMode="auto">
                    <a:xfrm>
                      <a:off x="6745288" y="3605213"/>
                      <a:ext cx="750888" cy="396875"/>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0" name="ïšľïḑè">
                      <a:extLst>
                        <a:ext uri="{FF2B5EF4-FFF2-40B4-BE49-F238E27FC236}">
                          <a16:creationId xmlns:a16="http://schemas.microsoft.com/office/drawing/2014/main" id="{C2A01DFE-AD94-4D0E-B924-F5607FAAB597}"/>
                        </a:ext>
                      </a:extLst>
                    </p:cNvPr>
                    <p:cNvSpPr/>
                    <p:nvPr/>
                  </p:nvSpPr>
                  <p:spPr bwMode="auto">
                    <a:xfrm>
                      <a:off x="7781926" y="4464050"/>
                      <a:ext cx="771525" cy="1279525"/>
                    </a:xfrm>
                    <a:prstGeom prst="rect">
                      <a:avLst/>
                    </a:prstGeom>
                    <a:solidFill>
                      <a:srgbClr val="8FD5E6"/>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1" name="ïSľíḍê">
                      <a:extLst>
                        <a:ext uri="{FF2B5EF4-FFF2-40B4-BE49-F238E27FC236}">
                          <a16:creationId xmlns:a16="http://schemas.microsoft.com/office/drawing/2014/main" id="{95266D5E-A9C5-4F7B-837F-B42E08BB70DE}"/>
                        </a:ext>
                      </a:extLst>
                    </p:cNvPr>
                    <p:cNvSpPr/>
                    <p:nvPr/>
                  </p:nvSpPr>
                  <p:spPr bwMode="auto">
                    <a:xfrm>
                      <a:off x="7781926" y="4464050"/>
                      <a:ext cx="771525" cy="331788"/>
                    </a:xfrm>
                    <a:prstGeom prst="rect">
                      <a:avLst/>
                    </a:prstGeom>
                    <a:solidFill>
                      <a:srgbClr val="3787BC"/>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p>
                      <a:pPr algn="ctr"/>
                      <a:endParaRPr/>
                    </a:p>
                  </p:txBody>
                </p:sp>
                <p:sp>
                  <p:nvSpPr>
                    <p:cNvPr id="192" name="îṡlïḋe">
                      <a:extLst>
                        <a:ext uri="{FF2B5EF4-FFF2-40B4-BE49-F238E27FC236}">
                          <a16:creationId xmlns:a16="http://schemas.microsoft.com/office/drawing/2014/main" id="{67766430-F557-47F5-892F-15130FBD695A}"/>
                        </a:ext>
                      </a:extLst>
                    </p:cNvPr>
                    <p:cNvSpPr/>
                    <p:nvPr/>
                  </p:nvSpPr>
                  <p:spPr bwMode="auto">
                    <a:xfrm>
                      <a:off x="3657601" y="1136650"/>
                      <a:ext cx="4940300" cy="2865438"/>
                    </a:xfrm>
                    <a:custGeom>
                      <a:avLst/>
                      <a:gdLst>
                        <a:gd name="T0" fmla="*/ 3112 w 3112"/>
                        <a:gd name="T1" fmla="*/ 1305 h 1805"/>
                        <a:gd name="T2" fmla="*/ 3112 w 3112"/>
                        <a:gd name="T3" fmla="*/ 1805 h 1805"/>
                        <a:gd name="T4" fmla="*/ 2612 w 3112"/>
                        <a:gd name="T5" fmla="*/ 1624 h 1805"/>
                        <a:gd name="T6" fmla="*/ 2765 w 3112"/>
                        <a:gd name="T7" fmla="*/ 1527 h 1805"/>
                        <a:gd name="T8" fmla="*/ 2515 w 3112"/>
                        <a:gd name="T9" fmla="*/ 1166 h 1805"/>
                        <a:gd name="T10" fmla="*/ 2195 w 3112"/>
                        <a:gd name="T11" fmla="*/ 1222 h 1805"/>
                        <a:gd name="T12" fmla="*/ 1890 w 3112"/>
                        <a:gd name="T13" fmla="*/ 764 h 1805"/>
                        <a:gd name="T14" fmla="*/ 1570 w 3112"/>
                        <a:gd name="T15" fmla="*/ 875 h 1805"/>
                        <a:gd name="T16" fmla="*/ 1084 w 3112"/>
                        <a:gd name="T17" fmla="*/ 417 h 1805"/>
                        <a:gd name="T18" fmla="*/ 848 w 3112"/>
                        <a:gd name="T19" fmla="*/ 556 h 1805"/>
                        <a:gd name="T20" fmla="*/ 0 w 3112"/>
                        <a:gd name="T21" fmla="*/ 236 h 1805"/>
                        <a:gd name="T22" fmla="*/ 84 w 3112"/>
                        <a:gd name="T23" fmla="*/ 0 h 1805"/>
                        <a:gd name="T24" fmla="*/ 820 w 3112"/>
                        <a:gd name="T25" fmla="*/ 278 h 1805"/>
                        <a:gd name="T26" fmla="*/ 1112 w 3112"/>
                        <a:gd name="T27" fmla="*/ 111 h 1805"/>
                        <a:gd name="T28" fmla="*/ 1626 w 3112"/>
                        <a:gd name="T29" fmla="*/ 583 h 1805"/>
                        <a:gd name="T30" fmla="*/ 1987 w 3112"/>
                        <a:gd name="T31" fmla="*/ 458 h 1805"/>
                        <a:gd name="T32" fmla="*/ 2320 w 3112"/>
                        <a:gd name="T33" fmla="*/ 944 h 1805"/>
                        <a:gd name="T34" fmla="*/ 2626 w 3112"/>
                        <a:gd name="T35" fmla="*/ 875 h 1805"/>
                        <a:gd name="T36" fmla="*/ 2973 w 3112"/>
                        <a:gd name="T37" fmla="*/ 1388 h 1805"/>
                        <a:gd name="T38" fmla="*/ 3112 w 3112"/>
                        <a:gd name="T39" fmla="*/ 1305 h 18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112" h="1805">
                          <a:moveTo>
                            <a:pt x="3112" y="1305"/>
                          </a:moveTo>
                          <a:lnTo>
                            <a:pt x="3112" y="1805"/>
                          </a:lnTo>
                          <a:lnTo>
                            <a:pt x="2612" y="1624"/>
                          </a:lnTo>
                          <a:lnTo>
                            <a:pt x="2765" y="1527"/>
                          </a:lnTo>
                          <a:lnTo>
                            <a:pt x="2515" y="1166"/>
                          </a:lnTo>
                          <a:lnTo>
                            <a:pt x="2195" y="1222"/>
                          </a:lnTo>
                          <a:lnTo>
                            <a:pt x="1890" y="764"/>
                          </a:lnTo>
                          <a:lnTo>
                            <a:pt x="1570" y="875"/>
                          </a:lnTo>
                          <a:lnTo>
                            <a:pt x="1084" y="417"/>
                          </a:lnTo>
                          <a:lnTo>
                            <a:pt x="848" y="556"/>
                          </a:lnTo>
                          <a:lnTo>
                            <a:pt x="0" y="236"/>
                          </a:lnTo>
                          <a:lnTo>
                            <a:pt x="84" y="0"/>
                          </a:lnTo>
                          <a:lnTo>
                            <a:pt x="820" y="278"/>
                          </a:lnTo>
                          <a:lnTo>
                            <a:pt x="1112" y="111"/>
                          </a:lnTo>
                          <a:lnTo>
                            <a:pt x="1626" y="583"/>
                          </a:lnTo>
                          <a:lnTo>
                            <a:pt x="1987" y="458"/>
                          </a:lnTo>
                          <a:lnTo>
                            <a:pt x="2320" y="944"/>
                          </a:lnTo>
                          <a:lnTo>
                            <a:pt x="2626" y="875"/>
                          </a:lnTo>
                          <a:lnTo>
                            <a:pt x="2973" y="1388"/>
                          </a:lnTo>
                          <a:lnTo>
                            <a:pt x="3112" y="1305"/>
                          </a:lnTo>
                          <a:close/>
                        </a:path>
                      </a:pathLst>
                    </a:custGeom>
                    <a:solidFill>
                      <a:srgbClr val="FD5A1E"/>
                    </a:solidFill>
                    <a:ln>
                      <a:noFill/>
                    </a:ln>
                    <a:extLst>
                      <a:ext uri="{91240B29-F687-4F45-9708-019B960494DF}">
                        <a14:hiddenLine xmlns:a14="http://schemas.microsoft.com/office/drawing/2010/main" w="9525">
                          <a:solidFill>
                            <a:srgbClr val="000000"/>
                          </a:solidFill>
                          <a:round/>
                          <a:headEnd/>
                          <a:tailEnd/>
                        </a14:hiddenLine>
                      </a:ext>
                    </a:extLst>
                  </p:spPr>
                  <p:txBody>
                    <a:bodyPr anchor="ctr"/>
                    <a:lstStyle/>
                    <a:p>
                      <a:pPr algn="ctr"/>
                      <a:endParaRPr/>
                    </a:p>
                  </p:txBody>
                </p:sp>
              </p:grpSp>
              <p:grpSp>
                <p:nvGrpSpPr>
                  <p:cNvPr id="159" name="组合 158">
                    <a:extLst>
                      <a:ext uri="{FF2B5EF4-FFF2-40B4-BE49-F238E27FC236}">
                        <a16:creationId xmlns:a16="http://schemas.microsoft.com/office/drawing/2014/main" id="{6DC6394F-8C5C-496E-9A89-D0217FF2C63E}"/>
                      </a:ext>
                    </a:extLst>
                  </p:cNvPr>
                  <p:cNvGrpSpPr/>
                  <p:nvPr/>
                </p:nvGrpSpPr>
                <p:grpSpPr>
                  <a:xfrm>
                    <a:off x="2347940" y="3126117"/>
                    <a:ext cx="483318" cy="483256"/>
                    <a:chOff x="4992153" y="5058387"/>
                    <a:chExt cx="183315" cy="183292"/>
                  </a:xfrm>
                </p:grpSpPr>
                <p:sp>
                  <p:nvSpPr>
                    <p:cNvPr id="161" name="矩形 160">
                      <a:extLst>
                        <a:ext uri="{FF2B5EF4-FFF2-40B4-BE49-F238E27FC236}">
                          <a16:creationId xmlns:a16="http://schemas.microsoft.com/office/drawing/2014/main" id="{399AFA40-3447-4964-9CEE-0EC831C34235}"/>
                        </a:ext>
                      </a:extLst>
                    </p:cNvPr>
                    <p:cNvSpPr/>
                    <p:nvPr/>
                  </p:nvSpPr>
                  <p:spPr>
                    <a:xfrm>
                      <a:off x="5001989" y="5068223"/>
                      <a:ext cx="164175" cy="164176"/>
                    </a:xfrm>
                    <a:prstGeom prst="rect">
                      <a:avLst/>
                    </a:prstGeom>
                    <a:no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sp>
                  <p:nvSpPr>
                    <p:cNvPr id="162" name="椭圆 161">
                      <a:extLst>
                        <a:ext uri="{FF2B5EF4-FFF2-40B4-BE49-F238E27FC236}">
                          <a16:creationId xmlns:a16="http://schemas.microsoft.com/office/drawing/2014/main" id="{90FDF72F-9763-42E5-A6EE-AB9C8BCED68D}"/>
                        </a:ext>
                      </a:extLst>
                    </p:cNvPr>
                    <p:cNvSpPr/>
                    <p:nvPr/>
                  </p:nvSpPr>
                  <p:spPr>
                    <a:xfrm flipH="1">
                      <a:off x="4992153"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3" name="椭圆 162">
                      <a:extLst>
                        <a:ext uri="{FF2B5EF4-FFF2-40B4-BE49-F238E27FC236}">
                          <a16:creationId xmlns:a16="http://schemas.microsoft.com/office/drawing/2014/main" id="{AD2C9A9D-37D3-408E-B9CD-1BB04F798DF5}"/>
                        </a:ext>
                      </a:extLst>
                    </p:cNvPr>
                    <p:cNvSpPr/>
                    <p:nvPr/>
                  </p:nvSpPr>
                  <p:spPr>
                    <a:xfrm flipH="1">
                      <a:off x="5073974"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4" name="椭圆 163">
                      <a:extLst>
                        <a:ext uri="{FF2B5EF4-FFF2-40B4-BE49-F238E27FC236}">
                          <a16:creationId xmlns:a16="http://schemas.microsoft.com/office/drawing/2014/main" id="{1D0EE2BC-DF49-481F-929D-8C9BA398BBA2}"/>
                        </a:ext>
                      </a:extLst>
                    </p:cNvPr>
                    <p:cNvSpPr/>
                    <p:nvPr/>
                  </p:nvSpPr>
                  <p:spPr>
                    <a:xfrm flipH="1">
                      <a:off x="5155795" y="5058387"/>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5" name="椭圆 164">
                      <a:extLst>
                        <a:ext uri="{FF2B5EF4-FFF2-40B4-BE49-F238E27FC236}">
                          <a16:creationId xmlns:a16="http://schemas.microsoft.com/office/drawing/2014/main" id="{58EC95FA-8C88-47BC-BD51-4CC7EB60C8BC}"/>
                        </a:ext>
                      </a:extLst>
                    </p:cNvPr>
                    <p:cNvSpPr/>
                    <p:nvPr/>
                  </p:nvSpPr>
                  <p:spPr>
                    <a:xfrm flipH="1">
                      <a:off x="4992153"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6" name="椭圆 165">
                      <a:extLst>
                        <a:ext uri="{FF2B5EF4-FFF2-40B4-BE49-F238E27FC236}">
                          <a16:creationId xmlns:a16="http://schemas.microsoft.com/office/drawing/2014/main" id="{10C3AA87-0B53-4E76-AA2E-5646E50538E7}"/>
                        </a:ext>
                      </a:extLst>
                    </p:cNvPr>
                    <p:cNvSpPr/>
                    <p:nvPr/>
                  </p:nvSpPr>
                  <p:spPr>
                    <a:xfrm flipH="1">
                      <a:off x="5073974"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9" name="椭圆 168">
                      <a:extLst>
                        <a:ext uri="{FF2B5EF4-FFF2-40B4-BE49-F238E27FC236}">
                          <a16:creationId xmlns:a16="http://schemas.microsoft.com/office/drawing/2014/main" id="{67A30F83-F3C9-43E9-B4A9-E6072FAA88B4}"/>
                        </a:ext>
                      </a:extLst>
                    </p:cNvPr>
                    <p:cNvSpPr/>
                    <p:nvPr/>
                  </p:nvSpPr>
                  <p:spPr>
                    <a:xfrm flipH="1">
                      <a:off x="5155795" y="5222006"/>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0" name="椭圆 169">
                      <a:extLst>
                        <a:ext uri="{FF2B5EF4-FFF2-40B4-BE49-F238E27FC236}">
                          <a16:creationId xmlns:a16="http://schemas.microsoft.com/office/drawing/2014/main" id="{6458C571-B498-46DB-894D-6847927717A2}"/>
                        </a:ext>
                      </a:extLst>
                    </p:cNvPr>
                    <p:cNvSpPr/>
                    <p:nvPr/>
                  </p:nvSpPr>
                  <p:spPr>
                    <a:xfrm flipH="1">
                      <a:off x="4992153"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1" name="椭圆 170">
                      <a:extLst>
                        <a:ext uri="{FF2B5EF4-FFF2-40B4-BE49-F238E27FC236}">
                          <a16:creationId xmlns:a16="http://schemas.microsoft.com/office/drawing/2014/main" id="{6E4B5F08-2340-4ECD-8339-403C4F7CEE43}"/>
                        </a:ext>
                      </a:extLst>
                    </p:cNvPr>
                    <p:cNvSpPr/>
                    <p:nvPr/>
                  </p:nvSpPr>
                  <p:spPr>
                    <a:xfrm flipH="1">
                      <a:off x="5155790" y="5136664"/>
                      <a:ext cx="19673" cy="19673"/>
                    </a:xfrm>
                    <a:prstGeom prst="ellipse">
                      <a:avLst/>
                    </a:prstGeom>
                    <a:solidFill>
                      <a:schemeClr val="bg1"/>
                    </a:solidFill>
                    <a:ln w="63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grpSp>
      </p:grpSp>
      <p:sp>
        <p:nvSpPr>
          <p:cNvPr id="2" name="矩形 1">
            <a:extLst>
              <a:ext uri="{FF2B5EF4-FFF2-40B4-BE49-F238E27FC236}">
                <a16:creationId xmlns:a16="http://schemas.microsoft.com/office/drawing/2014/main" id="{4B1FB9A7-85C6-45C8-A73A-210A68B9C2B7}"/>
              </a:ext>
            </a:extLst>
          </p:cNvPr>
          <p:cNvSpPr/>
          <p:nvPr/>
        </p:nvSpPr>
        <p:spPr>
          <a:xfrm>
            <a:off x="8978025" y="128575"/>
            <a:ext cx="2540875" cy="771556"/>
          </a:xfrm>
          <a:prstGeom prst="rect">
            <a:avLst/>
          </a:prstGeom>
          <a:solidFill>
            <a:srgbClr val="F73434"/>
          </a:solidFill>
          <a:ln w="12700">
            <a:noFill/>
            <a:prstDash val="sysDash"/>
          </a:ln>
        </p:spPr>
        <p:txBody>
          <a:bodyPr wrap="square" lIns="91440" tIns="91440" rIns="91440" bIns="91440" rtlCol="0" anchor="ctr">
            <a:noAutofit/>
          </a:bodyPr>
          <a:lstStyle/>
          <a:p>
            <a:pPr>
              <a:lnSpc>
                <a:spcPct val="120000"/>
              </a:lnSpc>
            </a:pPr>
            <a:r>
              <a:rPr lang="en-US" altLang="zh-CN" sz="800" b="1" dirty="0">
                <a:solidFill>
                  <a:schemeClr val="bg1"/>
                </a:solidFill>
              </a:rPr>
              <a:t>Note:</a:t>
            </a:r>
          </a:p>
          <a:p>
            <a:pPr>
              <a:lnSpc>
                <a:spcPct val="120000"/>
              </a:lnSpc>
            </a:pPr>
            <a:r>
              <a:rPr lang="en-US" altLang="zh-CN" sz="800" dirty="0">
                <a:solidFill>
                  <a:schemeClr val="bg1"/>
                </a:solidFill>
              </a:rPr>
              <a:t>This slide is an instruction. Please delete this slide before using it for presentation.</a:t>
            </a:r>
          </a:p>
        </p:txBody>
      </p:sp>
    </p:spTree>
    <p:extLst>
      <p:ext uri="{BB962C8B-B14F-4D97-AF65-F5344CB8AC3E}">
        <p14:creationId xmlns:p14="http://schemas.microsoft.com/office/powerpoint/2010/main" val="396285567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show="0">
  <p:cSld>
    <p:bg>
      <p:bgPr>
        <a:solidFill>
          <a:schemeClr val="bg1"/>
        </a:solidFill>
        <a:effectLst/>
      </p:bgPr>
    </p:bg>
    <p:spTree>
      <p:nvGrpSpPr>
        <p:cNvPr id="1" name=""/>
        <p:cNvGrpSpPr/>
        <p:nvPr/>
      </p:nvGrpSpPr>
      <p:grpSpPr>
        <a:xfrm>
          <a:off x="0" y="0"/>
          <a:ext cx="0" cy="0"/>
          <a:chOff x="0" y="0"/>
          <a:chExt cx="0" cy="0"/>
        </a:xfrm>
      </p:grpSpPr>
      <p:grpSp>
        <p:nvGrpSpPr>
          <p:cNvPr id="47" name="组合 46">
            <a:extLst>
              <a:ext uri="{FF2B5EF4-FFF2-40B4-BE49-F238E27FC236}">
                <a16:creationId xmlns:a16="http://schemas.microsoft.com/office/drawing/2014/main" id="{C3B8E65B-8D23-4A0C-BA0F-4099D6663359}"/>
              </a:ext>
            </a:extLst>
          </p:cNvPr>
          <p:cNvGrpSpPr/>
          <p:nvPr/>
        </p:nvGrpSpPr>
        <p:grpSpPr>
          <a:xfrm>
            <a:off x="5252647" y="0"/>
            <a:ext cx="6939359" cy="6858000"/>
            <a:chOff x="5252643" y="0"/>
            <a:chExt cx="6939358" cy="6858000"/>
          </a:xfrm>
          <a:solidFill>
            <a:srgbClr val="F7F7F7"/>
          </a:solidFill>
        </p:grpSpPr>
        <p:sp>
          <p:nvSpPr>
            <p:cNvPr id="48" name="任意多边形: 形状 47">
              <a:extLst>
                <a:ext uri="{FF2B5EF4-FFF2-40B4-BE49-F238E27FC236}">
                  <a16:creationId xmlns:a16="http://schemas.microsoft.com/office/drawing/2014/main" id="{318E7F1B-E2A0-4D9A-826C-3801FAA34DB1}"/>
                </a:ext>
              </a:extLst>
            </p:cNvPr>
            <p:cNvSpPr>
              <a:spLocks/>
            </p:cNvSpPr>
            <p:nvPr/>
          </p:nvSpPr>
          <p:spPr>
            <a:xfrm rot="19800000">
              <a:off x="7350845" y="2199545"/>
              <a:ext cx="2772000" cy="2772000"/>
            </a:xfrm>
            <a:custGeom>
              <a:avLst/>
              <a:gdLst>
                <a:gd name="connsiteX0" fmla="*/ 786764 w 1905000"/>
                <a:gd name="connsiteY0" fmla="*/ 1857375 h 1866900"/>
                <a:gd name="connsiteX1" fmla="*/ 1116329 w 1905000"/>
                <a:gd name="connsiteY1" fmla="*/ 1857375 h 1866900"/>
                <a:gd name="connsiteX2" fmla="*/ 1047749 w 1905000"/>
                <a:gd name="connsiteY2" fmla="*/ 1866900 h 1866900"/>
                <a:gd name="connsiteX3" fmla="*/ 855344 w 1905000"/>
                <a:gd name="connsiteY3" fmla="*/ 1866900 h 1866900"/>
                <a:gd name="connsiteX4" fmla="*/ 786764 w 1905000"/>
                <a:gd name="connsiteY4" fmla="*/ 1857375 h 1866900"/>
                <a:gd name="connsiteX5" fmla="*/ 614362 w 1905000"/>
                <a:gd name="connsiteY5" fmla="*/ 1809750 h 1866900"/>
                <a:gd name="connsiteX6" fmla="*/ 1290637 w 1905000"/>
                <a:gd name="connsiteY6" fmla="*/ 1809750 h 1866900"/>
                <a:gd name="connsiteX7" fmla="*/ 1263967 w 1905000"/>
                <a:gd name="connsiteY7" fmla="*/ 1819275 h 1866900"/>
                <a:gd name="connsiteX8" fmla="*/ 640079 w 1905000"/>
                <a:gd name="connsiteY8" fmla="*/ 1819275 h 1866900"/>
                <a:gd name="connsiteX9" fmla="*/ 614362 w 1905000"/>
                <a:gd name="connsiteY9" fmla="*/ 1809750 h 1866900"/>
                <a:gd name="connsiteX10" fmla="*/ 509587 w 1905000"/>
                <a:gd name="connsiteY10" fmla="*/ 1762125 h 1866900"/>
                <a:gd name="connsiteX11" fmla="*/ 1396365 w 1905000"/>
                <a:gd name="connsiteY11" fmla="*/ 1762125 h 1866900"/>
                <a:gd name="connsiteX12" fmla="*/ 1377315 w 1905000"/>
                <a:gd name="connsiteY12" fmla="*/ 1771650 h 1866900"/>
                <a:gd name="connsiteX13" fmla="*/ 527685 w 1905000"/>
                <a:gd name="connsiteY13" fmla="*/ 1771650 h 1866900"/>
                <a:gd name="connsiteX14" fmla="*/ 509587 w 1905000"/>
                <a:gd name="connsiteY14" fmla="*/ 1762125 h 1866900"/>
                <a:gd name="connsiteX15" fmla="*/ 428625 w 1905000"/>
                <a:gd name="connsiteY15" fmla="*/ 1714500 h 1866900"/>
                <a:gd name="connsiteX16" fmla="*/ 1478280 w 1905000"/>
                <a:gd name="connsiteY16" fmla="*/ 1714500 h 1866900"/>
                <a:gd name="connsiteX17" fmla="*/ 1463040 w 1905000"/>
                <a:gd name="connsiteY17" fmla="*/ 1724025 h 1866900"/>
                <a:gd name="connsiteX18" fmla="*/ 443865 w 1905000"/>
                <a:gd name="connsiteY18" fmla="*/ 1724025 h 1866900"/>
                <a:gd name="connsiteX19" fmla="*/ 428625 w 1905000"/>
                <a:gd name="connsiteY19" fmla="*/ 1714500 h 1866900"/>
                <a:gd name="connsiteX20" fmla="*/ 362902 w 1905000"/>
                <a:gd name="connsiteY20" fmla="*/ 1666875 h 1866900"/>
                <a:gd name="connsiteX21" fmla="*/ 1544002 w 1905000"/>
                <a:gd name="connsiteY21" fmla="*/ 1666875 h 1866900"/>
                <a:gd name="connsiteX22" fmla="*/ 1531620 w 1905000"/>
                <a:gd name="connsiteY22" fmla="*/ 1676400 h 1866900"/>
                <a:gd name="connsiteX23" fmla="*/ 375285 w 1905000"/>
                <a:gd name="connsiteY23" fmla="*/ 1676400 h 1866900"/>
                <a:gd name="connsiteX24" fmla="*/ 362902 w 1905000"/>
                <a:gd name="connsiteY24" fmla="*/ 1666875 h 1866900"/>
                <a:gd name="connsiteX25" fmla="*/ 306705 w 1905000"/>
                <a:gd name="connsiteY25" fmla="*/ 1619250 h 1866900"/>
                <a:gd name="connsiteX26" fmla="*/ 1599247 w 1905000"/>
                <a:gd name="connsiteY26" fmla="*/ 1619250 h 1866900"/>
                <a:gd name="connsiteX27" fmla="*/ 1588770 w 1905000"/>
                <a:gd name="connsiteY27" fmla="*/ 1628775 h 1866900"/>
                <a:gd name="connsiteX28" fmla="*/ 317182 w 1905000"/>
                <a:gd name="connsiteY28" fmla="*/ 1628775 h 1866900"/>
                <a:gd name="connsiteX29" fmla="*/ 306705 w 1905000"/>
                <a:gd name="connsiteY29" fmla="*/ 1619250 h 1866900"/>
                <a:gd name="connsiteX30" fmla="*/ 258127 w 1905000"/>
                <a:gd name="connsiteY30" fmla="*/ 1571625 h 1866900"/>
                <a:gd name="connsiteX31" fmla="*/ 1646872 w 1905000"/>
                <a:gd name="connsiteY31" fmla="*/ 1571625 h 1866900"/>
                <a:gd name="connsiteX32" fmla="*/ 1637347 w 1905000"/>
                <a:gd name="connsiteY32" fmla="*/ 1581150 h 1866900"/>
                <a:gd name="connsiteX33" fmla="*/ 266699 w 1905000"/>
                <a:gd name="connsiteY33" fmla="*/ 1581150 h 1866900"/>
                <a:gd name="connsiteX34" fmla="*/ 258127 w 1905000"/>
                <a:gd name="connsiteY34" fmla="*/ 1571625 h 1866900"/>
                <a:gd name="connsiteX35" fmla="*/ 216217 w 1905000"/>
                <a:gd name="connsiteY35" fmla="*/ 1524000 h 1866900"/>
                <a:gd name="connsiteX36" fmla="*/ 1687830 w 1905000"/>
                <a:gd name="connsiteY36" fmla="*/ 1524000 h 1866900"/>
                <a:gd name="connsiteX37" fmla="*/ 1680209 w 1905000"/>
                <a:gd name="connsiteY37" fmla="*/ 1533525 h 1866900"/>
                <a:gd name="connsiteX38" fmla="*/ 223837 w 1905000"/>
                <a:gd name="connsiteY38" fmla="*/ 1533525 h 1866900"/>
                <a:gd name="connsiteX39" fmla="*/ 216217 w 1905000"/>
                <a:gd name="connsiteY39" fmla="*/ 1524000 h 1866900"/>
                <a:gd name="connsiteX40" fmla="*/ 180022 w 1905000"/>
                <a:gd name="connsiteY40" fmla="*/ 1476375 h 1866900"/>
                <a:gd name="connsiteX41" fmla="*/ 1724977 w 1905000"/>
                <a:gd name="connsiteY41" fmla="*/ 1476375 h 1866900"/>
                <a:gd name="connsiteX42" fmla="*/ 1718310 w 1905000"/>
                <a:gd name="connsiteY42" fmla="*/ 1485900 h 1866900"/>
                <a:gd name="connsiteX43" fmla="*/ 186690 w 1905000"/>
                <a:gd name="connsiteY43" fmla="*/ 1485900 h 1866900"/>
                <a:gd name="connsiteX44" fmla="*/ 180022 w 1905000"/>
                <a:gd name="connsiteY44" fmla="*/ 1476375 h 1866900"/>
                <a:gd name="connsiteX45" fmla="*/ 147637 w 1905000"/>
                <a:gd name="connsiteY45" fmla="*/ 1428750 h 1866900"/>
                <a:gd name="connsiteX46" fmla="*/ 1756410 w 1905000"/>
                <a:gd name="connsiteY46" fmla="*/ 1428750 h 1866900"/>
                <a:gd name="connsiteX47" fmla="*/ 1750695 w 1905000"/>
                <a:gd name="connsiteY47" fmla="*/ 1438275 h 1866900"/>
                <a:gd name="connsiteX48" fmla="*/ 153352 w 1905000"/>
                <a:gd name="connsiteY48" fmla="*/ 1438275 h 1866900"/>
                <a:gd name="connsiteX49" fmla="*/ 147637 w 1905000"/>
                <a:gd name="connsiteY49" fmla="*/ 1428750 h 1866900"/>
                <a:gd name="connsiteX50" fmla="*/ 119062 w 1905000"/>
                <a:gd name="connsiteY50" fmla="*/ 1381125 h 1866900"/>
                <a:gd name="connsiteX51" fmla="*/ 1785937 w 1905000"/>
                <a:gd name="connsiteY51" fmla="*/ 1381125 h 1866900"/>
                <a:gd name="connsiteX52" fmla="*/ 1780222 w 1905000"/>
                <a:gd name="connsiteY52" fmla="*/ 1390650 h 1866900"/>
                <a:gd name="connsiteX53" fmla="*/ 124777 w 1905000"/>
                <a:gd name="connsiteY53" fmla="*/ 1390650 h 1866900"/>
                <a:gd name="connsiteX54" fmla="*/ 119062 w 1905000"/>
                <a:gd name="connsiteY54" fmla="*/ 1381125 h 1866900"/>
                <a:gd name="connsiteX55" fmla="*/ 95250 w 1905000"/>
                <a:gd name="connsiteY55" fmla="*/ 1333500 h 1866900"/>
                <a:gd name="connsiteX56" fmla="*/ 1810703 w 1905000"/>
                <a:gd name="connsiteY56" fmla="*/ 1333500 h 1866900"/>
                <a:gd name="connsiteX57" fmla="*/ 1805940 w 1905000"/>
                <a:gd name="connsiteY57" fmla="*/ 1343025 h 1866900"/>
                <a:gd name="connsiteX58" fmla="*/ 100013 w 1905000"/>
                <a:gd name="connsiteY58" fmla="*/ 1343025 h 1866900"/>
                <a:gd name="connsiteX59" fmla="*/ 95250 w 1905000"/>
                <a:gd name="connsiteY59" fmla="*/ 1333500 h 1866900"/>
                <a:gd name="connsiteX60" fmla="*/ 73342 w 1905000"/>
                <a:gd name="connsiteY60" fmla="*/ 1285875 h 1866900"/>
                <a:gd name="connsiteX61" fmla="*/ 1830705 w 1905000"/>
                <a:gd name="connsiteY61" fmla="*/ 1285875 h 1866900"/>
                <a:gd name="connsiteX62" fmla="*/ 1826895 w 1905000"/>
                <a:gd name="connsiteY62" fmla="*/ 1295400 h 1866900"/>
                <a:gd name="connsiteX63" fmla="*/ 77152 w 1905000"/>
                <a:gd name="connsiteY63" fmla="*/ 1295400 h 1866900"/>
                <a:gd name="connsiteX64" fmla="*/ 73342 w 1905000"/>
                <a:gd name="connsiteY64" fmla="*/ 1285875 h 1866900"/>
                <a:gd name="connsiteX65" fmla="*/ 55245 w 1905000"/>
                <a:gd name="connsiteY65" fmla="*/ 1238250 h 1866900"/>
                <a:gd name="connsiteX66" fmla="*/ 1850708 w 1905000"/>
                <a:gd name="connsiteY66" fmla="*/ 1238250 h 1866900"/>
                <a:gd name="connsiteX67" fmla="*/ 1846898 w 1905000"/>
                <a:gd name="connsiteY67" fmla="*/ 1247775 h 1866900"/>
                <a:gd name="connsiteX68" fmla="*/ 59055 w 1905000"/>
                <a:gd name="connsiteY68" fmla="*/ 1247775 h 1866900"/>
                <a:gd name="connsiteX69" fmla="*/ 55245 w 1905000"/>
                <a:gd name="connsiteY69" fmla="*/ 1238250 h 1866900"/>
                <a:gd name="connsiteX70" fmla="*/ 40004 w 1905000"/>
                <a:gd name="connsiteY70" fmla="*/ 1190625 h 1866900"/>
                <a:gd name="connsiteX71" fmla="*/ 1865947 w 1905000"/>
                <a:gd name="connsiteY71" fmla="*/ 1190625 h 1866900"/>
                <a:gd name="connsiteX72" fmla="*/ 1863089 w 1905000"/>
                <a:gd name="connsiteY72" fmla="*/ 1200150 h 1866900"/>
                <a:gd name="connsiteX73" fmla="*/ 42862 w 1905000"/>
                <a:gd name="connsiteY73" fmla="*/ 1200150 h 1866900"/>
                <a:gd name="connsiteX74" fmla="*/ 40004 w 1905000"/>
                <a:gd name="connsiteY74" fmla="*/ 1190625 h 1866900"/>
                <a:gd name="connsiteX75" fmla="*/ 26669 w 1905000"/>
                <a:gd name="connsiteY75" fmla="*/ 1143000 h 1866900"/>
                <a:gd name="connsiteX76" fmla="*/ 1878329 w 1905000"/>
                <a:gd name="connsiteY76" fmla="*/ 1143000 h 1866900"/>
                <a:gd name="connsiteX77" fmla="*/ 1876424 w 1905000"/>
                <a:gd name="connsiteY77" fmla="*/ 1152525 h 1866900"/>
                <a:gd name="connsiteX78" fmla="*/ 29526 w 1905000"/>
                <a:gd name="connsiteY78" fmla="*/ 1152525 h 1866900"/>
                <a:gd name="connsiteX79" fmla="*/ 26669 w 1905000"/>
                <a:gd name="connsiteY79" fmla="*/ 1143000 h 1866900"/>
                <a:gd name="connsiteX80" fmla="*/ 16192 w 1905000"/>
                <a:gd name="connsiteY80" fmla="*/ 1095375 h 1866900"/>
                <a:gd name="connsiteX81" fmla="*/ 1888807 w 1905000"/>
                <a:gd name="connsiteY81" fmla="*/ 1095375 h 1866900"/>
                <a:gd name="connsiteX82" fmla="*/ 1886902 w 1905000"/>
                <a:gd name="connsiteY82" fmla="*/ 1104900 h 1866900"/>
                <a:gd name="connsiteX83" fmla="*/ 18097 w 1905000"/>
                <a:gd name="connsiteY83" fmla="*/ 1104900 h 1866900"/>
                <a:gd name="connsiteX84" fmla="*/ 16192 w 1905000"/>
                <a:gd name="connsiteY84" fmla="*/ 1095375 h 1866900"/>
                <a:gd name="connsiteX85" fmla="*/ 8572 w 1905000"/>
                <a:gd name="connsiteY85" fmla="*/ 1047750 h 1866900"/>
                <a:gd name="connsiteX86" fmla="*/ 1896427 w 1905000"/>
                <a:gd name="connsiteY86" fmla="*/ 1047750 h 1866900"/>
                <a:gd name="connsiteX87" fmla="*/ 1895475 w 1905000"/>
                <a:gd name="connsiteY87" fmla="*/ 1057275 h 1866900"/>
                <a:gd name="connsiteX88" fmla="*/ 9525 w 1905000"/>
                <a:gd name="connsiteY88" fmla="*/ 1057275 h 1866900"/>
                <a:gd name="connsiteX89" fmla="*/ 8572 w 1905000"/>
                <a:gd name="connsiteY89" fmla="*/ 1047750 h 1866900"/>
                <a:gd name="connsiteX90" fmla="*/ 3810 w 1905000"/>
                <a:gd name="connsiteY90" fmla="*/ 1000125 h 1866900"/>
                <a:gd name="connsiteX91" fmla="*/ 1902143 w 1905000"/>
                <a:gd name="connsiteY91" fmla="*/ 1000125 h 1866900"/>
                <a:gd name="connsiteX92" fmla="*/ 1901190 w 1905000"/>
                <a:gd name="connsiteY92" fmla="*/ 1009650 h 1866900"/>
                <a:gd name="connsiteX93" fmla="*/ 4762 w 1905000"/>
                <a:gd name="connsiteY93" fmla="*/ 1009650 h 1866900"/>
                <a:gd name="connsiteX94" fmla="*/ 3810 w 1905000"/>
                <a:gd name="connsiteY94" fmla="*/ 1000125 h 1866900"/>
                <a:gd name="connsiteX95" fmla="*/ 952 w 1905000"/>
                <a:gd name="connsiteY95" fmla="*/ 952500 h 1866900"/>
                <a:gd name="connsiteX96" fmla="*/ 1904047 w 1905000"/>
                <a:gd name="connsiteY96" fmla="*/ 952500 h 1866900"/>
                <a:gd name="connsiteX97" fmla="*/ 1904047 w 1905000"/>
                <a:gd name="connsiteY97" fmla="*/ 962025 h 1866900"/>
                <a:gd name="connsiteX98" fmla="*/ 952 w 1905000"/>
                <a:gd name="connsiteY98" fmla="*/ 962025 h 1866900"/>
                <a:gd name="connsiteX99" fmla="*/ 952 w 1905000"/>
                <a:gd name="connsiteY99" fmla="*/ 952500 h 1866900"/>
                <a:gd name="connsiteX100" fmla="*/ 0 w 1905000"/>
                <a:gd name="connsiteY100" fmla="*/ 904875 h 1866900"/>
                <a:gd name="connsiteX101" fmla="*/ 1905000 w 1905000"/>
                <a:gd name="connsiteY101" fmla="*/ 904875 h 1866900"/>
                <a:gd name="connsiteX102" fmla="*/ 1905000 w 1905000"/>
                <a:gd name="connsiteY102" fmla="*/ 914400 h 1866900"/>
                <a:gd name="connsiteX103" fmla="*/ 0 w 1905000"/>
                <a:gd name="connsiteY103" fmla="*/ 914400 h 1866900"/>
                <a:gd name="connsiteX104" fmla="*/ 0 w 1905000"/>
                <a:gd name="connsiteY104" fmla="*/ 904875 h 1866900"/>
                <a:gd name="connsiteX105" fmla="*/ 1905 w 1905000"/>
                <a:gd name="connsiteY105" fmla="*/ 857250 h 1866900"/>
                <a:gd name="connsiteX106" fmla="*/ 1902142 w 1905000"/>
                <a:gd name="connsiteY106" fmla="*/ 857250 h 1866900"/>
                <a:gd name="connsiteX107" fmla="*/ 1903095 w 1905000"/>
                <a:gd name="connsiteY107" fmla="*/ 866775 h 1866900"/>
                <a:gd name="connsiteX108" fmla="*/ 952 w 1905000"/>
                <a:gd name="connsiteY108" fmla="*/ 866775 h 1866900"/>
                <a:gd name="connsiteX109" fmla="*/ 1905 w 1905000"/>
                <a:gd name="connsiteY109" fmla="*/ 857250 h 1866900"/>
                <a:gd name="connsiteX110" fmla="*/ 6667 w 1905000"/>
                <a:gd name="connsiteY110" fmla="*/ 809625 h 1866900"/>
                <a:gd name="connsiteX111" fmla="*/ 1899285 w 1905000"/>
                <a:gd name="connsiteY111" fmla="*/ 809625 h 1866900"/>
                <a:gd name="connsiteX112" fmla="*/ 1900238 w 1905000"/>
                <a:gd name="connsiteY112" fmla="*/ 819150 h 1866900"/>
                <a:gd name="connsiteX113" fmla="*/ 5715 w 1905000"/>
                <a:gd name="connsiteY113" fmla="*/ 819150 h 1866900"/>
                <a:gd name="connsiteX114" fmla="*/ 6667 w 1905000"/>
                <a:gd name="connsiteY114" fmla="*/ 809625 h 1866900"/>
                <a:gd name="connsiteX115" fmla="*/ 13335 w 1905000"/>
                <a:gd name="connsiteY115" fmla="*/ 762000 h 1866900"/>
                <a:gd name="connsiteX116" fmla="*/ 1891665 w 1905000"/>
                <a:gd name="connsiteY116" fmla="*/ 762000 h 1866900"/>
                <a:gd name="connsiteX117" fmla="*/ 1893570 w 1905000"/>
                <a:gd name="connsiteY117" fmla="*/ 771525 h 1866900"/>
                <a:gd name="connsiteX118" fmla="*/ 11430 w 1905000"/>
                <a:gd name="connsiteY118" fmla="*/ 771525 h 1866900"/>
                <a:gd name="connsiteX119" fmla="*/ 13335 w 1905000"/>
                <a:gd name="connsiteY119" fmla="*/ 762000 h 1866900"/>
                <a:gd name="connsiteX120" fmla="*/ 21907 w 1905000"/>
                <a:gd name="connsiteY120" fmla="*/ 714375 h 1866900"/>
                <a:gd name="connsiteX121" fmla="*/ 1883092 w 1905000"/>
                <a:gd name="connsiteY121" fmla="*/ 714375 h 1866900"/>
                <a:gd name="connsiteX122" fmla="*/ 1884997 w 1905000"/>
                <a:gd name="connsiteY122" fmla="*/ 723900 h 1866900"/>
                <a:gd name="connsiteX123" fmla="*/ 20002 w 1905000"/>
                <a:gd name="connsiteY123" fmla="*/ 723900 h 1866900"/>
                <a:gd name="connsiteX124" fmla="*/ 21907 w 1905000"/>
                <a:gd name="connsiteY124" fmla="*/ 714375 h 1866900"/>
                <a:gd name="connsiteX125" fmla="*/ 34289 w 1905000"/>
                <a:gd name="connsiteY125" fmla="*/ 666750 h 1866900"/>
                <a:gd name="connsiteX126" fmla="*/ 1870710 w 1905000"/>
                <a:gd name="connsiteY126" fmla="*/ 666750 h 1866900"/>
                <a:gd name="connsiteX127" fmla="*/ 1873567 w 1905000"/>
                <a:gd name="connsiteY127" fmla="*/ 676275 h 1866900"/>
                <a:gd name="connsiteX128" fmla="*/ 31432 w 1905000"/>
                <a:gd name="connsiteY128" fmla="*/ 676275 h 1866900"/>
                <a:gd name="connsiteX129" fmla="*/ 34289 w 1905000"/>
                <a:gd name="connsiteY129" fmla="*/ 666750 h 1866900"/>
                <a:gd name="connsiteX130" fmla="*/ 48577 w 1905000"/>
                <a:gd name="connsiteY130" fmla="*/ 619125 h 1866900"/>
                <a:gd name="connsiteX131" fmla="*/ 1857375 w 1905000"/>
                <a:gd name="connsiteY131" fmla="*/ 619125 h 1866900"/>
                <a:gd name="connsiteX132" fmla="*/ 1860233 w 1905000"/>
                <a:gd name="connsiteY132" fmla="*/ 628650 h 1866900"/>
                <a:gd name="connsiteX133" fmla="*/ 45720 w 1905000"/>
                <a:gd name="connsiteY133" fmla="*/ 628650 h 1866900"/>
                <a:gd name="connsiteX134" fmla="*/ 48577 w 1905000"/>
                <a:gd name="connsiteY134" fmla="*/ 619125 h 1866900"/>
                <a:gd name="connsiteX135" fmla="*/ 65722 w 1905000"/>
                <a:gd name="connsiteY135" fmla="*/ 571500 h 1866900"/>
                <a:gd name="connsiteX136" fmla="*/ 1839277 w 1905000"/>
                <a:gd name="connsiteY136" fmla="*/ 571500 h 1866900"/>
                <a:gd name="connsiteX137" fmla="*/ 1843087 w 1905000"/>
                <a:gd name="connsiteY137" fmla="*/ 581025 h 1866900"/>
                <a:gd name="connsiteX138" fmla="*/ 61912 w 1905000"/>
                <a:gd name="connsiteY138" fmla="*/ 581025 h 1866900"/>
                <a:gd name="connsiteX139" fmla="*/ 65722 w 1905000"/>
                <a:gd name="connsiteY139" fmla="*/ 571500 h 1866900"/>
                <a:gd name="connsiteX140" fmla="*/ 85725 w 1905000"/>
                <a:gd name="connsiteY140" fmla="*/ 523875 h 1866900"/>
                <a:gd name="connsiteX141" fmla="*/ 1819275 w 1905000"/>
                <a:gd name="connsiteY141" fmla="*/ 523875 h 1866900"/>
                <a:gd name="connsiteX142" fmla="*/ 1823085 w 1905000"/>
                <a:gd name="connsiteY142" fmla="*/ 533400 h 1866900"/>
                <a:gd name="connsiteX143" fmla="*/ 80962 w 1905000"/>
                <a:gd name="connsiteY143" fmla="*/ 533400 h 1866900"/>
                <a:gd name="connsiteX144" fmla="*/ 85725 w 1905000"/>
                <a:gd name="connsiteY144" fmla="*/ 523875 h 1866900"/>
                <a:gd name="connsiteX145" fmla="*/ 109538 w 1905000"/>
                <a:gd name="connsiteY145" fmla="*/ 476250 h 1866900"/>
                <a:gd name="connsiteX146" fmla="*/ 1796415 w 1905000"/>
                <a:gd name="connsiteY146" fmla="*/ 476250 h 1866900"/>
                <a:gd name="connsiteX147" fmla="*/ 1801178 w 1905000"/>
                <a:gd name="connsiteY147" fmla="*/ 485775 h 1866900"/>
                <a:gd name="connsiteX148" fmla="*/ 104775 w 1905000"/>
                <a:gd name="connsiteY148" fmla="*/ 485775 h 1866900"/>
                <a:gd name="connsiteX149" fmla="*/ 109538 w 1905000"/>
                <a:gd name="connsiteY149" fmla="*/ 476250 h 1866900"/>
                <a:gd name="connsiteX150" fmla="*/ 136207 w 1905000"/>
                <a:gd name="connsiteY150" fmla="*/ 428625 h 1866900"/>
                <a:gd name="connsiteX151" fmla="*/ 1768792 w 1905000"/>
                <a:gd name="connsiteY151" fmla="*/ 428625 h 1866900"/>
                <a:gd name="connsiteX152" fmla="*/ 1774507 w 1905000"/>
                <a:gd name="connsiteY152" fmla="*/ 438150 h 1866900"/>
                <a:gd name="connsiteX153" fmla="*/ 130492 w 1905000"/>
                <a:gd name="connsiteY153" fmla="*/ 438150 h 1866900"/>
                <a:gd name="connsiteX154" fmla="*/ 136207 w 1905000"/>
                <a:gd name="connsiteY154" fmla="*/ 428625 h 1866900"/>
                <a:gd name="connsiteX155" fmla="*/ 166687 w 1905000"/>
                <a:gd name="connsiteY155" fmla="*/ 381000 h 1866900"/>
                <a:gd name="connsiteX156" fmla="*/ 1738312 w 1905000"/>
                <a:gd name="connsiteY156" fmla="*/ 381000 h 1866900"/>
                <a:gd name="connsiteX157" fmla="*/ 1744979 w 1905000"/>
                <a:gd name="connsiteY157" fmla="*/ 390525 h 1866900"/>
                <a:gd name="connsiteX158" fmla="*/ 160019 w 1905000"/>
                <a:gd name="connsiteY158" fmla="*/ 390525 h 1866900"/>
                <a:gd name="connsiteX159" fmla="*/ 166687 w 1905000"/>
                <a:gd name="connsiteY159" fmla="*/ 381000 h 1866900"/>
                <a:gd name="connsiteX160" fmla="*/ 201929 w 1905000"/>
                <a:gd name="connsiteY160" fmla="*/ 333375 h 1866900"/>
                <a:gd name="connsiteX161" fmla="*/ 1704022 w 1905000"/>
                <a:gd name="connsiteY161" fmla="*/ 333375 h 1866900"/>
                <a:gd name="connsiteX162" fmla="*/ 1711642 w 1905000"/>
                <a:gd name="connsiteY162" fmla="*/ 342900 h 1866900"/>
                <a:gd name="connsiteX163" fmla="*/ 194309 w 1905000"/>
                <a:gd name="connsiteY163" fmla="*/ 342900 h 1866900"/>
                <a:gd name="connsiteX164" fmla="*/ 201929 w 1905000"/>
                <a:gd name="connsiteY164" fmla="*/ 333375 h 1866900"/>
                <a:gd name="connsiteX165" fmla="*/ 240981 w 1905000"/>
                <a:gd name="connsiteY165" fmla="*/ 285750 h 1866900"/>
                <a:gd name="connsiteX166" fmla="*/ 1664017 w 1905000"/>
                <a:gd name="connsiteY166" fmla="*/ 285750 h 1866900"/>
                <a:gd name="connsiteX167" fmla="*/ 1672589 w 1905000"/>
                <a:gd name="connsiteY167" fmla="*/ 295275 h 1866900"/>
                <a:gd name="connsiteX168" fmla="*/ 232409 w 1905000"/>
                <a:gd name="connsiteY168" fmla="*/ 295275 h 1866900"/>
                <a:gd name="connsiteX169" fmla="*/ 240981 w 1905000"/>
                <a:gd name="connsiteY169" fmla="*/ 285750 h 1866900"/>
                <a:gd name="connsiteX170" fmla="*/ 286702 w 1905000"/>
                <a:gd name="connsiteY170" fmla="*/ 238125 h 1866900"/>
                <a:gd name="connsiteX171" fmla="*/ 1619250 w 1905000"/>
                <a:gd name="connsiteY171" fmla="*/ 238125 h 1866900"/>
                <a:gd name="connsiteX172" fmla="*/ 1628775 w 1905000"/>
                <a:gd name="connsiteY172" fmla="*/ 247650 h 1866900"/>
                <a:gd name="connsiteX173" fmla="*/ 277177 w 1905000"/>
                <a:gd name="connsiteY173" fmla="*/ 247650 h 1866900"/>
                <a:gd name="connsiteX174" fmla="*/ 286702 w 1905000"/>
                <a:gd name="connsiteY174" fmla="*/ 238125 h 1866900"/>
                <a:gd name="connsiteX175" fmla="*/ 339090 w 1905000"/>
                <a:gd name="connsiteY175" fmla="*/ 190500 h 1866900"/>
                <a:gd name="connsiteX176" fmla="*/ 1565910 w 1905000"/>
                <a:gd name="connsiteY176" fmla="*/ 190500 h 1866900"/>
                <a:gd name="connsiteX177" fmla="*/ 1577340 w 1905000"/>
                <a:gd name="connsiteY177" fmla="*/ 200025 h 1866900"/>
                <a:gd name="connsiteX178" fmla="*/ 327660 w 1905000"/>
                <a:gd name="connsiteY178" fmla="*/ 200025 h 1866900"/>
                <a:gd name="connsiteX179" fmla="*/ 339090 w 1905000"/>
                <a:gd name="connsiteY179" fmla="*/ 190500 h 1866900"/>
                <a:gd name="connsiteX180" fmla="*/ 400049 w 1905000"/>
                <a:gd name="connsiteY180" fmla="*/ 142875 h 1866900"/>
                <a:gd name="connsiteX181" fmla="*/ 1503997 w 1905000"/>
                <a:gd name="connsiteY181" fmla="*/ 142875 h 1866900"/>
                <a:gd name="connsiteX182" fmla="*/ 1517332 w 1905000"/>
                <a:gd name="connsiteY182" fmla="*/ 152400 h 1866900"/>
                <a:gd name="connsiteX183" fmla="*/ 386714 w 1905000"/>
                <a:gd name="connsiteY183" fmla="*/ 152400 h 1866900"/>
                <a:gd name="connsiteX184" fmla="*/ 400049 w 1905000"/>
                <a:gd name="connsiteY184" fmla="*/ 142875 h 1866900"/>
                <a:gd name="connsiteX185" fmla="*/ 474345 w 1905000"/>
                <a:gd name="connsiteY185" fmla="*/ 95250 h 1866900"/>
                <a:gd name="connsiteX186" fmla="*/ 1429702 w 1905000"/>
                <a:gd name="connsiteY186" fmla="*/ 95250 h 1866900"/>
                <a:gd name="connsiteX187" fmla="*/ 1445895 w 1905000"/>
                <a:gd name="connsiteY187" fmla="*/ 104775 h 1866900"/>
                <a:gd name="connsiteX188" fmla="*/ 458152 w 1905000"/>
                <a:gd name="connsiteY188" fmla="*/ 104775 h 1866900"/>
                <a:gd name="connsiteX189" fmla="*/ 474345 w 1905000"/>
                <a:gd name="connsiteY189" fmla="*/ 95250 h 1866900"/>
                <a:gd name="connsiteX190" fmla="*/ 568642 w 1905000"/>
                <a:gd name="connsiteY190" fmla="*/ 47625 h 1866900"/>
                <a:gd name="connsiteX191" fmla="*/ 1337309 w 1905000"/>
                <a:gd name="connsiteY191" fmla="*/ 47625 h 1866900"/>
                <a:gd name="connsiteX192" fmla="*/ 1358265 w 1905000"/>
                <a:gd name="connsiteY192" fmla="*/ 57150 h 1866900"/>
                <a:gd name="connsiteX193" fmla="*/ 547687 w 1905000"/>
                <a:gd name="connsiteY193" fmla="*/ 57150 h 1866900"/>
                <a:gd name="connsiteX194" fmla="*/ 568642 w 1905000"/>
                <a:gd name="connsiteY194" fmla="*/ 47625 h 1866900"/>
                <a:gd name="connsiteX195" fmla="*/ 702945 w 1905000"/>
                <a:gd name="connsiteY195" fmla="*/ 0 h 1866900"/>
                <a:gd name="connsiteX196" fmla="*/ 1203960 w 1905000"/>
                <a:gd name="connsiteY196" fmla="*/ 0 h 1866900"/>
                <a:gd name="connsiteX197" fmla="*/ 1236345 w 1905000"/>
                <a:gd name="connsiteY197" fmla="*/ 9525 h 1866900"/>
                <a:gd name="connsiteX198" fmla="*/ 670560 w 1905000"/>
                <a:gd name="connsiteY198" fmla="*/ 9525 h 1866900"/>
                <a:gd name="connsiteX199" fmla="*/ 702945 w 1905000"/>
                <a:gd name="connsiteY199" fmla="*/ 0 h 1866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Lst>
              <a:rect l="l" t="t" r="r" b="b"/>
              <a:pathLst>
                <a:path w="1905000" h="1866900">
                  <a:moveTo>
                    <a:pt x="786764" y="1857375"/>
                  </a:moveTo>
                  <a:lnTo>
                    <a:pt x="1116329" y="1857375"/>
                  </a:lnTo>
                  <a:cubicBezTo>
                    <a:pt x="1093469" y="1861185"/>
                    <a:pt x="1070609" y="1864995"/>
                    <a:pt x="1047749" y="1866900"/>
                  </a:cubicBezTo>
                  <a:lnTo>
                    <a:pt x="855344" y="1866900"/>
                  </a:lnTo>
                  <a:cubicBezTo>
                    <a:pt x="832484" y="1864995"/>
                    <a:pt x="809624" y="1861185"/>
                    <a:pt x="786764" y="1857375"/>
                  </a:cubicBezTo>
                  <a:close/>
                  <a:moveTo>
                    <a:pt x="614362" y="1809750"/>
                  </a:moveTo>
                  <a:lnTo>
                    <a:pt x="1290637" y="1809750"/>
                  </a:lnTo>
                  <a:cubicBezTo>
                    <a:pt x="1281112" y="1812608"/>
                    <a:pt x="1272540" y="1816417"/>
                    <a:pt x="1263967" y="1819275"/>
                  </a:cubicBezTo>
                  <a:lnTo>
                    <a:pt x="640079" y="1819275"/>
                  </a:lnTo>
                  <a:cubicBezTo>
                    <a:pt x="631507" y="1816417"/>
                    <a:pt x="622935" y="1812608"/>
                    <a:pt x="614362" y="1809750"/>
                  </a:cubicBezTo>
                  <a:close/>
                  <a:moveTo>
                    <a:pt x="509587" y="1762125"/>
                  </a:moveTo>
                  <a:lnTo>
                    <a:pt x="1396365" y="1762125"/>
                  </a:lnTo>
                  <a:cubicBezTo>
                    <a:pt x="1389697" y="1764983"/>
                    <a:pt x="1383982" y="1768792"/>
                    <a:pt x="1377315" y="1771650"/>
                  </a:cubicBezTo>
                  <a:lnTo>
                    <a:pt x="527685" y="1771650"/>
                  </a:lnTo>
                  <a:cubicBezTo>
                    <a:pt x="521969" y="1768792"/>
                    <a:pt x="515302" y="1764983"/>
                    <a:pt x="509587" y="1762125"/>
                  </a:cubicBezTo>
                  <a:close/>
                  <a:moveTo>
                    <a:pt x="428625" y="1714500"/>
                  </a:moveTo>
                  <a:lnTo>
                    <a:pt x="1478280" y="1714500"/>
                  </a:lnTo>
                  <a:cubicBezTo>
                    <a:pt x="1472565" y="1717358"/>
                    <a:pt x="1467803" y="1721167"/>
                    <a:pt x="1463040" y="1724025"/>
                  </a:cubicBezTo>
                  <a:lnTo>
                    <a:pt x="443865" y="1724025"/>
                  </a:lnTo>
                  <a:cubicBezTo>
                    <a:pt x="438150" y="1721167"/>
                    <a:pt x="433388" y="1717358"/>
                    <a:pt x="428625" y="1714500"/>
                  </a:cubicBezTo>
                  <a:close/>
                  <a:moveTo>
                    <a:pt x="362902" y="1666875"/>
                  </a:moveTo>
                  <a:lnTo>
                    <a:pt x="1544002" y="1666875"/>
                  </a:lnTo>
                  <a:cubicBezTo>
                    <a:pt x="1540192" y="1669733"/>
                    <a:pt x="1535430" y="1673542"/>
                    <a:pt x="1531620" y="1676400"/>
                  </a:cubicBezTo>
                  <a:lnTo>
                    <a:pt x="375285" y="1676400"/>
                  </a:lnTo>
                  <a:cubicBezTo>
                    <a:pt x="370522" y="1673542"/>
                    <a:pt x="366712" y="1669733"/>
                    <a:pt x="362902" y="1666875"/>
                  </a:cubicBezTo>
                  <a:close/>
                  <a:moveTo>
                    <a:pt x="306705" y="1619250"/>
                  </a:moveTo>
                  <a:lnTo>
                    <a:pt x="1599247" y="1619250"/>
                  </a:lnTo>
                  <a:cubicBezTo>
                    <a:pt x="1595438" y="1622108"/>
                    <a:pt x="1592580" y="1625917"/>
                    <a:pt x="1588770" y="1628775"/>
                  </a:cubicBezTo>
                  <a:lnTo>
                    <a:pt x="317182" y="1628775"/>
                  </a:lnTo>
                  <a:cubicBezTo>
                    <a:pt x="313373" y="1625917"/>
                    <a:pt x="310515" y="1622108"/>
                    <a:pt x="306705" y="1619250"/>
                  </a:cubicBezTo>
                  <a:close/>
                  <a:moveTo>
                    <a:pt x="258127" y="1571625"/>
                  </a:moveTo>
                  <a:lnTo>
                    <a:pt x="1646872" y="1571625"/>
                  </a:lnTo>
                  <a:cubicBezTo>
                    <a:pt x="1643062" y="1574483"/>
                    <a:pt x="1640205" y="1578292"/>
                    <a:pt x="1637347" y="1581150"/>
                  </a:cubicBezTo>
                  <a:lnTo>
                    <a:pt x="266699" y="1581150"/>
                  </a:lnTo>
                  <a:cubicBezTo>
                    <a:pt x="263842" y="1578292"/>
                    <a:pt x="260984" y="1574483"/>
                    <a:pt x="258127" y="1571625"/>
                  </a:cubicBezTo>
                  <a:close/>
                  <a:moveTo>
                    <a:pt x="216217" y="1524000"/>
                  </a:moveTo>
                  <a:lnTo>
                    <a:pt x="1687830" y="1524000"/>
                  </a:lnTo>
                  <a:cubicBezTo>
                    <a:pt x="1684972" y="1526858"/>
                    <a:pt x="1683067" y="1530667"/>
                    <a:pt x="1680209" y="1533525"/>
                  </a:cubicBezTo>
                  <a:lnTo>
                    <a:pt x="223837" y="1533525"/>
                  </a:lnTo>
                  <a:cubicBezTo>
                    <a:pt x="221932" y="1530667"/>
                    <a:pt x="219074" y="1526858"/>
                    <a:pt x="216217" y="1524000"/>
                  </a:cubicBezTo>
                  <a:close/>
                  <a:moveTo>
                    <a:pt x="180022" y="1476375"/>
                  </a:moveTo>
                  <a:lnTo>
                    <a:pt x="1724977" y="1476375"/>
                  </a:lnTo>
                  <a:cubicBezTo>
                    <a:pt x="1723072" y="1479233"/>
                    <a:pt x="1720215" y="1483042"/>
                    <a:pt x="1718310" y="1485900"/>
                  </a:cubicBezTo>
                  <a:lnTo>
                    <a:pt x="186690" y="1485900"/>
                  </a:lnTo>
                  <a:cubicBezTo>
                    <a:pt x="184785" y="1483042"/>
                    <a:pt x="181927" y="1479233"/>
                    <a:pt x="180022" y="1476375"/>
                  </a:cubicBezTo>
                  <a:close/>
                  <a:moveTo>
                    <a:pt x="147637" y="1428750"/>
                  </a:moveTo>
                  <a:lnTo>
                    <a:pt x="1756410" y="1428750"/>
                  </a:lnTo>
                  <a:cubicBezTo>
                    <a:pt x="1754505" y="1431608"/>
                    <a:pt x="1752600" y="1435417"/>
                    <a:pt x="1750695" y="1438275"/>
                  </a:cubicBezTo>
                  <a:lnTo>
                    <a:pt x="153352" y="1438275"/>
                  </a:lnTo>
                  <a:cubicBezTo>
                    <a:pt x="151447" y="1435417"/>
                    <a:pt x="149542" y="1431608"/>
                    <a:pt x="147637" y="1428750"/>
                  </a:cubicBezTo>
                  <a:close/>
                  <a:moveTo>
                    <a:pt x="119062" y="1381125"/>
                  </a:moveTo>
                  <a:lnTo>
                    <a:pt x="1785937" y="1381125"/>
                  </a:lnTo>
                  <a:cubicBezTo>
                    <a:pt x="1784032" y="1383983"/>
                    <a:pt x="1782127" y="1387792"/>
                    <a:pt x="1780222" y="1390650"/>
                  </a:cubicBezTo>
                  <a:lnTo>
                    <a:pt x="124777" y="1390650"/>
                  </a:lnTo>
                  <a:cubicBezTo>
                    <a:pt x="122872" y="1387792"/>
                    <a:pt x="120967" y="1383983"/>
                    <a:pt x="119062" y="1381125"/>
                  </a:cubicBezTo>
                  <a:close/>
                  <a:moveTo>
                    <a:pt x="95250" y="1333500"/>
                  </a:moveTo>
                  <a:lnTo>
                    <a:pt x="1810703" y="1333500"/>
                  </a:lnTo>
                  <a:cubicBezTo>
                    <a:pt x="1808798" y="1336358"/>
                    <a:pt x="1807845" y="1340167"/>
                    <a:pt x="1805940" y="1343025"/>
                  </a:cubicBezTo>
                  <a:lnTo>
                    <a:pt x="100013" y="1343025"/>
                  </a:lnTo>
                  <a:cubicBezTo>
                    <a:pt x="98108" y="1340167"/>
                    <a:pt x="97155" y="1336358"/>
                    <a:pt x="95250" y="1333500"/>
                  </a:cubicBezTo>
                  <a:close/>
                  <a:moveTo>
                    <a:pt x="73342" y="1285875"/>
                  </a:moveTo>
                  <a:lnTo>
                    <a:pt x="1830705" y="1285875"/>
                  </a:lnTo>
                  <a:cubicBezTo>
                    <a:pt x="1829752" y="1288733"/>
                    <a:pt x="1827847" y="1292542"/>
                    <a:pt x="1826895" y="1295400"/>
                  </a:cubicBezTo>
                  <a:lnTo>
                    <a:pt x="77152" y="1295400"/>
                  </a:lnTo>
                  <a:cubicBezTo>
                    <a:pt x="76200" y="1292542"/>
                    <a:pt x="74295" y="1288733"/>
                    <a:pt x="73342" y="1285875"/>
                  </a:cubicBezTo>
                  <a:close/>
                  <a:moveTo>
                    <a:pt x="55245" y="1238250"/>
                  </a:moveTo>
                  <a:lnTo>
                    <a:pt x="1850708" y="1238250"/>
                  </a:lnTo>
                  <a:cubicBezTo>
                    <a:pt x="1848803" y="1241108"/>
                    <a:pt x="1847850" y="1244917"/>
                    <a:pt x="1846898" y="1247775"/>
                  </a:cubicBezTo>
                  <a:lnTo>
                    <a:pt x="59055" y="1247775"/>
                  </a:lnTo>
                  <a:cubicBezTo>
                    <a:pt x="57150" y="1244917"/>
                    <a:pt x="56197" y="1241108"/>
                    <a:pt x="55245" y="1238250"/>
                  </a:cubicBezTo>
                  <a:close/>
                  <a:moveTo>
                    <a:pt x="40004" y="1190625"/>
                  </a:moveTo>
                  <a:lnTo>
                    <a:pt x="1865947" y="1190625"/>
                  </a:lnTo>
                  <a:cubicBezTo>
                    <a:pt x="1864994" y="1193483"/>
                    <a:pt x="1864042" y="1197292"/>
                    <a:pt x="1863089" y="1200150"/>
                  </a:cubicBezTo>
                  <a:lnTo>
                    <a:pt x="42862" y="1200150"/>
                  </a:lnTo>
                  <a:cubicBezTo>
                    <a:pt x="41909" y="1197292"/>
                    <a:pt x="40957" y="1193483"/>
                    <a:pt x="40004" y="1190625"/>
                  </a:cubicBezTo>
                  <a:close/>
                  <a:moveTo>
                    <a:pt x="26669" y="1143000"/>
                  </a:moveTo>
                  <a:lnTo>
                    <a:pt x="1878329" y="1143000"/>
                  </a:lnTo>
                  <a:cubicBezTo>
                    <a:pt x="1878329" y="1145858"/>
                    <a:pt x="1877377" y="1149667"/>
                    <a:pt x="1876424" y="1152525"/>
                  </a:cubicBezTo>
                  <a:lnTo>
                    <a:pt x="29526" y="1152525"/>
                  </a:lnTo>
                  <a:cubicBezTo>
                    <a:pt x="28574" y="1149667"/>
                    <a:pt x="27622" y="1145858"/>
                    <a:pt x="26669" y="1143000"/>
                  </a:cubicBezTo>
                  <a:close/>
                  <a:moveTo>
                    <a:pt x="16192" y="1095375"/>
                  </a:moveTo>
                  <a:lnTo>
                    <a:pt x="1888807" y="1095375"/>
                  </a:lnTo>
                  <a:cubicBezTo>
                    <a:pt x="1887855" y="1098233"/>
                    <a:pt x="1887855" y="1102042"/>
                    <a:pt x="1886902" y="1104900"/>
                  </a:cubicBezTo>
                  <a:lnTo>
                    <a:pt x="18097" y="1104900"/>
                  </a:lnTo>
                  <a:cubicBezTo>
                    <a:pt x="17144" y="1102042"/>
                    <a:pt x="17144" y="1098233"/>
                    <a:pt x="16192" y="1095375"/>
                  </a:cubicBezTo>
                  <a:close/>
                  <a:moveTo>
                    <a:pt x="8572" y="1047750"/>
                  </a:moveTo>
                  <a:lnTo>
                    <a:pt x="1896427" y="1047750"/>
                  </a:lnTo>
                  <a:cubicBezTo>
                    <a:pt x="1896427" y="1050608"/>
                    <a:pt x="1895475" y="1054417"/>
                    <a:pt x="1895475" y="1057275"/>
                  </a:cubicBezTo>
                  <a:lnTo>
                    <a:pt x="9525" y="1057275"/>
                  </a:lnTo>
                  <a:cubicBezTo>
                    <a:pt x="9525" y="1054417"/>
                    <a:pt x="8572" y="1050608"/>
                    <a:pt x="8572" y="1047750"/>
                  </a:cubicBezTo>
                  <a:close/>
                  <a:moveTo>
                    <a:pt x="3810" y="1000125"/>
                  </a:moveTo>
                  <a:lnTo>
                    <a:pt x="1902143" y="1000125"/>
                  </a:lnTo>
                  <a:cubicBezTo>
                    <a:pt x="1902143" y="1002983"/>
                    <a:pt x="1901190" y="1006792"/>
                    <a:pt x="1901190" y="1009650"/>
                  </a:cubicBezTo>
                  <a:lnTo>
                    <a:pt x="4762" y="1009650"/>
                  </a:lnTo>
                  <a:cubicBezTo>
                    <a:pt x="4762" y="1006792"/>
                    <a:pt x="3810" y="1002983"/>
                    <a:pt x="3810" y="1000125"/>
                  </a:cubicBezTo>
                  <a:close/>
                  <a:moveTo>
                    <a:pt x="952" y="952500"/>
                  </a:moveTo>
                  <a:lnTo>
                    <a:pt x="1904047" y="952500"/>
                  </a:lnTo>
                  <a:cubicBezTo>
                    <a:pt x="1904047" y="955358"/>
                    <a:pt x="1904047" y="959167"/>
                    <a:pt x="1904047" y="962025"/>
                  </a:cubicBezTo>
                  <a:lnTo>
                    <a:pt x="952" y="962025"/>
                  </a:lnTo>
                  <a:cubicBezTo>
                    <a:pt x="952" y="959167"/>
                    <a:pt x="952" y="955358"/>
                    <a:pt x="952" y="952500"/>
                  </a:cubicBezTo>
                  <a:close/>
                  <a:moveTo>
                    <a:pt x="0" y="904875"/>
                  </a:moveTo>
                  <a:lnTo>
                    <a:pt x="1905000" y="904875"/>
                  </a:lnTo>
                  <a:cubicBezTo>
                    <a:pt x="1905000" y="907733"/>
                    <a:pt x="1905000" y="911542"/>
                    <a:pt x="1905000" y="914400"/>
                  </a:cubicBezTo>
                  <a:lnTo>
                    <a:pt x="0" y="914400"/>
                  </a:lnTo>
                  <a:cubicBezTo>
                    <a:pt x="0" y="911542"/>
                    <a:pt x="0" y="907733"/>
                    <a:pt x="0" y="904875"/>
                  </a:cubicBezTo>
                  <a:close/>
                  <a:moveTo>
                    <a:pt x="1905" y="857250"/>
                  </a:moveTo>
                  <a:lnTo>
                    <a:pt x="1902142" y="857250"/>
                  </a:lnTo>
                  <a:cubicBezTo>
                    <a:pt x="1903095" y="860108"/>
                    <a:pt x="1903095" y="863917"/>
                    <a:pt x="1903095" y="866775"/>
                  </a:cubicBezTo>
                  <a:lnTo>
                    <a:pt x="952" y="866775"/>
                  </a:lnTo>
                  <a:cubicBezTo>
                    <a:pt x="1905" y="863917"/>
                    <a:pt x="1905" y="860108"/>
                    <a:pt x="1905" y="857250"/>
                  </a:cubicBezTo>
                  <a:close/>
                  <a:moveTo>
                    <a:pt x="6667" y="809625"/>
                  </a:moveTo>
                  <a:lnTo>
                    <a:pt x="1899285" y="809625"/>
                  </a:lnTo>
                  <a:cubicBezTo>
                    <a:pt x="1899285" y="812483"/>
                    <a:pt x="1900238" y="816292"/>
                    <a:pt x="1900238" y="819150"/>
                  </a:cubicBezTo>
                  <a:lnTo>
                    <a:pt x="5715" y="819150"/>
                  </a:lnTo>
                  <a:cubicBezTo>
                    <a:pt x="5715" y="816292"/>
                    <a:pt x="6667" y="812483"/>
                    <a:pt x="6667" y="809625"/>
                  </a:cubicBezTo>
                  <a:close/>
                  <a:moveTo>
                    <a:pt x="13335" y="762000"/>
                  </a:moveTo>
                  <a:lnTo>
                    <a:pt x="1891665" y="762000"/>
                  </a:lnTo>
                  <a:cubicBezTo>
                    <a:pt x="1892618" y="764858"/>
                    <a:pt x="1892618" y="768667"/>
                    <a:pt x="1893570" y="771525"/>
                  </a:cubicBezTo>
                  <a:lnTo>
                    <a:pt x="11430" y="771525"/>
                  </a:lnTo>
                  <a:cubicBezTo>
                    <a:pt x="12382" y="768667"/>
                    <a:pt x="12382" y="764858"/>
                    <a:pt x="13335" y="762000"/>
                  </a:cubicBezTo>
                  <a:close/>
                  <a:moveTo>
                    <a:pt x="21907" y="714375"/>
                  </a:moveTo>
                  <a:lnTo>
                    <a:pt x="1883092" y="714375"/>
                  </a:lnTo>
                  <a:cubicBezTo>
                    <a:pt x="1884045" y="717233"/>
                    <a:pt x="1884045" y="721042"/>
                    <a:pt x="1884997" y="723900"/>
                  </a:cubicBezTo>
                  <a:lnTo>
                    <a:pt x="20002" y="723900"/>
                  </a:lnTo>
                  <a:cubicBezTo>
                    <a:pt x="20955" y="721042"/>
                    <a:pt x="20955" y="717233"/>
                    <a:pt x="21907" y="714375"/>
                  </a:cubicBezTo>
                  <a:close/>
                  <a:moveTo>
                    <a:pt x="34289" y="666750"/>
                  </a:moveTo>
                  <a:lnTo>
                    <a:pt x="1870710" y="666750"/>
                  </a:lnTo>
                  <a:cubicBezTo>
                    <a:pt x="1871662" y="669608"/>
                    <a:pt x="1872615" y="673417"/>
                    <a:pt x="1873567" y="676275"/>
                  </a:cubicBezTo>
                  <a:lnTo>
                    <a:pt x="31432" y="676275"/>
                  </a:lnTo>
                  <a:cubicBezTo>
                    <a:pt x="32385" y="673417"/>
                    <a:pt x="33337" y="669608"/>
                    <a:pt x="34289" y="666750"/>
                  </a:cubicBezTo>
                  <a:close/>
                  <a:moveTo>
                    <a:pt x="48577" y="619125"/>
                  </a:moveTo>
                  <a:lnTo>
                    <a:pt x="1857375" y="619125"/>
                  </a:lnTo>
                  <a:cubicBezTo>
                    <a:pt x="1858328" y="621983"/>
                    <a:pt x="1859280" y="625792"/>
                    <a:pt x="1860233" y="628650"/>
                  </a:cubicBezTo>
                  <a:lnTo>
                    <a:pt x="45720" y="628650"/>
                  </a:lnTo>
                  <a:cubicBezTo>
                    <a:pt x="46672" y="625792"/>
                    <a:pt x="47625" y="621983"/>
                    <a:pt x="48577" y="619125"/>
                  </a:cubicBezTo>
                  <a:close/>
                  <a:moveTo>
                    <a:pt x="65722" y="571500"/>
                  </a:moveTo>
                  <a:lnTo>
                    <a:pt x="1839277" y="571500"/>
                  </a:lnTo>
                  <a:cubicBezTo>
                    <a:pt x="1840230" y="574357"/>
                    <a:pt x="1842135" y="578168"/>
                    <a:pt x="1843087" y="581025"/>
                  </a:cubicBezTo>
                  <a:lnTo>
                    <a:pt x="61912" y="581025"/>
                  </a:lnTo>
                  <a:cubicBezTo>
                    <a:pt x="62864" y="578168"/>
                    <a:pt x="64770" y="574357"/>
                    <a:pt x="65722" y="571500"/>
                  </a:cubicBezTo>
                  <a:close/>
                  <a:moveTo>
                    <a:pt x="85725" y="523875"/>
                  </a:moveTo>
                  <a:lnTo>
                    <a:pt x="1819275" y="523875"/>
                  </a:lnTo>
                  <a:cubicBezTo>
                    <a:pt x="1820227" y="526732"/>
                    <a:pt x="1822132" y="530543"/>
                    <a:pt x="1823085" y="533400"/>
                  </a:cubicBezTo>
                  <a:lnTo>
                    <a:pt x="80962" y="533400"/>
                  </a:lnTo>
                  <a:cubicBezTo>
                    <a:pt x="82867" y="530543"/>
                    <a:pt x="83820" y="526732"/>
                    <a:pt x="85725" y="523875"/>
                  </a:cubicBezTo>
                  <a:close/>
                  <a:moveTo>
                    <a:pt x="109538" y="476250"/>
                  </a:moveTo>
                  <a:lnTo>
                    <a:pt x="1796415" y="476250"/>
                  </a:lnTo>
                  <a:cubicBezTo>
                    <a:pt x="1798320" y="479107"/>
                    <a:pt x="1799273" y="482918"/>
                    <a:pt x="1801178" y="485775"/>
                  </a:cubicBezTo>
                  <a:lnTo>
                    <a:pt x="104775" y="485775"/>
                  </a:lnTo>
                  <a:cubicBezTo>
                    <a:pt x="105728" y="482918"/>
                    <a:pt x="107633" y="479107"/>
                    <a:pt x="109538" y="476250"/>
                  </a:cubicBezTo>
                  <a:close/>
                  <a:moveTo>
                    <a:pt x="136207" y="428625"/>
                  </a:moveTo>
                  <a:lnTo>
                    <a:pt x="1768792" y="428625"/>
                  </a:lnTo>
                  <a:cubicBezTo>
                    <a:pt x="1770697" y="431482"/>
                    <a:pt x="1772602" y="435293"/>
                    <a:pt x="1774507" y="438150"/>
                  </a:cubicBezTo>
                  <a:lnTo>
                    <a:pt x="130492" y="438150"/>
                  </a:lnTo>
                  <a:cubicBezTo>
                    <a:pt x="132397" y="435293"/>
                    <a:pt x="134302" y="431482"/>
                    <a:pt x="136207" y="428625"/>
                  </a:cubicBezTo>
                  <a:close/>
                  <a:moveTo>
                    <a:pt x="166687" y="381000"/>
                  </a:moveTo>
                  <a:lnTo>
                    <a:pt x="1738312" y="381000"/>
                  </a:lnTo>
                  <a:cubicBezTo>
                    <a:pt x="1741169" y="383857"/>
                    <a:pt x="1743074" y="387668"/>
                    <a:pt x="1744979" y="390525"/>
                  </a:cubicBezTo>
                  <a:lnTo>
                    <a:pt x="160019" y="390525"/>
                  </a:lnTo>
                  <a:cubicBezTo>
                    <a:pt x="162877" y="387668"/>
                    <a:pt x="164782" y="383857"/>
                    <a:pt x="166687" y="381000"/>
                  </a:cubicBezTo>
                  <a:close/>
                  <a:moveTo>
                    <a:pt x="201929" y="333375"/>
                  </a:moveTo>
                  <a:lnTo>
                    <a:pt x="1704022" y="333375"/>
                  </a:lnTo>
                  <a:cubicBezTo>
                    <a:pt x="1706879" y="336232"/>
                    <a:pt x="1708784" y="340043"/>
                    <a:pt x="1711642" y="342900"/>
                  </a:cubicBezTo>
                  <a:lnTo>
                    <a:pt x="194309" y="342900"/>
                  </a:lnTo>
                  <a:cubicBezTo>
                    <a:pt x="197167" y="340043"/>
                    <a:pt x="199072" y="336232"/>
                    <a:pt x="201929" y="333375"/>
                  </a:cubicBezTo>
                  <a:close/>
                  <a:moveTo>
                    <a:pt x="240981" y="285750"/>
                  </a:moveTo>
                  <a:lnTo>
                    <a:pt x="1664017" y="285750"/>
                  </a:lnTo>
                  <a:cubicBezTo>
                    <a:pt x="1666874" y="288607"/>
                    <a:pt x="1669732" y="292418"/>
                    <a:pt x="1672589" y="295275"/>
                  </a:cubicBezTo>
                  <a:lnTo>
                    <a:pt x="232409" y="295275"/>
                  </a:lnTo>
                  <a:cubicBezTo>
                    <a:pt x="235267" y="292418"/>
                    <a:pt x="238124" y="288607"/>
                    <a:pt x="240981" y="285750"/>
                  </a:cubicBezTo>
                  <a:close/>
                  <a:moveTo>
                    <a:pt x="286702" y="238125"/>
                  </a:moveTo>
                  <a:lnTo>
                    <a:pt x="1619250" y="238125"/>
                  </a:lnTo>
                  <a:cubicBezTo>
                    <a:pt x="1622107" y="240982"/>
                    <a:pt x="1625917" y="244793"/>
                    <a:pt x="1628775" y="247650"/>
                  </a:cubicBezTo>
                  <a:lnTo>
                    <a:pt x="277177" y="247650"/>
                  </a:lnTo>
                  <a:cubicBezTo>
                    <a:pt x="280034" y="244793"/>
                    <a:pt x="282892" y="240982"/>
                    <a:pt x="286702" y="238125"/>
                  </a:cubicBezTo>
                  <a:close/>
                  <a:moveTo>
                    <a:pt x="339090" y="190500"/>
                  </a:moveTo>
                  <a:lnTo>
                    <a:pt x="1565910" y="190500"/>
                  </a:lnTo>
                  <a:cubicBezTo>
                    <a:pt x="1569720" y="193357"/>
                    <a:pt x="1573530" y="197168"/>
                    <a:pt x="1577340" y="200025"/>
                  </a:cubicBezTo>
                  <a:lnTo>
                    <a:pt x="327660" y="200025"/>
                  </a:lnTo>
                  <a:cubicBezTo>
                    <a:pt x="331470" y="197168"/>
                    <a:pt x="335280" y="193357"/>
                    <a:pt x="339090" y="190500"/>
                  </a:cubicBezTo>
                  <a:close/>
                  <a:moveTo>
                    <a:pt x="400049" y="142875"/>
                  </a:moveTo>
                  <a:lnTo>
                    <a:pt x="1503997" y="142875"/>
                  </a:lnTo>
                  <a:cubicBezTo>
                    <a:pt x="1508759" y="145733"/>
                    <a:pt x="1512569" y="149542"/>
                    <a:pt x="1517332" y="152400"/>
                  </a:cubicBezTo>
                  <a:lnTo>
                    <a:pt x="386714" y="152400"/>
                  </a:lnTo>
                  <a:cubicBezTo>
                    <a:pt x="391477" y="149542"/>
                    <a:pt x="395287" y="145733"/>
                    <a:pt x="400049" y="142875"/>
                  </a:cubicBezTo>
                  <a:close/>
                  <a:moveTo>
                    <a:pt x="474345" y="95250"/>
                  </a:moveTo>
                  <a:lnTo>
                    <a:pt x="1429702" y="95250"/>
                  </a:lnTo>
                  <a:cubicBezTo>
                    <a:pt x="1435417" y="98108"/>
                    <a:pt x="1440180" y="101917"/>
                    <a:pt x="1445895" y="104775"/>
                  </a:cubicBezTo>
                  <a:lnTo>
                    <a:pt x="458152" y="104775"/>
                  </a:lnTo>
                  <a:cubicBezTo>
                    <a:pt x="463867" y="101917"/>
                    <a:pt x="468630" y="98108"/>
                    <a:pt x="474345" y="95250"/>
                  </a:cubicBezTo>
                  <a:close/>
                  <a:moveTo>
                    <a:pt x="568642" y="47625"/>
                  </a:moveTo>
                  <a:lnTo>
                    <a:pt x="1337309" y="47625"/>
                  </a:lnTo>
                  <a:cubicBezTo>
                    <a:pt x="1343977" y="50483"/>
                    <a:pt x="1351597" y="54292"/>
                    <a:pt x="1358265" y="57150"/>
                  </a:cubicBezTo>
                  <a:lnTo>
                    <a:pt x="547687" y="57150"/>
                  </a:lnTo>
                  <a:cubicBezTo>
                    <a:pt x="554355" y="54292"/>
                    <a:pt x="561975" y="50483"/>
                    <a:pt x="568642" y="47625"/>
                  </a:cubicBezTo>
                  <a:close/>
                  <a:moveTo>
                    <a:pt x="702945" y="0"/>
                  </a:moveTo>
                  <a:lnTo>
                    <a:pt x="1203960" y="0"/>
                  </a:lnTo>
                  <a:cubicBezTo>
                    <a:pt x="1214438" y="2858"/>
                    <a:pt x="1225867" y="5715"/>
                    <a:pt x="1236345" y="9525"/>
                  </a:cubicBezTo>
                  <a:lnTo>
                    <a:pt x="670560" y="9525"/>
                  </a:lnTo>
                  <a:cubicBezTo>
                    <a:pt x="681037" y="5715"/>
                    <a:pt x="692467" y="2858"/>
                    <a:pt x="702945" y="0"/>
                  </a:cubicBezTo>
                  <a:close/>
                </a:path>
              </a:pathLst>
            </a:custGeom>
            <a:grpFill/>
            <a:ln w="14015" cap="flat">
              <a:noFill/>
              <a:prstDash val="solid"/>
              <a:miter/>
            </a:ln>
          </p:spPr>
          <p:txBody>
            <a:bodyPr rtlCol="0" anchor="ctr"/>
            <a:lstStyle/>
            <a:p>
              <a:pPr lvl="0"/>
              <a:endParaRPr lang="zh-CN" altLang="en-US"/>
            </a:p>
          </p:txBody>
        </p:sp>
        <p:sp>
          <p:nvSpPr>
            <p:cNvPr id="49" name="任意多边形: 形状 48">
              <a:extLst>
                <a:ext uri="{FF2B5EF4-FFF2-40B4-BE49-F238E27FC236}">
                  <a16:creationId xmlns:a16="http://schemas.microsoft.com/office/drawing/2014/main" id="{5BB64C10-DD97-4DF8-B000-003D623AC820}"/>
                </a:ext>
              </a:extLst>
            </p:cNvPr>
            <p:cNvSpPr/>
            <p:nvPr/>
          </p:nvSpPr>
          <p:spPr>
            <a:xfrm>
              <a:off x="9421670" y="0"/>
              <a:ext cx="2770331" cy="1398732"/>
            </a:xfrm>
            <a:custGeom>
              <a:avLst/>
              <a:gdLst>
                <a:gd name="connsiteX0" fmla="*/ 685 w 2770331"/>
                <a:gd name="connsiteY0" fmla="*/ 0 h 1398732"/>
                <a:gd name="connsiteX1" fmla="*/ 2769647 w 2770331"/>
                <a:gd name="connsiteY1" fmla="*/ 0 h 1398732"/>
                <a:gd name="connsiteX2" fmla="*/ 2770331 w 2770331"/>
                <a:gd name="connsiteY2" fmla="*/ 13546 h 1398732"/>
                <a:gd name="connsiteX3" fmla="*/ 2770331 w 2770331"/>
                <a:gd name="connsiteY3" fmla="*/ 13586 h 1398732"/>
                <a:gd name="connsiteX4" fmla="*/ 2763181 w 2770331"/>
                <a:gd name="connsiteY4" fmla="*/ 155191 h 1398732"/>
                <a:gd name="connsiteX5" fmla="*/ 1385167 w 2770331"/>
                <a:gd name="connsiteY5" fmla="*/ 1398732 h 1398732"/>
                <a:gd name="connsiteX6" fmla="*/ 0 w 2770331"/>
                <a:gd name="connsiteY6" fmla="*/ 13566 h 1398732"/>
                <a:gd name="connsiteX7" fmla="*/ 685 w 2770331"/>
                <a:gd name="connsiteY7" fmla="*/ 0 h 1398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70331" h="1398732">
                  <a:moveTo>
                    <a:pt x="685" y="0"/>
                  </a:moveTo>
                  <a:lnTo>
                    <a:pt x="2769647" y="0"/>
                  </a:lnTo>
                  <a:lnTo>
                    <a:pt x="2770331" y="13546"/>
                  </a:lnTo>
                  <a:lnTo>
                    <a:pt x="2770331" y="13586"/>
                  </a:lnTo>
                  <a:lnTo>
                    <a:pt x="2763181" y="155191"/>
                  </a:lnTo>
                  <a:cubicBezTo>
                    <a:pt x="2692246" y="853670"/>
                    <a:pt x="2102359" y="1398732"/>
                    <a:pt x="1385167" y="1398732"/>
                  </a:cubicBezTo>
                  <a:cubicBezTo>
                    <a:pt x="620160" y="1398732"/>
                    <a:pt x="0" y="778572"/>
                    <a:pt x="0" y="13566"/>
                  </a:cubicBezTo>
                  <a:lnTo>
                    <a:pt x="685" y="0"/>
                  </a:lnTo>
                  <a:close/>
                </a:path>
              </a:pathLst>
            </a:custGeom>
            <a:grpFill/>
            <a:ln w="11088" cap="flat">
              <a:noFill/>
              <a:prstDash val="solid"/>
              <a:miter/>
            </a:ln>
          </p:spPr>
          <p:txBody>
            <a:bodyPr rtlCol="0" anchor="ctr"/>
            <a:lstStyle/>
            <a:p>
              <a:pPr lvl="0"/>
              <a:endParaRPr lang="zh-CN" altLang="en-US"/>
            </a:p>
          </p:txBody>
        </p:sp>
        <p:sp>
          <p:nvSpPr>
            <p:cNvPr id="50" name="任意多边形: 形状 49">
              <a:extLst>
                <a:ext uri="{FF2B5EF4-FFF2-40B4-BE49-F238E27FC236}">
                  <a16:creationId xmlns:a16="http://schemas.microsoft.com/office/drawing/2014/main" id="{9968D30F-EFE9-42F5-898F-60E1C5FABD5E}"/>
                </a:ext>
              </a:extLst>
            </p:cNvPr>
            <p:cNvSpPr/>
            <p:nvPr/>
          </p:nvSpPr>
          <p:spPr>
            <a:xfrm>
              <a:off x="5252643" y="3384444"/>
              <a:ext cx="4217150" cy="3473556"/>
            </a:xfrm>
            <a:custGeom>
              <a:avLst/>
              <a:gdLst>
                <a:gd name="connsiteX0" fmla="*/ 2852892 w 4217150"/>
                <a:gd name="connsiteY0" fmla="*/ 466 h 3473556"/>
                <a:gd name="connsiteX1" fmla="*/ 3516107 w 4217150"/>
                <a:gd name="connsiteY1" fmla="*/ 187901 h 3473556"/>
                <a:gd name="connsiteX2" fmla="*/ 4029249 w 4217150"/>
                <a:gd name="connsiteY2" fmla="*/ 2103072 h 3473556"/>
                <a:gd name="connsiteX3" fmla="*/ 3237888 w 4217150"/>
                <a:gd name="connsiteY3" fmla="*/ 3473556 h 3473556"/>
                <a:gd name="connsiteX4" fmla="*/ 0 w 4217150"/>
                <a:gd name="connsiteY4" fmla="*/ 3473556 h 3473556"/>
                <a:gd name="connsiteX5" fmla="*/ 1600936 w 4217150"/>
                <a:gd name="connsiteY5" fmla="*/ 701044 h 3473556"/>
                <a:gd name="connsiteX6" fmla="*/ 2852892 w 4217150"/>
                <a:gd name="connsiteY6" fmla="*/ 466 h 3473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7150" h="3473556">
                  <a:moveTo>
                    <a:pt x="2852892" y="466"/>
                  </a:moveTo>
                  <a:cubicBezTo>
                    <a:pt x="3078904" y="6295"/>
                    <a:pt x="3306679" y="66976"/>
                    <a:pt x="3516107" y="187901"/>
                  </a:cubicBezTo>
                  <a:cubicBezTo>
                    <a:pt x="4186277" y="574861"/>
                    <a:pt x="4416209" y="1432902"/>
                    <a:pt x="4029249" y="2103072"/>
                  </a:cubicBezTo>
                  <a:lnTo>
                    <a:pt x="3237888" y="3473556"/>
                  </a:lnTo>
                  <a:lnTo>
                    <a:pt x="0" y="3473556"/>
                  </a:lnTo>
                  <a:lnTo>
                    <a:pt x="1600936" y="701044"/>
                  </a:lnTo>
                  <a:cubicBezTo>
                    <a:pt x="1866971" y="240302"/>
                    <a:pt x="2355666" y="-12359"/>
                    <a:pt x="2852892" y="466"/>
                  </a:cubicBezTo>
                  <a:close/>
                </a:path>
              </a:pathLst>
            </a:custGeom>
            <a:grpFill/>
            <a:ln w="14015" cap="flat">
              <a:noFill/>
              <a:prstDash val="solid"/>
              <a:miter/>
            </a:ln>
          </p:spPr>
          <p:txBody>
            <a:bodyPr rtlCol="0" anchor="ctr"/>
            <a:lstStyle/>
            <a:p>
              <a:pPr lvl="0"/>
              <a:endParaRPr lang="zh-CN" altLang="en-US"/>
            </a:p>
          </p:txBody>
        </p:sp>
      </p:grpSp>
      <p:grpSp>
        <p:nvGrpSpPr>
          <p:cNvPr id="6" name="组合 5">
            <a:extLst>
              <a:ext uri="{FF2B5EF4-FFF2-40B4-BE49-F238E27FC236}">
                <a16:creationId xmlns:a16="http://schemas.microsoft.com/office/drawing/2014/main" id="{FCBBF52A-9743-4508-AB77-11B57E837547}"/>
              </a:ext>
            </a:extLst>
          </p:cNvPr>
          <p:cNvGrpSpPr/>
          <p:nvPr/>
        </p:nvGrpSpPr>
        <p:grpSpPr>
          <a:xfrm>
            <a:off x="660400" y="2340017"/>
            <a:ext cx="2890521" cy="1850256"/>
            <a:chOff x="3422179" y="1150240"/>
            <a:chExt cx="2890521" cy="1850257"/>
          </a:xfrm>
        </p:grpSpPr>
        <p:sp>
          <p:nvSpPr>
            <p:cNvPr id="7" name="矩形 189">
              <a:extLst>
                <a:ext uri="{FF2B5EF4-FFF2-40B4-BE49-F238E27FC236}">
                  <a16:creationId xmlns:a16="http://schemas.microsoft.com/office/drawing/2014/main" id="{63B72852-A360-4EF8-A2F9-3A064EA5CCA7}"/>
                </a:ext>
              </a:extLst>
            </p:cNvPr>
            <p:cNvSpPr/>
            <p:nvPr/>
          </p:nvSpPr>
          <p:spPr>
            <a:xfrm>
              <a:off x="3422179" y="2665341"/>
              <a:ext cx="2890520" cy="335156"/>
            </a:xfrm>
            <a:prstGeom prst="rect">
              <a:avLst/>
            </a:prstGeom>
            <a:noFill/>
            <a:ln>
              <a:noFill/>
            </a:ln>
          </p:spPr>
          <p:txBody>
            <a:bodyPr wrap="square" anchor="ctr">
              <a:spAutoFit/>
            </a:bodyPr>
            <a:lstStyle/>
            <a:p>
              <a:pPr defTabSz="914332">
                <a:lnSpc>
                  <a:spcPct val="150000"/>
                </a:lnSpc>
                <a:defRPr/>
              </a:pPr>
              <a:r>
                <a:rPr lang="en-US" altLang="zh-CN" sz="1200" dirty="0">
                  <a:solidFill>
                    <a:srgbClr val="FF0000"/>
                  </a:solidFill>
                  <a:latin typeface="Arial" panose="020B0604020202020204" pitchFamily="34" charset="0"/>
                  <a:ea typeface="微软雅黑" panose="020B0503020204020204" pitchFamily="34" charset="-122"/>
                  <a:sym typeface="Arial" panose="020B0604020202020204" pitchFamily="34" charset="0"/>
                  <a:hlinkClick r:id="rId2">
                    <a:extLst>
                      <a:ext uri="{A12FA001-AC4F-418D-AE19-62706E023703}">
                        <ahyp:hlinkClr xmlns:ahyp="http://schemas.microsoft.com/office/drawing/2018/hyperlinkcolor" val="tx"/>
                      </a:ext>
                    </a:extLst>
                  </a:hlinkClick>
                </a:rPr>
                <a:t>https://iSlide-PowerPoint.com</a:t>
              </a:r>
              <a:endParaRPr lang="zh-CN" altLang="en-US" sz="1200" dirty="0">
                <a:solidFill>
                  <a:srgbClr val="FF0000"/>
                </a:solidFill>
                <a:latin typeface="Arial" panose="020B0604020202020204" pitchFamily="34" charset="0"/>
                <a:ea typeface="微软雅黑" panose="020B0503020204020204" pitchFamily="34" charset="-122"/>
                <a:sym typeface="Arial" panose="020B0604020202020204" pitchFamily="34" charset="0"/>
              </a:endParaRPr>
            </a:p>
          </p:txBody>
        </p:sp>
        <p:sp>
          <p:nvSpPr>
            <p:cNvPr id="8" name="矩形 190">
              <a:extLst>
                <a:ext uri="{FF2B5EF4-FFF2-40B4-BE49-F238E27FC236}">
                  <a16:creationId xmlns:a16="http://schemas.microsoft.com/office/drawing/2014/main" id="{F754BA71-8184-4828-95E4-4301AEC6A769}"/>
                </a:ext>
              </a:extLst>
            </p:cNvPr>
            <p:cNvSpPr/>
            <p:nvPr/>
          </p:nvSpPr>
          <p:spPr>
            <a:xfrm>
              <a:off x="3422180" y="1150240"/>
              <a:ext cx="2890520" cy="1224952"/>
            </a:xfrm>
            <a:prstGeom prst="rect">
              <a:avLst/>
            </a:prstGeom>
            <a:noFill/>
            <a:ln>
              <a:noFill/>
            </a:ln>
          </p:spPr>
          <p:txBody>
            <a:bodyPr wrap="square" anchor="t">
              <a:spAutoFit/>
            </a:bodyPr>
            <a:lstStyle/>
            <a:p>
              <a:pPr defTabSz="914332">
                <a:lnSpc>
                  <a:spcPct val="120000"/>
                </a:lnSpc>
                <a:defRPr/>
              </a:pP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海量原创模版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一键优化功能</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lnSpc>
                  <a:spcPct val="120000"/>
                </a:lnSpc>
                <a:defRPr/>
              </a:pP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iSlide</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让 </a:t>
              </a:r>
              <a:r>
                <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PPT </a:t>
              </a:r>
              <a:r>
                <a:rPr lang="zh-CN" altLang="en-US" sz="1400" dirty="0">
                  <a:solidFill>
                    <a:srgbClr val="2F2F2F"/>
                  </a:solidFill>
                  <a:latin typeface="Arial" panose="020B0604020202020204" pitchFamily="34" charset="0"/>
                  <a:ea typeface="微软雅黑" panose="020B0503020204020204" pitchFamily="34" charset="-122"/>
                  <a:sym typeface="Arial" panose="020B0604020202020204" pitchFamily="34" charset="0"/>
                </a:rPr>
                <a:t>设计简单起来！</a:t>
              </a:r>
              <a:endParaRPr lang="en-US" altLang="zh-CN" sz="1400" dirty="0">
                <a:solidFill>
                  <a:srgbClr val="2F2F2F"/>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endParaRPr lang="en-US" altLang="zh-CN" sz="1000" dirty="0">
                <a:solidFill>
                  <a:srgbClr val="000000"/>
                </a:solidFill>
                <a:latin typeface="Arial" panose="020B0604020202020204" pitchFamily="34" charset="0"/>
                <a:ea typeface="微软雅黑" panose="020B0503020204020204" pitchFamily="34" charset="-122"/>
                <a:sym typeface="Arial" panose="020B0604020202020204" pitchFamily="34" charset="0"/>
              </a:endParaRP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One-click Optimization Features &amp; </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Massive Presentation Resources</a:t>
              </a:r>
            </a:p>
            <a:p>
              <a:pPr defTabSz="914332">
                <a:defRPr/>
              </a:pPr>
              <a:r>
                <a:rPr lang="en-US" altLang="zh-CN"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rPr>
                <a:t>Great Presentation Made Easy with iSlide</a:t>
              </a:r>
              <a:endParaRPr lang="zh-CN" altLang="en-US" sz="1000" dirty="0">
                <a:solidFill>
                  <a:schemeClr val="bg1">
                    <a:lumMod val="65000"/>
                  </a:schemeClr>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35" name="组合 34">
            <a:extLst>
              <a:ext uri="{FF2B5EF4-FFF2-40B4-BE49-F238E27FC236}">
                <a16:creationId xmlns:a16="http://schemas.microsoft.com/office/drawing/2014/main" id="{40A731D2-FA13-40C5-BFF0-59E41A667BE9}"/>
              </a:ext>
            </a:extLst>
          </p:cNvPr>
          <p:cNvGrpSpPr/>
          <p:nvPr/>
        </p:nvGrpSpPr>
        <p:grpSpPr>
          <a:xfrm>
            <a:off x="3937427" y="2352595"/>
            <a:ext cx="7581473" cy="3646763"/>
            <a:chOff x="3898800" y="2179738"/>
            <a:chExt cx="7619676" cy="3466182"/>
          </a:xfrm>
        </p:grpSpPr>
        <p:sp>
          <p:nvSpPr>
            <p:cNvPr id="20" name="矩形 19">
              <a:extLst>
                <a:ext uri="{FF2B5EF4-FFF2-40B4-BE49-F238E27FC236}">
                  <a16:creationId xmlns:a16="http://schemas.microsoft.com/office/drawing/2014/main" id="{5647BAD5-E81A-4998-ACB8-5A097424CA8E}"/>
                </a:ext>
              </a:extLst>
            </p:cNvPr>
            <p:cNvSpPr/>
            <p:nvPr/>
          </p:nvSpPr>
          <p:spPr>
            <a:xfrm>
              <a:off x="3898800" y="2495332"/>
              <a:ext cx="7619676" cy="3150588"/>
            </a:xfrm>
            <a:prstGeom prst="rect">
              <a:avLst/>
            </a:prstGeom>
            <a:ln w="3175">
              <a:noFill/>
            </a:ln>
          </p:spPr>
          <p:txBody>
            <a:bodyPr wrap="square">
              <a:noAutofit/>
            </a:bodyPr>
            <a:lstStyle/>
            <a:p>
              <a:pPr>
                <a:lnSpc>
                  <a:spcPct val="150000"/>
                </a:lnSpc>
              </a:pPr>
              <a:r>
                <a:rPr lang="en-US" altLang="zh-CN" sz="900" dirty="0">
                  <a:latin typeface="Arial" panose="020B0604020202020204" pitchFamily="34" charset="0"/>
                  <a:ea typeface="微软雅黑" panose="020B0503020204020204" pitchFamily="34" charset="-122"/>
                  <a:sym typeface="Arial" panose="020B0604020202020204" pitchFamily="34" charset="0"/>
                </a:rPr>
                <a:t>This presentation file is supplied by iSlide.</a:t>
              </a:r>
            </a:p>
            <a:p>
              <a:pPr>
                <a:lnSpc>
                  <a:spcPct val="150000"/>
                </a:lnSpc>
              </a:pPr>
              <a:r>
                <a:rPr lang="en-US" altLang="zh-CN" sz="900" dirty="0">
                  <a:latin typeface="Arial" panose="020B0604020202020204" pitchFamily="34" charset="0"/>
                  <a:ea typeface="微软雅黑" panose="020B0503020204020204" pitchFamily="34" charset="-122"/>
                  <a:sym typeface="Arial" panose="020B0604020202020204" pitchFamily="34" charset="0"/>
                </a:rPr>
                <a:t>iSlide respects all intellectual property rights and protects all the rights its users acquired. Here iSlide solemnly reminds you:</a:t>
              </a:r>
            </a:p>
            <a:p>
              <a:pPr>
                <a:lnSpc>
                  <a:spcPct val="150000"/>
                </a:lnSpc>
              </a:pPr>
              <a:endPar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endParaRP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The ownership and intellectual property of any content in this PowerPoint presentation belongs to its owner or the assignee of this ownership. What you purchased or got for free is the right to use the content. The usage should be subject to the terms of “Copyright Notice”, “User License Agreement”, “Premium Agreement” and more Agreements of iSlide official website. :</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1.You may not use all or part of the content for sale; or rent, lend; or distribute it in any directly profitable way.</a:t>
              </a:r>
            </a:p>
            <a:p>
              <a:pPr>
                <a:lnSpc>
                  <a:spcPct val="150000"/>
                </a:lnSpc>
              </a:pPr>
              <a:r>
                <a:rPr lang="en-US" altLang="zh-CN" sz="900" dirty="0">
                  <a:solidFill>
                    <a:srgbClr val="A6A6A6"/>
                  </a:solidFill>
                  <a:latin typeface="Arial" panose="020B0604020202020204" pitchFamily="34" charset="0"/>
                  <a:ea typeface="微软雅黑" panose="020B0503020204020204" pitchFamily="34" charset="-122"/>
                  <a:sym typeface="Arial" panose="020B0604020202020204" pitchFamily="34" charset="0"/>
                </a:rPr>
                <a:t>2.You may not provide the resource of iSlide add-in/platform to any website, platform, application on the Internet or mobile Internet in any way.</a:t>
              </a:r>
            </a:p>
          </p:txBody>
        </p:sp>
        <p:sp>
          <p:nvSpPr>
            <p:cNvPr id="34" name="矩形 33">
              <a:extLst>
                <a:ext uri="{FF2B5EF4-FFF2-40B4-BE49-F238E27FC236}">
                  <a16:creationId xmlns:a16="http://schemas.microsoft.com/office/drawing/2014/main" id="{AE7ED207-8B71-4A21-A9A5-7C044C1FB5F6}"/>
                </a:ext>
              </a:extLst>
            </p:cNvPr>
            <p:cNvSpPr/>
            <p:nvPr/>
          </p:nvSpPr>
          <p:spPr>
            <a:xfrm>
              <a:off x="3898800" y="2179738"/>
              <a:ext cx="1904105" cy="292536"/>
            </a:xfrm>
            <a:prstGeom prst="rect">
              <a:avLst/>
            </a:prstGeom>
          </p:spPr>
          <p:txBody>
            <a:bodyPr wrap="none">
              <a:spAutoFit/>
            </a:bodyPr>
            <a:lstStyle/>
            <a:p>
              <a:r>
                <a:rPr lang="en-US" altLang="zh-CN" sz="1400" b="1" dirty="0">
                  <a:solidFill>
                    <a:srgbClr val="F73434"/>
                  </a:solidFill>
                  <a:latin typeface="Arial" panose="020B0604020202020204" pitchFamily="34" charset="0"/>
                  <a:ea typeface="微软雅黑" panose="020B0503020204020204" pitchFamily="34" charset="-122"/>
                  <a:sym typeface="Arial" panose="020B0604020202020204" pitchFamily="34" charset="0"/>
                </a:rPr>
                <a:t>IMPORTANT NOTE:</a:t>
              </a:r>
              <a:endParaRPr lang="zh-CN" altLang="en-US" sz="1400" b="1" dirty="0">
                <a:solidFill>
                  <a:srgbClr val="F73434"/>
                </a:solidFill>
                <a:latin typeface="Arial" panose="020B0604020202020204" pitchFamily="34" charset="0"/>
                <a:ea typeface="微软雅黑" panose="020B0503020204020204" pitchFamily="34" charset="-122"/>
                <a:sym typeface="Arial" panose="020B0604020202020204" pitchFamily="34" charset="0"/>
              </a:endParaRPr>
            </a:p>
          </p:txBody>
        </p:sp>
      </p:grpSp>
      <p:grpSp>
        <p:nvGrpSpPr>
          <p:cNvPr id="14" name="组合 13">
            <a:extLst>
              <a:ext uri="{FF2B5EF4-FFF2-40B4-BE49-F238E27FC236}">
                <a16:creationId xmlns:a16="http://schemas.microsoft.com/office/drawing/2014/main" id="{D6757B43-6712-4BAE-8670-B715B10BFA4C}"/>
              </a:ext>
            </a:extLst>
          </p:cNvPr>
          <p:cNvGrpSpPr/>
          <p:nvPr/>
        </p:nvGrpSpPr>
        <p:grpSpPr>
          <a:xfrm>
            <a:off x="660400" y="1193800"/>
            <a:ext cx="1595567" cy="451484"/>
            <a:chOff x="683269" y="1142808"/>
            <a:chExt cx="1595567" cy="451484"/>
          </a:xfrm>
        </p:grpSpPr>
        <p:grpSp>
          <p:nvGrpSpPr>
            <p:cNvPr id="15" name="图形 2">
              <a:extLst>
                <a:ext uri="{FF2B5EF4-FFF2-40B4-BE49-F238E27FC236}">
                  <a16:creationId xmlns:a16="http://schemas.microsoft.com/office/drawing/2014/main" id="{A540713F-FC29-4BB1-A3F5-C1360CCAFA2B}"/>
                </a:ext>
              </a:extLst>
            </p:cNvPr>
            <p:cNvGrpSpPr/>
            <p:nvPr/>
          </p:nvGrpSpPr>
          <p:grpSpPr>
            <a:xfrm>
              <a:off x="683269" y="1142808"/>
              <a:ext cx="450234" cy="451484"/>
              <a:chOff x="683269" y="1142808"/>
              <a:chExt cx="450234" cy="451484"/>
            </a:xfrm>
          </p:grpSpPr>
          <p:sp>
            <p:nvSpPr>
              <p:cNvPr id="17" name="任意多边形: 形状 16">
                <a:extLst>
                  <a:ext uri="{FF2B5EF4-FFF2-40B4-BE49-F238E27FC236}">
                    <a16:creationId xmlns:a16="http://schemas.microsoft.com/office/drawing/2014/main" id="{B52E13E3-2F81-47A6-9CF9-D29EFF6EC715}"/>
                  </a:ext>
                </a:extLst>
              </p:cNvPr>
              <p:cNvSpPr/>
              <p:nvPr/>
            </p:nvSpPr>
            <p:spPr>
              <a:xfrm>
                <a:off x="683269" y="1142808"/>
                <a:ext cx="450234" cy="451484"/>
              </a:xfrm>
              <a:custGeom>
                <a:avLst/>
                <a:gdLst>
                  <a:gd name="connsiteX0" fmla="*/ 450234 w 450234"/>
                  <a:gd name="connsiteY0" fmla="*/ 225742 h 451484"/>
                  <a:gd name="connsiteX1" fmla="*/ 225117 w 450234"/>
                  <a:gd name="connsiteY1" fmla="*/ 451484 h 451484"/>
                  <a:gd name="connsiteX2" fmla="*/ 0 w 450234"/>
                  <a:gd name="connsiteY2" fmla="*/ 225742 h 451484"/>
                  <a:gd name="connsiteX3" fmla="*/ 225117 w 450234"/>
                  <a:gd name="connsiteY3" fmla="*/ 0 h 451484"/>
                  <a:gd name="connsiteX4" fmla="*/ 450234 w 450234"/>
                  <a:gd name="connsiteY4" fmla="*/ 225742 h 45148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0234" h="451484">
                    <a:moveTo>
                      <a:pt x="450234" y="225742"/>
                    </a:moveTo>
                    <a:cubicBezTo>
                      <a:pt x="450234" y="350416"/>
                      <a:pt x="349446" y="451484"/>
                      <a:pt x="225117" y="451484"/>
                    </a:cubicBezTo>
                    <a:cubicBezTo>
                      <a:pt x="100788" y="451484"/>
                      <a:pt x="0" y="350416"/>
                      <a:pt x="0" y="225742"/>
                    </a:cubicBezTo>
                    <a:cubicBezTo>
                      <a:pt x="0" y="101068"/>
                      <a:pt x="100788" y="0"/>
                      <a:pt x="225117" y="0"/>
                    </a:cubicBezTo>
                    <a:cubicBezTo>
                      <a:pt x="349446" y="0"/>
                      <a:pt x="450234" y="101068"/>
                      <a:pt x="450234" y="225742"/>
                    </a:cubicBezTo>
                    <a:close/>
                  </a:path>
                </a:pathLst>
              </a:custGeom>
              <a:solidFill>
                <a:srgbClr val="FFFFFF"/>
              </a:solidFill>
              <a:ln w="2462" cap="flat">
                <a:noFill/>
                <a:prstDash val="solid"/>
                <a:miter/>
              </a:ln>
            </p:spPr>
            <p:txBody>
              <a:bodyPr rtlCol="0" anchor="ctr"/>
              <a:lstStyle/>
              <a:p>
                <a:endParaRPr lang="zh-CN" altLang="en-US"/>
              </a:p>
            </p:txBody>
          </p:sp>
          <p:sp>
            <p:nvSpPr>
              <p:cNvPr id="18" name="任意多边形: 形状 17">
                <a:extLst>
                  <a:ext uri="{FF2B5EF4-FFF2-40B4-BE49-F238E27FC236}">
                    <a16:creationId xmlns:a16="http://schemas.microsoft.com/office/drawing/2014/main" id="{2802B983-0393-404D-8EF6-C2BC0F6D1A21}"/>
                  </a:ext>
                </a:extLst>
              </p:cNvPr>
              <p:cNvSpPr/>
              <p:nvPr/>
            </p:nvSpPr>
            <p:spPr>
              <a:xfrm>
                <a:off x="683269" y="1142808"/>
                <a:ext cx="450234" cy="450003"/>
              </a:xfrm>
              <a:custGeom>
                <a:avLst/>
                <a:gdLst>
                  <a:gd name="connsiteX0" fmla="*/ 132059 w 450234"/>
                  <a:gd name="connsiteY0" fmla="*/ 431254 h 450003"/>
                  <a:gd name="connsiteX1" fmla="*/ 0 w 450234"/>
                  <a:gd name="connsiteY1" fmla="*/ 225495 h 450003"/>
                  <a:gd name="connsiteX2" fmla="*/ 225117 w 450234"/>
                  <a:gd name="connsiteY2" fmla="*/ 0 h 450003"/>
                  <a:gd name="connsiteX3" fmla="*/ 450234 w 450234"/>
                  <a:gd name="connsiteY3" fmla="*/ 225495 h 450003"/>
                  <a:gd name="connsiteX4" fmla="*/ 248320 w 450234"/>
                  <a:gd name="connsiteY4" fmla="*/ 450004 h 450003"/>
                  <a:gd name="connsiteX5" fmla="*/ 282384 w 450234"/>
                  <a:gd name="connsiteY5" fmla="*/ 289394 h 450003"/>
                  <a:gd name="connsiteX6" fmla="*/ 274238 w 450234"/>
                  <a:gd name="connsiteY6" fmla="*/ 244986 h 450003"/>
                  <a:gd name="connsiteX7" fmla="*/ 236965 w 450234"/>
                  <a:gd name="connsiteY7" fmla="*/ 219327 h 450003"/>
                  <a:gd name="connsiteX8" fmla="*/ 236719 w 450234"/>
                  <a:gd name="connsiteY8" fmla="*/ 219327 h 450003"/>
                  <a:gd name="connsiteX9" fmla="*/ 192534 w 450234"/>
                  <a:gd name="connsiteY9" fmla="*/ 227469 h 450003"/>
                  <a:gd name="connsiteX10" fmla="*/ 166863 w 450234"/>
                  <a:gd name="connsiteY10" fmla="*/ 264723 h 450003"/>
                  <a:gd name="connsiteX11" fmla="*/ 132059 w 450234"/>
                  <a:gd name="connsiteY11" fmla="*/ 431254 h 450003"/>
                  <a:gd name="connsiteX12" fmla="*/ 255478 w 450234"/>
                  <a:gd name="connsiteY12" fmla="*/ 75741 h 450003"/>
                  <a:gd name="connsiteX13" fmla="*/ 314473 w 450234"/>
                  <a:gd name="connsiteY13" fmla="*/ 134705 h 450003"/>
                  <a:gd name="connsiteX14" fmla="*/ 255478 w 450234"/>
                  <a:gd name="connsiteY14" fmla="*/ 193669 h 450003"/>
                  <a:gd name="connsiteX15" fmla="*/ 196484 w 450234"/>
                  <a:gd name="connsiteY15" fmla="*/ 134705 h 450003"/>
                  <a:gd name="connsiteX16" fmla="*/ 255478 w 450234"/>
                  <a:gd name="connsiteY16" fmla="*/ 75741 h 45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50234" h="450003">
                    <a:moveTo>
                      <a:pt x="132059" y="431254"/>
                    </a:moveTo>
                    <a:cubicBezTo>
                      <a:pt x="54058" y="395727"/>
                      <a:pt x="0" y="317026"/>
                      <a:pt x="0" y="225495"/>
                    </a:cubicBezTo>
                    <a:cubicBezTo>
                      <a:pt x="0" y="101152"/>
                      <a:pt x="100957" y="0"/>
                      <a:pt x="225117" y="0"/>
                    </a:cubicBezTo>
                    <a:cubicBezTo>
                      <a:pt x="349277" y="0"/>
                      <a:pt x="450234" y="101152"/>
                      <a:pt x="450234" y="225495"/>
                    </a:cubicBezTo>
                    <a:cubicBezTo>
                      <a:pt x="450234" y="342190"/>
                      <a:pt x="361866" y="438162"/>
                      <a:pt x="248320" y="450004"/>
                    </a:cubicBezTo>
                    <a:lnTo>
                      <a:pt x="282384" y="289394"/>
                    </a:lnTo>
                    <a:cubicBezTo>
                      <a:pt x="285593" y="274098"/>
                      <a:pt x="282631" y="258061"/>
                      <a:pt x="274238" y="244986"/>
                    </a:cubicBezTo>
                    <a:cubicBezTo>
                      <a:pt x="265599" y="231910"/>
                      <a:pt x="252269" y="222535"/>
                      <a:pt x="236965" y="219327"/>
                    </a:cubicBezTo>
                    <a:cubicBezTo>
                      <a:pt x="236965" y="219327"/>
                      <a:pt x="236965" y="219327"/>
                      <a:pt x="236719" y="219327"/>
                    </a:cubicBezTo>
                    <a:cubicBezTo>
                      <a:pt x="221415" y="216120"/>
                      <a:pt x="205370" y="219081"/>
                      <a:pt x="192534" y="227469"/>
                    </a:cubicBezTo>
                    <a:cubicBezTo>
                      <a:pt x="179452" y="236104"/>
                      <a:pt x="170072" y="249426"/>
                      <a:pt x="166863" y="264723"/>
                    </a:cubicBezTo>
                    <a:lnTo>
                      <a:pt x="132059" y="431254"/>
                    </a:lnTo>
                    <a:close/>
                    <a:moveTo>
                      <a:pt x="255478" y="75741"/>
                    </a:moveTo>
                    <a:cubicBezTo>
                      <a:pt x="288061" y="75741"/>
                      <a:pt x="314473" y="102386"/>
                      <a:pt x="314473" y="134705"/>
                    </a:cubicBezTo>
                    <a:cubicBezTo>
                      <a:pt x="314473" y="167024"/>
                      <a:pt x="288061" y="193669"/>
                      <a:pt x="255478" y="193669"/>
                    </a:cubicBezTo>
                    <a:cubicBezTo>
                      <a:pt x="222896" y="193669"/>
                      <a:pt x="196484" y="167024"/>
                      <a:pt x="196484" y="134705"/>
                    </a:cubicBezTo>
                    <a:cubicBezTo>
                      <a:pt x="196484" y="102386"/>
                      <a:pt x="222896" y="75741"/>
                      <a:pt x="255478" y="75741"/>
                    </a:cubicBezTo>
                    <a:close/>
                  </a:path>
                </a:pathLst>
              </a:custGeom>
              <a:gradFill flip="none" rotWithShape="1">
                <a:gsLst>
                  <a:gs pos="0">
                    <a:srgbClr val="F93E36"/>
                  </a:gs>
                  <a:gs pos="100000">
                    <a:srgbClr val="FE6440"/>
                  </a:gs>
                </a:gsLst>
                <a:lin ang="18900000" scaled="1"/>
                <a:tileRect/>
              </a:gradFill>
              <a:ln w="2462" cap="flat">
                <a:noFill/>
                <a:prstDash val="solid"/>
                <a:miter/>
              </a:ln>
            </p:spPr>
            <p:txBody>
              <a:bodyPr rtlCol="0" anchor="ctr"/>
              <a:lstStyle/>
              <a:p>
                <a:endParaRPr lang="zh-CN" altLang="en-US" dirty="0"/>
              </a:p>
            </p:txBody>
          </p:sp>
        </p:grpSp>
        <p:sp>
          <p:nvSpPr>
            <p:cNvPr id="16" name="任意多边形: 形状 15">
              <a:extLst>
                <a:ext uri="{FF2B5EF4-FFF2-40B4-BE49-F238E27FC236}">
                  <a16:creationId xmlns:a16="http://schemas.microsoft.com/office/drawing/2014/main" id="{2C1218BD-82A2-4F82-84D5-EBFDB414ABDB}"/>
                </a:ext>
              </a:extLst>
            </p:cNvPr>
            <p:cNvSpPr/>
            <p:nvPr/>
          </p:nvSpPr>
          <p:spPr>
            <a:xfrm>
              <a:off x="1223599" y="1212380"/>
              <a:ext cx="1055237" cy="315374"/>
            </a:xfrm>
            <a:custGeom>
              <a:avLst/>
              <a:gdLst>
                <a:gd name="connsiteX0" fmla="*/ 952120 w 1055237"/>
                <a:gd name="connsiteY0" fmla="*/ 133688 h 315374"/>
                <a:gd name="connsiteX1" fmla="*/ 916514 w 1055237"/>
                <a:gd name="connsiteY1" fmla="*/ 136186 h 315374"/>
                <a:gd name="connsiteX2" fmla="*/ 874304 w 1055237"/>
                <a:gd name="connsiteY2" fmla="*/ 188982 h 315374"/>
                <a:gd name="connsiteX3" fmla="*/ 982913 w 1055237"/>
                <a:gd name="connsiteY3" fmla="*/ 149508 h 315374"/>
                <a:gd name="connsiteX4" fmla="*/ 952120 w 1055237"/>
                <a:gd name="connsiteY4" fmla="*/ 133688 h 315374"/>
                <a:gd name="connsiteX5" fmla="*/ 657333 w 1055237"/>
                <a:gd name="connsiteY5" fmla="*/ 128044 h 315374"/>
                <a:gd name="connsiteX6" fmla="*/ 588218 w 1055237"/>
                <a:gd name="connsiteY6" fmla="*/ 197123 h 315374"/>
                <a:gd name="connsiteX7" fmla="*/ 657333 w 1055237"/>
                <a:gd name="connsiteY7" fmla="*/ 266203 h 315374"/>
                <a:gd name="connsiteX8" fmla="*/ 726448 w 1055237"/>
                <a:gd name="connsiteY8" fmla="*/ 201071 h 315374"/>
                <a:gd name="connsiteX9" fmla="*/ 726448 w 1055237"/>
                <a:gd name="connsiteY9" fmla="*/ 193423 h 315374"/>
                <a:gd name="connsiteX10" fmla="*/ 657333 w 1055237"/>
                <a:gd name="connsiteY10" fmla="*/ 128044 h 315374"/>
                <a:gd name="connsiteX11" fmla="*/ 944739 w 1055237"/>
                <a:gd name="connsiteY11" fmla="*/ 79018 h 315374"/>
                <a:gd name="connsiteX12" fmla="*/ 1050054 w 1055237"/>
                <a:gd name="connsiteY12" fmla="*/ 156663 h 315374"/>
                <a:gd name="connsiteX13" fmla="*/ 1055237 w 1055237"/>
                <a:gd name="connsiteY13" fmla="*/ 175660 h 315374"/>
                <a:gd name="connsiteX14" fmla="*/ 1004142 w 1055237"/>
                <a:gd name="connsiteY14" fmla="*/ 194163 h 315374"/>
                <a:gd name="connsiteX15" fmla="*/ 887387 w 1055237"/>
                <a:gd name="connsiteY15" fmla="*/ 236598 h 315374"/>
                <a:gd name="connsiteX16" fmla="*/ 960945 w 1055237"/>
                <a:gd name="connsiteY16" fmla="*/ 257815 h 315374"/>
                <a:gd name="connsiteX17" fmla="*/ 1000933 w 1055237"/>
                <a:gd name="connsiteY17" fmla="*/ 215381 h 315374"/>
                <a:gd name="connsiteX18" fmla="*/ 1052275 w 1055237"/>
                <a:gd name="connsiteY18" fmla="*/ 230677 h 315374"/>
                <a:gd name="connsiteX19" fmla="*/ 979211 w 1055237"/>
                <a:gd name="connsiteY19" fmla="*/ 308145 h 315374"/>
                <a:gd name="connsiteX20" fmla="*/ 827405 w 1055237"/>
                <a:gd name="connsiteY20" fmla="*/ 237585 h 315374"/>
                <a:gd name="connsiteX21" fmla="*/ 898248 w 1055237"/>
                <a:gd name="connsiteY21" fmla="*/ 86103 h 315374"/>
                <a:gd name="connsiteX22" fmla="*/ 944739 w 1055237"/>
                <a:gd name="connsiteY22" fmla="*/ 79018 h 315374"/>
                <a:gd name="connsiteX23" fmla="*/ 451469 w 1055237"/>
                <a:gd name="connsiteY23" fmla="*/ 78948 h 315374"/>
                <a:gd name="connsiteX24" fmla="*/ 500837 w 1055237"/>
                <a:gd name="connsiteY24" fmla="*/ 78948 h 315374"/>
                <a:gd name="connsiteX25" fmla="*/ 500837 w 1055237"/>
                <a:gd name="connsiteY25" fmla="*/ 315299 h 315374"/>
                <a:gd name="connsiteX26" fmla="*/ 451469 w 1055237"/>
                <a:gd name="connsiteY26" fmla="*/ 315299 h 315374"/>
                <a:gd name="connsiteX27" fmla="*/ 4937 w 1055237"/>
                <a:gd name="connsiteY27" fmla="*/ 78948 h 315374"/>
                <a:gd name="connsiteX28" fmla="*/ 54305 w 1055237"/>
                <a:gd name="connsiteY28" fmla="*/ 78948 h 315374"/>
                <a:gd name="connsiteX29" fmla="*/ 54305 w 1055237"/>
                <a:gd name="connsiteY29" fmla="*/ 315299 h 315374"/>
                <a:gd name="connsiteX30" fmla="*/ 4937 w 1055237"/>
                <a:gd name="connsiteY30" fmla="*/ 315299 h 315374"/>
                <a:gd name="connsiteX31" fmla="*/ 775815 w 1055237"/>
                <a:gd name="connsiteY31" fmla="*/ 0 h 315374"/>
                <a:gd name="connsiteX32" fmla="*/ 775815 w 1055237"/>
                <a:gd name="connsiteY32" fmla="*/ 315299 h 315374"/>
                <a:gd name="connsiteX33" fmla="*/ 726448 w 1055237"/>
                <a:gd name="connsiteY33" fmla="*/ 315299 h 315374"/>
                <a:gd name="connsiteX34" fmla="*/ 726448 w 1055237"/>
                <a:gd name="connsiteY34" fmla="*/ 293095 h 315374"/>
                <a:gd name="connsiteX35" fmla="*/ 657333 w 1055237"/>
                <a:gd name="connsiteY35" fmla="*/ 315299 h 315374"/>
                <a:gd name="connsiteX36" fmla="*/ 538850 w 1055237"/>
                <a:gd name="connsiteY36" fmla="*/ 197123 h 315374"/>
                <a:gd name="connsiteX37" fmla="*/ 657333 w 1055237"/>
                <a:gd name="connsiteY37" fmla="*/ 78948 h 315374"/>
                <a:gd name="connsiteX38" fmla="*/ 726448 w 1055237"/>
                <a:gd name="connsiteY38" fmla="*/ 101152 h 315374"/>
                <a:gd name="connsiteX39" fmla="*/ 726448 w 1055237"/>
                <a:gd name="connsiteY39" fmla="*/ 247 h 315374"/>
                <a:gd name="connsiteX40" fmla="*/ 476153 w 1055237"/>
                <a:gd name="connsiteY40" fmla="*/ 0 h 315374"/>
                <a:gd name="connsiteX41" fmla="*/ 505773 w 1055237"/>
                <a:gd name="connsiteY41" fmla="*/ 29606 h 315374"/>
                <a:gd name="connsiteX42" fmla="*/ 476153 w 1055237"/>
                <a:gd name="connsiteY42" fmla="*/ 59211 h 315374"/>
                <a:gd name="connsiteX43" fmla="*/ 446532 w 1055237"/>
                <a:gd name="connsiteY43" fmla="*/ 29606 h 315374"/>
                <a:gd name="connsiteX44" fmla="*/ 476153 w 1055237"/>
                <a:gd name="connsiteY44" fmla="*/ 0 h 315374"/>
                <a:gd name="connsiteX45" fmla="*/ 352733 w 1055237"/>
                <a:gd name="connsiteY45" fmla="*/ 0 h 315374"/>
                <a:gd name="connsiteX46" fmla="*/ 402101 w 1055237"/>
                <a:gd name="connsiteY46" fmla="*/ 0 h 315374"/>
                <a:gd name="connsiteX47" fmla="*/ 402101 w 1055237"/>
                <a:gd name="connsiteY47" fmla="*/ 315299 h 315374"/>
                <a:gd name="connsiteX48" fmla="*/ 352733 w 1055237"/>
                <a:gd name="connsiteY48" fmla="*/ 315299 h 315374"/>
                <a:gd name="connsiteX49" fmla="*/ 205370 w 1055237"/>
                <a:gd name="connsiteY49" fmla="*/ 0 h 315374"/>
                <a:gd name="connsiteX50" fmla="*/ 297194 w 1055237"/>
                <a:gd name="connsiteY50" fmla="*/ 29112 h 315374"/>
                <a:gd name="connsiteX51" fmla="*/ 300897 w 1055237"/>
                <a:gd name="connsiteY51" fmla="*/ 32319 h 315374"/>
                <a:gd name="connsiteX52" fmla="*/ 271523 w 1055237"/>
                <a:gd name="connsiteY52" fmla="*/ 67599 h 315374"/>
                <a:gd name="connsiteX53" fmla="*/ 268808 w 1055237"/>
                <a:gd name="connsiteY53" fmla="*/ 65132 h 315374"/>
                <a:gd name="connsiteX54" fmla="*/ 267573 w 1055237"/>
                <a:gd name="connsiteY54" fmla="*/ 63899 h 315374"/>
                <a:gd name="connsiteX55" fmla="*/ 203149 w 1055237"/>
                <a:gd name="connsiteY55" fmla="*/ 44408 h 315374"/>
                <a:gd name="connsiteX56" fmla="*/ 148844 w 1055237"/>
                <a:gd name="connsiteY56" fmla="*/ 90050 h 315374"/>
                <a:gd name="connsiteX57" fmla="*/ 159952 w 1055237"/>
                <a:gd name="connsiteY57" fmla="*/ 116942 h 315374"/>
                <a:gd name="connsiteX58" fmla="*/ 192288 w 1055237"/>
                <a:gd name="connsiteY58" fmla="*/ 130758 h 315374"/>
                <a:gd name="connsiteX59" fmla="*/ 230054 w 1055237"/>
                <a:gd name="connsiteY59" fmla="*/ 136185 h 315374"/>
                <a:gd name="connsiteX60" fmla="*/ 288308 w 1055237"/>
                <a:gd name="connsiteY60" fmla="*/ 159376 h 315374"/>
                <a:gd name="connsiteX61" fmla="*/ 311511 w 1055237"/>
                <a:gd name="connsiteY61" fmla="*/ 223275 h 315374"/>
                <a:gd name="connsiteX62" fmla="*/ 279422 w 1055237"/>
                <a:gd name="connsiteY62" fmla="*/ 291121 h 315374"/>
                <a:gd name="connsiteX63" fmla="*/ 198459 w 1055237"/>
                <a:gd name="connsiteY63" fmla="*/ 315299 h 315374"/>
                <a:gd name="connsiteX64" fmla="*/ 92071 w 1055237"/>
                <a:gd name="connsiteY64" fmla="*/ 280512 h 315374"/>
                <a:gd name="connsiteX65" fmla="*/ 122432 w 1055237"/>
                <a:gd name="connsiteY65" fmla="*/ 244739 h 315374"/>
                <a:gd name="connsiteX66" fmla="*/ 199199 w 1055237"/>
                <a:gd name="connsiteY66" fmla="*/ 269657 h 315374"/>
                <a:gd name="connsiteX67" fmla="*/ 260909 w 1055237"/>
                <a:gd name="connsiteY67" fmla="*/ 225002 h 315374"/>
                <a:gd name="connsiteX68" fmla="*/ 249307 w 1055237"/>
                <a:gd name="connsiteY68" fmla="*/ 194410 h 315374"/>
                <a:gd name="connsiteX69" fmla="*/ 218206 w 1055237"/>
                <a:gd name="connsiteY69" fmla="*/ 181827 h 315374"/>
                <a:gd name="connsiteX70" fmla="*/ 179699 w 1055237"/>
                <a:gd name="connsiteY70" fmla="*/ 176399 h 315374"/>
                <a:gd name="connsiteX71" fmla="*/ 120704 w 1055237"/>
                <a:gd name="connsiteY71" fmla="*/ 151235 h 315374"/>
                <a:gd name="connsiteX72" fmla="*/ 99229 w 1055237"/>
                <a:gd name="connsiteY72" fmla="*/ 91777 h 315374"/>
                <a:gd name="connsiteX73" fmla="*/ 205370 w 1055237"/>
                <a:gd name="connsiteY73" fmla="*/ 0 h 315374"/>
                <a:gd name="connsiteX74" fmla="*/ 29621 w 1055237"/>
                <a:gd name="connsiteY74" fmla="*/ 0 h 315374"/>
                <a:gd name="connsiteX75" fmla="*/ 59241 w 1055237"/>
                <a:gd name="connsiteY75" fmla="*/ 29606 h 315374"/>
                <a:gd name="connsiteX76" fmla="*/ 29621 w 1055237"/>
                <a:gd name="connsiteY76" fmla="*/ 59211 h 315374"/>
                <a:gd name="connsiteX77" fmla="*/ 0 w 1055237"/>
                <a:gd name="connsiteY77" fmla="*/ 29606 h 315374"/>
                <a:gd name="connsiteX78" fmla="*/ 29621 w 1055237"/>
                <a:gd name="connsiteY78" fmla="*/ 0 h 3153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55237" h="315374">
                  <a:moveTo>
                    <a:pt x="952120" y="133688"/>
                  </a:moveTo>
                  <a:cubicBezTo>
                    <a:pt x="940642" y="131252"/>
                    <a:pt x="928362" y="131869"/>
                    <a:pt x="916514" y="136186"/>
                  </a:cubicBezTo>
                  <a:cubicBezTo>
                    <a:pt x="892817" y="144821"/>
                    <a:pt x="877266" y="165791"/>
                    <a:pt x="874304" y="188982"/>
                  </a:cubicBezTo>
                  <a:lnTo>
                    <a:pt x="982913" y="149508"/>
                  </a:lnTo>
                  <a:cubicBezTo>
                    <a:pt x="974274" y="141614"/>
                    <a:pt x="963598" y="136124"/>
                    <a:pt x="952120" y="133688"/>
                  </a:cubicBezTo>
                  <a:close/>
                  <a:moveTo>
                    <a:pt x="657333" y="128044"/>
                  </a:moveTo>
                  <a:cubicBezTo>
                    <a:pt x="619073" y="128044"/>
                    <a:pt x="588218" y="158883"/>
                    <a:pt x="588218" y="197123"/>
                  </a:cubicBezTo>
                  <a:cubicBezTo>
                    <a:pt x="588218" y="235364"/>
                    <a:pt x="619319" y="266203"/>
                    <a:pt x="657333" y="266203"/>
                  </a:cubicBezTo>
                  <a:cubicBezTo>
                    <a:pt x="694359" y="266203"/>
                    <a:pt x="724473" y="237338"/>
                    <a:pt x="726448" y="201071"/>
                  </a:cubicBezTo>
                  <a:lnTo>
                    <a:pt x="726448" y="193423"/>
                  </a:lnTo>
                  <a:cubicBezTo>
                    <a:pt x="724473" y="156909"/>
                    <a:pt x="694359" y="128044"/>
                    <a:pt x="657333" y="128044"/>
                  </a:cubicBezTo>
                  <a:close/>
                  <a:moveTo>
                    <a:pt x="944739" y="79018"/>
                  </a:moveTo>
                  <a:cubicBezTo>
                    <a:pt x="990813" y="81308"/>
                    <a:pt x="1033207" y="110590"/>
                    <a:pt x="1050054" y="156663"/>
                  </a:cubicBezTo>
                  <a:cubicBezTo>
                    <a:pt x="1052275" y="162831"/>
                    <a:pt x="1054003" y="169245"/>
                    <a:pt x="1055237" y="175660"/>
                  </a:cubicBezTo>
                  <a:lnTo>
                    <a:pt x="1004142" y="194163"/>
                  </a:lnTo>
                  <a:lnTo>
                    <a:pt x="887387" y="236598"/>
                  </a:lnTo>
                  <a:cubicBezTo>
                    <a:pt x="904172" y="258309"/>
                    <a:pt x="933792" y="267684"/>
                    <a:pt x="960945" y="257815"/>
                  </a:cubicBezTo>
                  <a:cubicBezTo>
                    <a:pt x="980198" y="250907"/>
                    <a:pt x="995009" y="235118"/>
                    <a:pt x="1000933" y="215381"/>
                  </a:cubicBezTo>
                  <a:lnTo>
                    <a:pt x="1052275" y="230677"/>
                  </a:lnTo>
                  <a:cubicBezTo>
                    <a:pt x="1041661" y="266697"/>
                    <a:pt x="1014509" y="295315"/>
                    <a:pt x="979211" y="308145"/>
                  </a:cubicBezTo>
                  <a:cubicBezTo>
                    <a:pt x="917748" y="330595"/>
                    <a:pt x="849867" y="299016"/>
                    <a:pt x="827405" y="237585"/>
                  </a:cubicBezTo>
                  <a:cubicBezTo>
                    <a:pt x="804942" y="176400"/>
                    <a:pt x="836785" y="108307"/>
                    <a:pt x="898248" y="86103"/>
                  </a:cubicBezTo>
                  <a:cubicBezTo>
                    <a:pt x="913614" y="80490"/>
                    <a:pt x="929381" y="78255"/>
                    <a:pt x="944739" y="79018"/>
                  </a:cubicBezTo>
                  <a:close/>
                  <a:moveTo>
                    <a:pt x="451469" y="78948"/>
                  </a:moveTo>
                  <a:lnTo>
                    <a:pt x="500837" y="78948"/>
                  </a:lnTo>
                  <a:lnTo>
                    <a:pt x="500837" y="315299"/>
                  </a:lnTo>
                  <a:lnTo>
                    <a:pt x="451469" y="315299"/>
                  </a:lnTo>
                  <a:close/>
                  <a:moveTo>
                    <a:pt x="4937" y="78948"/>
                  </a:moveTo>
                  <a:lnTo>
                    <a:pt x="54305" y="78948"/>
                  </a:lnTo>
                  <a:lnTo>
                    <a:pt x="54305" y="315299"/>
                  </a:lnTo>
                  <a:lnTo>
                    <a:pt x="4937" y="315299"/>
                  </a:lnTo>
                  <a:close/>
                  <a:moveTo>
                    <a:pt x="775815" y="0"/>
                  </a:moveTo>
                  <a:lnTo>
                    <a:pt x="775815" y="315299"/>
                  </a:lnTo>
                  <a:lnTo>
                    <a:pt x="726448" y="315299"/>
                  </a:lnTo>
                  <a:lnTo>
                    <a:pt x="726448" y="293095"/>
                  </a:lnTo>
                  <a:cubicBezTo>
                    <a:pt x="706947" y="307157"/>
                    <a:pt x="683004" y="315299"/>
                    <a:pt x="657333" y="315299"/>
                  </a:cubicBezTo>
                  <a:cubicBezTo>
                    <a:pt x="591920" y="315299"/>
                    <a:pt x="538850" y="262255"/>
                    <a:pt x="538850" y="197123"/>
                  </a:cubicBezTo>
                  <a:cubicBezTo>
                    <a:pt x="538850" y="131991"/>
                    <a:pt x="591920" y="78948"/>
                    <a:pt x="657333" y="78948"/>
                  </a:cubicBezTo>
                  <a:cubicBezTo>
                    <a:pt x="683004" y="78948"/>
                    <a:pt x="706947" y="87090"/>
                    <a:pt x="726448" y="101152"/>
                  </a:cubicBezTo>
                  <a:lnTo>
                    <a:pt x="726448" y="247"/>
                  </a:lnTo>
                  <a:close/>
                  <a:moveTo>
                    <a:pt x="476153" y="0"/>
                  </a:moveTo>
                  <a:cubicBezTo>
                    <a:pt x="492444" y="0"/>
                    <a:pt x="505773" y="13322"/>
                    <a:pt x="505773" y="29606"/>
                  </a:cubicBezTo>
                  <a:cubicBezTo>
                    <a:pt x="505773" y="45889"/>
                    <a:pt x="492444" y="59211"/>
                    <a:pt x="476153" y="59211"/>
                  </a:cubicBezTo>
                  <a:cubicBezTo>
                    <a:pt x="459861" y="59211"/>
                    <a:pt x="446532" y="45889"/>
                    <a:pt x="446532" y="29606"/>
                  </a:cubicBezTo>
                  <a:cubicBezTo>
                    <a:pt x="446532" y="13322"/>
                    <a:pt x="459861" y="0"/>
                    <a:pt x="476153" y="0"/>
                  </a:cubicBezTo>
                  <a:close/>
                  <a:moveTo>
                    <a:pt x="352733" y="0"/>
                  </a:moveTo>
                  <a:lnTo>
                    <a:pt x="402101" y="0"/>
                  </a:lnTo>
                  <a:lnTo>
                    <a:pt x="402101" y="315299"/>
                  </a:lnTo>
                  <a:lnTo>
                    <a:pt x="352733" y="315299"/>
                  </a:lnTo>
                  <a:close/>
                  <a:moveTo>
                    <a:pt x="205370" y="0"/>
                  </a:moveTo>
                  <a:cubicBezTo>
                    <a:pt x="245111" y="0"/>
                    <a:pt x="273004" y="8882"/>
                    <a:pt x="297194" y="29112"/>
                  </a:cubicBezTo>
                  <a:lnTo>
                    <a:pt x="300897" y="32319"/>
                  </a:lnTo>
                  <a:lnTo>
                    <a:pt x="271523" y="67599"/>
                  </a:lnTo>
                  <a:cubicBezTo>
                    <a:pt x="271523" y="67599"/>
                    <a:pt x="269795" y="66119"/>
                    <a:pt x="268808" y="65132"/>
                  </a:cubicBezTo>
                  <a:cubicBezTo>
                    <a:pt x="268314" y="64639"/>
                    <a:pt x="267820" y="63899"/>
                    <a:pt x="267573" y="63899"/>
                  </a:cubicBezTo>
                  <a:cubicBezTo>
                    <a:pt x="246839" y="46875"/>
                    <a:pt x="222402" y="44408"/>
                    <a:pt x="203149" y="44408"/>
                  </a:cubicBezTo>
                  <a:cubicBezTo>
                    <a:pt x="163161" y="44408"/>
                    <a:pt x="148844" y="69080"/>
                    <a:pt x="148844" y="90050"/>
                  </a:cubicBezTo>
                  <a:cubicBezTo>
                    <a:pt x="148844" y="100412"/>
                    <a:pt x="152793" y="110034"/>
                    <a:pt x="159952" y="116942"/>
                  </a:cubicBezTo>
                  <a:cubicBezTo>
                    <a:pt x="167604" y="124096"/>
                    <a:pt x="179205" y="129031"/>
                    <a:pt x="192288" y="130758"/>
                  </a:cubicBezTo>
                  <a:lnTo>
                    <a:pt x="230054" y="136185"/>
                  </a:lnTo>
                  <a:cubicBezTo>
                    <a:pt x="256466" y="139886"/>
                    <a:pt x="274485" y="147041"/>
                    <a:pt x="288308" y="159376"/>
                  </a:cubicBezTo>
                  <a:cubicBezTo>
                    <a:pt x="303612" y="173932"/>
                    <a:pt x="311264" y="195396"/>
                    <a:pt x="311511" y="223275"/>
                  </a:cubicBezTo>
                  <a:cubicBezTo>
                    <a:pt x="311511" y="251153"/>
                    <a:pt x="300403" y="274591"/>
                    <a:pt x="279422" y="291121"/>
                  </a:cubicBezTo>
                  <a:cubicBezTo>
                    <a:pt x="259428" y="306664"/>
                    <a:pt x="230548" y="315299"/>
                    <a:pt x="198459" y="315299"/>
                  </a:cubicBezTo>
                  <a:cubicBezTo>
                    <a:pt x="151066" y="315299"/>
                    <a:pt x="118730" y="304690"/>
                    <a:pt x="92071" y="280512"/>
                  </a:cubicBezTo>
                  <a:lnTo>
                    <a:pt x="122432" y="244739"/>
                  </a:lnTo>
                  <a:cubicBezTo>
                    <a:pt x="141192" y="261515"/>
                    <a:pt x="166369" y="269657"/>
                    <a:pt x="199199" y="269657"/>
                  </a:cubicBezTo>
                  <a:cubicBezTo>
                    <a:pt x="252763" y="269657"/>
                    <a:pt x="260909" y="241778"/>
                    <a:pt x="260909" y="225002"/>
                  </a:cubicBezTo>
                  <a:cubicBezTo>
                    <a:pt x="260909" y="212173"/>
                    <a:pt x="256959" y="201811"/>
                    <a:pt x="249307" y="194410"/>
                  </a:cubicBezTo>
                  <a:cubicBezTo>
                    <a:pt x="241902" y="187502"/>
                    <a:pt x="233757" y="184294"/>
                    <a:pt x="218206" y="181827"/>
                  </a:cubicBezTo>
                  <a:lnTo>
                    <a:pt x="179699" y="176399"/>
                  </a:lnTo>
                  <a:cubicBezTo>
                    <a:pt x="153534" y="172452"/>
                    <a:pt x="134034" y="164311"/>
                    <a:pt x="120704" y="151235"/>
                  </a:cubicBezTo>
                  <a:cubicBezTo>
                    <a:pt x="106388" y="136679"/>
                    <a:pt x="99229" y="117188"/>
                    <a:pt x="99229" y="91777"/>
                  </a:cubicBezTo>
                  <a:cubicBezTo>
                    <a:pt x="99476" y="36020"/>
                    <a:pt x="140945" y="0"/>
                    <a:pt x="205370" y="0"/>
                  </a:cubicBezTo>
                  <a:close/>
                  <a:moveTo>
                    <a:pt x="29621" y="0"/>
                  </a:moveTo>
                  <a:cubicBezTo>
                    <a:pt x="45980" y="0"/>
                    <a:pt x="59241" y="13255"/>
                    <a:pt x="59241" y="29606"/>
                  </a:cubicBezTo>
                  <a:cubicBezTo>
                    <a:pt x="59241" y="45956"/>
                    <a:pt x="45980" y="59211"/>
                    <a:pt x="29621" y="59211"/>
                  </a:cubicBezTo>
                  <a:cubicBezTo>
                    <a:pt x="13262" y="59211"/>
                    <a:pt x="0" y="45956"/>
                    <a:pt x="0" y="29606"/>
                  </a:cubicBezTo>
                  <a:cubicBezTo>
                    <a:pt x="0" y="13255"/>
                    <a:pt x="13262" y="0"/>
                    <a:pt x="29621" y="0"/>
                  </a:cubicBezTo>
                  <a:close/>
                </a:path>
              </a:pathLst>
            </a:custGeom>
            <a:solidFill>
              <a:srgbClr val="2F2F2F"/>
            </a:solidFill>
            <a:ln w="2462" cap="flat">
              <a:noFill/>
              <a:prstDash val="solid"/>
              <a:miter/>
            </a:ln>
          </p:spPr>
          <p:txBody>
            <a:bodyPr rtlCol="0" anchor="ctr"/>
            <a:lstStyle/>
            <a:p>
              <a:endParaRPr lang="zh-CN" altLang="en-US"/>
            </a:p>
          </p:txBody>
        </p:sp>
      </p:grpSp>
    </p:spTree>
    <p:extLst>
      <p:ext uri="{BB962C8B-B14F-4D97-AF65-F5344CB8AC3E}">
        <p14:creationId xmlns:p14="http://schemas.microsoft.com/office/powerpoint/2010/main" val="12371926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86B13705-25A8-45A6-825A-3FC0CE51D8A6}"/>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66451473-8D11-44F1-BB7E-E82E53968096}"/>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C84F2F33-5C8D-4D50-A3F9-806B91C86DB0}"/>
              </a:ext>
            </a:extLst>
          </p:cNvPr>
          <p:cNvSpPr>
            <a:spLocks noGrp="1"/>
          </p:cNvSpPr>
          <p:nvPr>
            <p:ph type="sldNum" sz="quarter" idx="12"/>
          </p:nvPr>
        </p:nvSpPr>
        <p:spPr/>
        <p:txBody>
          <a:bodyPr/>
          <a:lstStyle/>
          <a:p>
            <a:fld id="{5DD3DB80-B894-403A-B48E-6FDC1A72010E}" type="slidenum">
              <a:rPr lang="zh-CN" altLang="en-US" smtClean="0"/>
              <a:pPr/>
              <a:t>4</a:t>
            </a:fld>
            <a:endParaRPr lang="zh-CN" altLang="en-US"/>
          </a:p>
        </p:txBody>
      </p:sp>
      <p:grpSp>
        <p:nvGrpSpPr>
          <p:cNvPr id="5" name="200575"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9061D48E-37BB-47E4-B8D2-88B572965D80}"/>
              </a:ext>
            </a:extLst>
          </p:cNvPr>
          <p:cNvGrpSpPr>
            <a:grpSpLocks noChangeAspect="1"/>
          </p:cNvGrpSpPr>
          <p:nvPr/>
        </p:nvGrpSpPr>
        <p:grpSpPr>
          <a:xfrm>
            <a:off x="672083" y="1399294"/>
            <a:ext cx="10847833" cy="4837994"/>
            <a:chOff x="672083" y="1399294"/>
            <a:chExt cx="10847833" cy="4837994"/>
          </a:xfrm>
        </p:grpSpPr>
        <p:grpSp>
          <p:nvGrpSpPr>
            <p:cNvPr id="6" name="í$ľîḑe">
              <a:extLst>
                <a:ext uri="{FF2B5EF4-FFF2-40B4-BE49-F238E27FC236}">
                  <a16:creationId xmlns:a16="http://schemas.microsoft.com/office/drawing/2014/main" id="{6F8C9F2B-4EBF-4D6A-A62B-D6B31C9E6C8F}"/>
                </a:ext>
              </a:extLst>
            </p:cNvPr>
            <p:cNvGrpSpPr/>
            <p:nvPr/>
          </p:nvGrpSpPr>
          <p:grpSpPr>
            <a:xfrm>
              <a:off x="5226152" y="1399294"/>
              <a:ext cx="3392747" cy="3152848"/>
              <a:chOff x="5226152" y="1399294"/>
              <a:chExt cx="3392747" cy="3152848"/>
            </a:xfrm>
          </p:grpSpPr>
          <p:sp>
            <p:nvSpPr>
              <p:cNvPr id="21" name="îslïďé">
                <a:extLst>
                  <a:ext uri="{FF2B5EF4-FFF2-40B4-BE49-F238E27FC236}">
                    <a16:creationId xmlns:a16="http://schemas.microsoft.com/office/drawing/2014/main" id="{AD807E39-BFD8-4F96-ADE5-4F568C171C1A}"/>
                  </a:ext>
                </a:extLst>
              </p:cNvPr>
              <p:cNvSpPr/>
              <p:nvPr/>
            </p:nvSpPr>
            <p:spPr>
              <a:xfrm rot="21412315" flipH="1">
                <a:off x="6949878" y="1399294"/>
                <a:ext cx="1669021" cy="3109418"/>
              </a:xfrm>
              <a:custGeom>
                <a:avLst/>
                <a:gdLst/>
                <a:ahLst/>
                <a:cxnLst>
                  <a:cxn ang="0">
                    <a:pos x="wd2" y="hd2"/>
                  </a:cxn>
                  <a:cxn ang="5400000">
                    <a:pos x="wd2" y="hd2"/>
                  </a:cxn>
                  <a:cxn ang="10800000">
                    <a:pos x="wd2" y="hd2"/>
                  </a:cxn>
                  <a:cxn ang="16200000">
                    <a:pos x="wd2" y="hd2"/>
                  </a:cxn>
                </a:cxnLst>
                <a:rect l="0" t="0" r="r" b="b"/>
                <a:pathLst>
                  <a:path w="21600" h="21600" extrusionOk="0">
                    <a:moveTo>
                      <a:pt x="19642" y="0"/>
                    </a:moveTo>
                    <a:lnTo>
                      <a:pt x="0" y="21117"/>
                    </a:lnTo>
                    <a:lnTo>
                      <a:pt x="1654" y="21600"/>
                    </a:lnTo>
                    <a:lnTo>
                      <a:pt x="21600" y="156"/>
                    </a:lnTo>
                    <a:lnTo>
                      <a:pt x="19642" y="0"/>
                    </a:lnTo>
                    <a:close/>
                  </a:path>
                </a:pathLst>
              </a:custGeom>
              <a:solidFill>
                <a:schemeClr val="bg1"/>
              </a:solidFill>
              <a:ln w="6350" cap="flat">
                <a:solidFill>
                  <a:srgbClr val="CFCFCF"/>
                </a:solidFill>
                <a:prstDash val="solid"/>
                <a:miter lim="400000"/>
              </a:ln>
              <a:effectLst/>
            </p:spPr>
            <p:txBody>
              <a:bodyPr wrap="square" lIns="91440" tIns="45720" rIns="91440" bIns="45720" anchor="ctr">
                <a:noAutofit/>
              </a:bodyPr>
              <a:lstStyle/>
              <a:p>
                <a:pPr algn="ctr"/>
                <a:endParaRPr/>
              </a:p>
            </p:txBody>
          </p:sp>
          <p:sp>
            <p:nvSpPr>
              <p:cNvPr id="22" name="ísļíḑe">
                <a:extLst>
                  <a:ext uri="{FF2B5EF4-FFF2-40B4-BE49-F238E27FC236}">
                    <a16:creationId xmlns:a16="http://schemas.microsoft.com/office/drawing/2014/main" id="{AD042E71-FACA-4147-B9FB-8C3CAFCE8A96}"/>
                  </a:ext>
                </a:extLst>
              </p:cNvPr>
              <p:cNvSpPr/>
              <p:nvPr/>
            </p:nvSpPr>
            <p:spPr>
              <a:xfrm rot="21412315" flipH="1">
                <a:off x="5420891" y="1465157"/>
                <a:ext cx="3071741" cy="3086985"/>
              </a:xfrm>
              <a:custGeom>
                <a:avLst/>
                <a:gdLst/>
                <a:ahLst/>
                <a:cxnLst>
                  <a:cxn ang="0">
                    <a:pos x="wd2" y="hd2"/>
                  </a:cxn>
                  <a:cxn ang="5400000">
                    <a:pos x="wd2" y="hd2"/>
                  </a:cxn>
                  <a:cxn ang="10800000">
                    <a:pos x="wd2" y="hd2"/>
                  </a:cxn>
                  <a:cxn ang="16200000">
                    <a:pos x="wd2" y="hd2"/>
                  </a:cxn>
                </a:cxnLst>
                <a:rect l="0" t="0" r="r" b="b"/>
                <a:pathLst>
                  <a:path w="21600" h="21600" extrusionOk="0">
                    <a:moveTo>
                      <a:pt x="10838" y="0"/>
                    </a:moveTo>
                    <a:lnTo>
                      <a:pt x="0" y="21600"/>
                    </a:lnTo>
                    <a:lnTo>
                      <a:pt x="21600" y="18579"/>
                    </a:lnTo>
                    <a:cubicBezTo>
                      <a:pt x="21600" y="18579"/>
                      <a:pt x="10838" y="0"/>
                      <a:pt x="10838" y="0"/>
                    </a:cubicBezTo>
                    <a:close/>
                  </a:path>
                </a:pathLst>
              </a:custGeom>
              <a:solidFill>
                <a:schemeClr val="bg1">
                  <a:lumMod val="85000"/>
                </a:schemeClr>
              </a:solidFill>
              <a:ln w="12700" cap="flat">
                <a:noFill/>
                <a:miter lim="400000"/>
              </a:ln>
              <a:effectLst/>
            </p:spPr>
            <p:txBody>
              <a:bodyPr wrap="square" lIns="91440" tIns="45720" rIns="91440" bIns="45720" anchor="ctr">
                <a:noAutofit/>
              </a:bodyPr>
              <a:lstStyle/>
              <a:p>
                <a:pPr algn="ctr"/>
                <a:endParaRPr/>
              </a:p>
            </p:txBody>
          </p:sp>
          <p:sp>
            <p:nvSpPr>
              <p:cNvPr id="23" name="îś1idé">
                <a:extLst>
                  <a:ext uri="{FF2B5EF4-FFF2-40B4-BE49-F238E27FC236}">
                    <a16:creationId xmlns:a16="http://schemas.microsoft.com/office/drawing/2014/main" id="{586088FD-47CD-4521-9BB9-05BD44271C05}"/>
                  </a:ext>
                </a:extLst>
              </p:cNvPr>
              <p:cNvSpPr/>
              <p:nvPr/>
            </p:nvSpPr>
            <p:spPr>
              <a:xfrm rot="21412315" flipH="1">
                <a:off x="6343384" y="2377356"/>
                <a:ext cx="1155652" cy="2128636"/>
              </a:xfrm>
              <a:custGeom>
                <a:avLst/>
                <a:gdLst/>
                <a:ahLst/>
                <a:cxnLst>
                  <a:cxn ang="0">
                    <a:pos x="wd2" y="hd2"/>
                  </a:cxn>
                  <a:cxn ang="5400000">
                    <a:pos x="wd2" y="hd2"/>
                  </a:cxn>
                  <a:cxn ang="10800000">
                    <a:pos x="wd2" y="hd2"/>
                  </a:cxn>
                  <a:cxn ang="16200000">
                    <a:pos x="wd2" y="hd2"/>
                  </a:cxn>
                </a:cxnLst>
                <a:rect l="0" t="0" r="r" b="b"/>
                <a:pathLst>
                  <a:path w="21600" h="21600" extrusionOk="0">
                    <a:moveTo>
                      <a:pt x="19211" y="0"/>
                    </a:moveTo>
                    <a:lnTo>
                      <a:pt x="0" y="20894"/>
                    </a:lnTo>
                    <a:lnTo>
                      <a:pt x="2389" y="21600"/>
                    </a:lnTo>
                    <a:lnTo>
                      <a:pt x="21600" y="706"/>
                    </a:lnTo>
                    <a:cubicBezTo>
                      <a:pt x="21600" y="706"/>
                      <a:pt x="19211" y="0"/>
                      <a:pt x="19211" y="0"/>
                    </a:cubicBezTo>
                    <a:close/>
                  </a:path>
                </a:pathLst>
              </a:custGeom>
              <a:solidFill>
                <a:schemeClr val="bg1"/>
              </a:solidFill>
              <a:ln w="6350" cap="flat">
                <a:solidFill>
                  <a:srgbClr val="CFCFCF"/>
                </a:solidFill>
                <a:prstDash val="solid"/>
                <a:miter lim="400000"/>
              </a:ln>
              <a:effectLst/>
            </p:spPr>
            <p:txBody>
              <a:bodyPr wrap="square" lIns="91440" tIns="45720" rIns="91440" bIns="45720" anchor="ctr">
                <a:noAutofit/>
              </a:bodyPr>
              <a:lstStyle/>
              <a:p>
                <a:pPr algn="ctr"/>
                <a:endParaRPr/>
              </a:p>
            </p:txBody>
          </p:sp>
          <p:sp>
            <p:nvSpPr>
              <p:cNvPr id="24" name="iṧḻiḍe">
                <a:extLst>
                  <a:ext uri="{FF2B5EF4-FFF2-40B4-BE49-F238E27FC236}">
                    <a16:creationId xmlns:a16="http://schemas.microsoft.com/office/drawing/2014/main" id="{040438C7-77D6-44FF-BA57-0B2A1E31A3D3}"/>
                  </a:ext>
                </a:extLst>
              </p:cNvPr>
              <p:cNvSpPr/>
              <p:nvPr/>
            </p:nvSpPr>
            <p:spPr>
              <a:xfrm rot="21412315" flipH="1">
                <a:off x="5324800" y="2477731"/>
                <a:ext cx="2048794" cy="2059100"/>
              </a:xfrm>
              <a:custGeom>
                <a:avLst/>
                <a:gdLst/>
                <a:ahLst/>
                <a:cxnLst>
                  <a:cxn ang="0">
                    <a:pos x="wd2" y="hd2"/>
                  </a:cxn>
                  <a:cxn ang="5400000">
                    <a:pos x="wd2" y="hd2"/>
                  </a:cxn>
                  <a:cxn ang="10800000">
                    <a:pos x="wd2" y="hd2"/>
                  </a:cxn>
                  <a:cxn ang="16200000">
                    <a:pos x="wd2" y="hd2"/>
                  </a:cxn>
                </a:cxnLst>
                <a:rect l="0" t="0" r="r" b="b"/>
                <a:pathLst>
                  <a:path w="21600" h="21600" extrusionOk="0">
                    <a:moveTo>
                      <a:pt x="10836" y="0"/>
                    </a:moveTo>
                    <a:lnTo>
                      <a:pt x="0" y="21600"/>
                    </a:lnTo>
                    <a:lnTo>
                      <a:pt x="21600" y="18579"/>
                    </a:lnTo>
                    <a:cubicBezTo>
                      <a:pt x="21600" y="18579"/>
                      <a:pt x="10836" y="0"/>
                      <a:pt x="10836" y="0"/>
                    </a:cubicBezTo>
                    <a:close/>
                  </a:path>
                </a:pathLst>
              </a:custGeom>
              <a:solidFill>
                <a:schemeClr val="bg1">
                  <a:lumMod val="85000"/>
                </a:schemeClr>
              </a:solidFill>
              <a:ln w="12700" cap="flat">
                <a:noFill/>
                <a:miter lim="400000"/>
              </a:ln>
              <a:effectLst/>
            </p:spPr>
            <p:txBody>
              <a:bodyPr wrap="square" lIns="91440" tIns="45720" rIns="91440" bIns="45720" anchor="ctr">
                <a:noAutofit/>
              </a:bodyPr>
              <a:lstStyle/>
              <a:p>
                <a:pPr algn="ctr"/>
                <a:endParaRPr/>
              </a:p>
            </p:txBody>
          </p:sp>
          <p:sp>
            <p:nvSpPr>
              <p:cNvPr id="25" name="ïṩ1iḑê">
                <a:extLst>
                  <a:ext uri="{FF2B5EF4-FFF2-40B4-BE49-F238E27FC236}">
                    <a16:creationId xmlns:a16="http://schemas.microsoft.com/office/drawing/2014/main" id="{5F10F2F4-EB9A-4851-B05C-2A0C555954D2}"/>
                  </a:ext>
                </a:extLst>
              </p:cNvPr>
              <p:cNvSpPr/>
              <p:nvPr/>
            </p:nvSpPr>
            <p:spPr>
              <a:xfrm rot="21412315" flipH="1">
                <a:off x="5735270" y="3380285"/>
                <a:ext cx="646997" cy="1109658"/>
              </a:xfrm>
              <a:custGeom>
                <a:avLst/>
                <a:gdLst/>
                <a:ahLst/>
                <a:cxnLst>
                  <a:cxn ang="0">
                    <a:pos x="wd2" y="hd2"/>
                  </a:cxn>
                  <a:cxn ang="5400000">
                    <a:pos x="wd2" y="hd2"/>
                  </a:cxn>
                  <a:cxn ang="10800000">
                    <a:pos x="wd2" y="hd2"/>
                  </a:cxn>
                  <a:cxn ang="16200000">
                    <a:pos x="wd2" y="hd2"/>
                  </a:cxn>
                </a:cxnLst>
                <a:rect l="0" t="0" r="r" b="b"/>
                <a:pathLst>
                  <a:path w="21600" h="21600" extrusionOk="0">
                    <a:moveTo>
                      <a:pt x="17332" y="0"/>
                    </a:moveTo>
                    <a:lnTo>
                      <a:pt x="0" y="20246"/>
                    </a:lnTo>
                    <a:lnTo>
                      <a:pt x="4266" y="21600"/>
                    </a:lnTo>
                    <a:lnTo>
                      <a:pt x="21600" y="1354"/>
                    </a:lnTo>
                    <a:cubicBezTo>
                      <a:pt x="21600" y="1354"/>
                      <a:pt x="17332" y="0"/>
                      <a:pt x="17332" y="0"/>
                    </a:cubicBezTo>
                    <a:close/>
                  </a:path>
                </a:pathLst>
              </a:custGeom>
              <a:solidFill>
                <a:schemeClr val="bg1"/>
              </a:solidFill>
              <a:ln w="6350" cap="flat">
                <a:solidFill>
                  <a:srgbClr val="CFCFCF"/>
                </a:solidFill>
                <a:prstDash val="solid"/>
                <a:miter lim="400000"/>
              </a:ln>
              <a:effectLst/>
            </p:spPr>
            <p:txBody>
              <a:bodyPr wrap="square" lIns="91440" tIns="45720" rIns="91440" bIns="45720" anchor="ctr">
                <a:noAutofit/>
              </a:bodyPr>
              <a:lstStyle/>
              <a:p>
                <a:pPr algn="ctr"/>
                <a:endParaRPr/>
              </a:p>
            </p:txBody>
          </p:sp>
          <p:sp>
            <p:nvSpPr>
              <p:cNvPr id="26" name="îṡ1îḓé">
                <a:extLst>
                  <a:ext uri="{FF2B5EF4-FFF2-40B4-BE49-F238E27FC236}">
                    <a16:creationId xmlns:a16="http://schemas.microsoft.com/office/drawing/2014/main" id="{6289EDD3-85F9-414C-92A4-1DFC03732032}"/>
                  </a:ext>
                </a:extLst>
              </p:cNvPr>
              <p:cNvSpPr/>
              <p:nvPr/>
            </p:nvSpPr>
            <p:spPr>
              <a:xfrm rot="21412315" flipH="1">
                <a:off x="5226152" y="3463117"/>
                <a:ext cx="1034837" cy="1040122"/>
              </a:xfrm>
              <a:custGeom>
                <a:avLst/>
                <a:gdLst/>
                <a:ahLst/>
                <a:cxnLst>
                  <a:cxn ang="0">
                    <a:pos x="wd2" y="hd2"/>
                  </a:cxn>
                  <a:cxn ang="5400000">
                    <a:pos x="wd2" y="hd2"/>
                  </a:cxn>
                  <a:cxn ang="10800000">
                    <a:pos x="wd2" y="hd2"/>
                  </a:cxn>
                  <a:cxn ang="16200000">
                    <a:pos x="wd2" y="hd2"/>
                  </a:cxn>
                </a:cxnLst>
                <a:rect l="0" t="0" r="r" b="b"/>
                <a:pathLst>
                  <a:path w="21600" h="21600" extrusionOk="0">
                    <a:moveTo>
                      <a:pt x="10838" y="0"/>
                    </a:moveTo>
                    <a:lnTo>
                      <a:pt x="0" y="21600"/>
                    </a:lnTo>
                    <a:lnTo>
                      <a:pt x="21600" y="18579"/>
                    </a:lnTo>
                    <a:cubicBezTo>
                      <a:pt x="21600" y="18579"/>
                      <a:pt x="10838" y="0"/>
                      <a:pt x="10838" y="0"/>
                    </a:cubicBezTo>
                    <a:close/>
                  </a:path>
                </a:pathLst>
              </a:custGeom>
              <a:solidFill>
                <a:schemeClr val="bg1">
                  <a:lumMod val="85000"/>
                </a:schemeClr>
              </a:solidFill>
              <a:ln w="12700" cap="flat">
                <a:noFill/>
                <a:miter lim="400000"/>
              </a:ln>
              <a:effectLst/>
            </p:spPr>
            <p:txBody>
              <a:bodyPr wrap="square" lIns="91440" tIns="45720" rIns="91440" bIns="45720" anchor="ctr">
                <a:noAutofit/>
              </a:bodyPr>
              <a:lstStyle/>
              <a:p>
                <a:pPr algn="ctr"/>
                <a:endParaRPr/>
              </a:p>
            </p:txBody>
          </p:sp>
        </p:grpSp>
        <p:sp>
          <p:nvSpPr>
            <p:cNvPr id="7" name="ïṧliḍé">
              <a:extLst>
                <a:ext uri="{FF2B5EF4-FFF2-40B4-BE49-F238E27FC236}">
                  <a16:creationId xmlns:a16="http://schemas.microsoft.com/office/drawing/2014/main" id="{E22CA93C-43B0-4482-BF11-91D542CEB85F}"/>
                </a:ext>
              </a:extLst>
            </p:cNvPr>
            <p:cNvSpPr/>
            <p:nvPr/>
          </p:nvSpPr>
          <p:spPr>
            <a:xfrm>
              <a:off x="7505818" y="2380597"/>
              <a:ext cx="922958" cy="922956"/>
            </a:xfrm>
            <a:prstGeom prst="ellipse">
              <a:avLst/>
            </a:prstGeom>
            <a:solidFill>
              <a:schemeClr val="bg1"/>
            </a:solid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a:r>
                <a:rPr lang="en-US" altLang="zh-CN" dirty="0">
                  <a:solidFill>
                    <a:schemeClr val="tx1"/>
                  </a:solidFill>
                </a:rPr>
                <a:t>1</a:t>
              </a:r>
            </a:p>
          </p:txBody>
        </p:sp>
        <p:sp>
          <p:nvSpPr>
            <p:cNvPr id="8" name="ïsļïḋé">
              <a:extLst>
                <a:ext uri="{FF2B5EF4-FFF2-40B4-BE49-F238E27FC236}">
                  <a16:creationId xmlns:a16="http://schemas.microsoft.com/office/drawing/2014/main" id="{2E32E13E-D710-4642-B955-57480CABB9BC}"/>
                </a:ext>
              </a:extLst>
            </p:cNvPr>
            <p:cNvSpPr/>
            <p:nvPr/>
          </p:nvSpPr>
          <p:spPr>
            <a:xfrm>
              <a:off x="5087888" y="4150088"/>
              <a:ext cx="593984" cy="593982"/>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defTabSz="914377"/>
              <a:r>
                <a:rPr lang="en-US" altLang="zh-CN" sz="1800">
                  <a:solidFill>
                    <a:schemeClr val="tx1"/>
                  </a:solidFill>
                </a:rPr>
                <a:t>3</a:t>
              </a:r>
              <a:endParaRPr lang="en-US" altLang="zh-CN" sz="1800" dirty="0">
                <a:solidFill>
                  <a:schemeClr val="tx1"/>
                </a:solidFill>
              </a:endParaRPr>
            </a:p>
          </p:txBody>
        </p:sp>
        <p:sp>
          <p:nvSpPr>
            <p:cNvPr id="9" name="íśḷïḓê">
              <a:extLst>
                <a:ext uri="{FF2B5EF4-FFF2-40B4-BE49-F238E27FC236}">
                  <a16:creationId xmlns:a16="http://schemas.microsoft.com/office/drawing/2014/main" id="{06A272F3-C880-4595-B9BA-0383397CB615}"/>
                </a:ext>
              </a:extLst>
            </p:cNvPr>
            <p:cNvSpPr/>
            <p:nvPr/>
          </p:nvSpPr>
          <p:spPr>
            <a:xfrm>
              <a:off x="7282282" y="4152505"/>
              <a:ext cx="593984" cy="593982"/>
            </a:xfrm>
            <a:prstGeom prst="ellipse">
              <a:avLst/>
            </a:prstGeom>
            <a:solidFill>
              <a:schemeClr val="bg1"/>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Autofit/>
            </a:bodyPr>
            <a:lstStyle/>
            <a:p>
              <a:pPr algn="ctr" defTabSz="914377"/>
              <a:r>
                <a:rPr lang="en-US" altLang="zh-CN" sz="1800">
                  <a:solidFill>
                    <a:schemeClr val="tx1"/>
                  </a:solidFill>
                </a:rPr>
                <a:t>2</a:t>
              </a:r>
            </a:p>
          </p:txBody>
        </p:sp>
        <p:sp>
          <p:nvSpPr>
            <p:cNvPr id="10" name="íṣḷidè">
              <a:extLst>
                <a:ext uri="{FF2B5EF4-FFF2-40B4-BE49-F238E27FC236}">
                  <a16:creationId xmlns:a16="http://schemas.microsoft.com/office/drawing/2014/main" id="{998FB89B-94D0-41E1-B5C1-AA418FDB780A}"/>
                </a:ext>
              </a:extLst>
            </p:cNvPr>
            <p:cNvSpPr/>
            <p:nvPr/>
          </p:nvSpPr>
          <p:spPr>
            <a:xfrm>
              <a:off x="4367810" y="5423565"/>
              <a:ext cx="2448270" cy="678785"/>
            </a:xfrm>
            <a:prstGeom prst="snip2SameRect">
              <a:avLst>
                <a:gd name="adj1" fmla="val 0"/>
                <a:gd name="adj2" fmla="val 0"/>
              </a:avLst>
            </a:prstGeom>
            <a:ln>
              <a:noFill/>
            </a:ln>
          </p:spPr>
          <p:txBody>
            <a:bodyPr wrap="square" lIns="91440" tIns="45720" rIns="91440" bIns="45720" anchor="t">
              <a:noAutofit/>
            </a:bodyPr>
            <a:lstStyle/>
            <a:p>
              <a:pPr marL="172800" indent="-172800">
                <a:lnSpc>
                  <a:spcPct val="120000"/>
                </a:lnSpc>
                <a:buFont typeface="Arial" panose="020B0604020202020204" pitchFamily="34" charset="0"/>
                <a:buChar char="•"/>
              </a:pPr>
              <a:r>
                <a:rPr lang="en-US" altLang="zh-CN" sz="1000" dirty="0"/>
                <a:t>Supporting text here</a:t>
              </a:r>
            </a:p>
            <a:p>
              <a:pPr marL="172800" indent="-172800">
                <a:lnSpc>
                  <a:spcPct val="120000"/>
                </a:lnSpc>
                <a:buFont typeface="Arial" panose="020B0604020202020204" pitchFamily="34" charset="0"/>
                <a:buChar char="•"/>
              </a:pPr>
              <a:r>
                <a:rPr lang="en-US" altLang="zh-CN" sz="1000" dirty="0"/>
                <a:t>Supporting text here</a:t>
              </a:r>
            </a:p>
            <a:p>
              <a:pPr marL="172800" indent="-172800">
                <a:lnSpc>
                  <a:spcPct val="120000"/>
                </a:lnSpc>
                <a:buFont typeface="Arial" panose="020B0604020202020204" pitchFamily="34" charset="0"/>
                <a:buChar char="•"/>
              </a:pPr>
              <a:r>
                <a:rPr lang="en-US" altLang="zh-CN" sz="1000" dirty="0"/>
                <a:t>…</a:t>
              </a:r>
            </a:p>
          </p:txBody>
        </p:sp>
        <p:sp>
          <p:nvSpPr>
            <p:cNvPr id="11" name="î$ļîḓe">
              <a:extLst>
                <a:ext uri="{FF2B5EF4-FFF2-40B4-BE49-F238E27FC236}">
                  <a16:creationId xmlns:a16="http://schemas.microsoft.com/office/drawing/2014/main" id="{8178FB4B-C75D-4D59-A03E-1BE99E998060}"/>
                </a:ext>
              </a:extLst>
            </p:cNvPr>
            <p:cNvSpPr txBox="1"/>
            <p:nvPr/>
          </p:nvSpPr>
          <p:spPr bwMode="auto">
            <a:xfrm>
              <a:off x="4367809" y="4891337"/>
              <a:ext cx="2448270"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en-US" altLang="zh-CN" b="1" dirty="0"/>
                <a:t>Text Here</a:t>
              </a:r>
            </a:p>
          </p:txBody>
        </p:sp>
        <p:sp>
          <p:nvSpPr>
            <p:cNvPr id="12" name="ïšļîdè">
              <a:extLst>
                <a:ext uri="{FF2B5EF4-FFF2-40B4-BE49-F238E27FC236}">
                  <a16:creationId xmlns:a16="http://schemas.microsoft.com/office/drawing/2014/main" id="{A8542C11-9F1A-492A-8631-AFFA3189D55C}"/>
                </a:ext>
              </a:extLst>
            </p:cNvPr>
            <p:cNvSpPr/>
            <p:nvPr/>
          </p:nvSpPr>
          <p:spPr>
            <a:xfrm>
              <a:off x="7282283" y="5423565"/>
              <a:ext cx="2448270" cy="678785"/>
            </a:xfrm>
            <a:prstGeom prst="snip2SameRect">
              <a:avLst>
                <a:gd name="adj1" fmla="val 0"/>
                <a:gd name="adj2" fmla="val 0"/>
              </a:avLst>
            </a:prstGeom>
            <a:ln>
              <a:noFill/>
            </a:ln>
          </p:spPr>
          <p:txBody>
            <a:bodyPr wrap="square" lIns="91440" tIns="45720" rIns="91440" bIns="45720" anchor="t">
              <a:noAutofit/>
            </a:bodyPr>
            <a:lstStyle/>
            <a:p>
              <a:pPr marL="172800" indent="-172800">
                <a:lnSpc>
                  <a:spcPct val="120000"/>
                </a:lnSpc>
                <a:buFont typeface="Arial" panose="020B0604020202020204" pitchFamily="34" charset="0"/>
                <a:buChar char="•"/>
              </a:pPr>
              <a:r>
                <a:rPr lang="en-US" altLang="zh-CN" sz="1000" dirty="0"/>
                <a:t>Supporting text here</a:t>
              </a:r>
            </a:p>
            <a:p>
              <a:pPr marL="172800" indent="-172800">
                <a:lnSpc>
                  <a:spcPct val="120000"/>
                </a:lnSpc>
                <a:buFont typeface="Arial" panose="020B0604020202020204" pitchFamily="34" charset="0"/>
                <a:buChar char="•"/>
              </a:pPr>
              <a:r>
                <a:rPr lang="en-US" altLang="zh-CN" sz="1000" dirty="0"/>
                <a:t>Supporting text here</a:t>
              </a:r>
            </a:p>
            <a:p>
              <a:pPr marL="172800" indent="-172800">
                <a:lnSpc>
                  <a:spcPct val="120000"/>
                </a:lnSpc>
                <a:buFont typeface="Arial" panose="020B0604020202020204" pitchFamily="34" charset="0"/>
                <a:buChar char="•"/>
              </a:pPr>
              <a:r>
                <a:rPr lang="en-US" altLang="zh-CN" sz="1000" dirty="0"/>
                <a:t>…</a:t>
              </a:r>
            </a:p>
          </p:txBody>
        </p:sp>
        <p:sp>
          <p:nvSpPr>
            <p:cNvPr id="13" name="íSľiḋe">
              <a:extLst>
                <a:ext uri="{FF2B5EF4-FFF2-40B4-BE49-F238E27FC236}">
                  <a16:creationId xmlns:a16="http://schemas.microsoft.com/office/drawing/2014/main" id="{754D7AC4-6A85-4631-9A30-F1115126AFC1}"/>
                </a:ext>
              </a:extLst>
            </p:cNvPr>
            <p:cNvSpPr txBox="1"/>
            <p:nvPr/>
          </p:nvSpPr>
          <p:spPr bwMode="auto">
            <a:xfrm>
              <a:off x="7282282" y="4891337"/>
              <a:ext cx="2448270"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en-US" altLang="zh-CN" b="1" dirty="0"/>
                <a:t>Text Here</a:t>
              </a:r>
            </a:p>
          </p:txBody>
        </p:sp>
        <p:sp>
          <p:nvSpPr>
            <p:cNvPr id="14" name="îşlíḓe">
              <a:extLst>
                <a:ext uri="{FF2B5EF4-FFF2-40B4-BE49-F238E27FC236}">
                  <a16:creationId xmlns:a16="http://schemas.microsoft.com/office/drawing/2014/main" id="{740CBEBA-0B64-4A71-A759-860D88262133}"/>
                </a:ext>
              </a:extLst>
            </p:cNvPr>
            <p:cNvSpPr/>
            <p:nvPr/>
          </p:nvSpPr>
          <p:spPr>
            <a:xfrm>
              <a:off x="8780063" y="2786672"/>
              <a:ext cx="2739853" cy="678785"/>
            </a:xfrm>
            <a:prstGeom prst="snip2SameRect">
              <a:avLst>
                <a:gd name="adj1" fmla="val 0"/>
                <a:gd name="adj2" fmla="val 0"/>
              </a:avLst>
            </a:prstGeom>
            <a:ln>
              <a:noFill/>
            </a:ln>
          </p:spPr>
          <p:txBody>
            <a:bodyPr wrap="square" lIns="91440" tIns="45720" rIns="91440" bIns="45720" anchor="t">
              <a:noAutofit/>
            </a:bodyPr>
            <a:lstStyle/>
            <a:p>
              <a:pPr marL="172800" indent="-172800">
                <a:lnSpc>
                  <a:spcPct val="120000"/>
                </a:lnSpc>
                <a:buFont typeface="Arial" panose="020B0604020202020204" pitchFamily="34" charset="0"/>
                <a:buChar char="•"/>
              </a:pPr>
              <a:r>
                <a:rPr lang="en-US" altLang="zh-CN" sz="1000" dirty="0"/>
                <a:t>Supporting text here</a:t>
              </a:r>
            </a:p>
            <a:p>
              <a:pPr marL="172800" indent="-172800">
                <a:lnSpc>
                  <a:spcPct val="120000"/>
                </a:lnSpc>
                <a:buFont typeface="Arial" panose="020B0604020202020204" pitchFamily="34" charset="0"/>
                <a:buChar char="•"/>
              </a:pPr>
              <a:r>
                <a:rPr lang="en-US" altLang="zh-CN" sz="1000" dirty="0"/>
                <a:t>Supporting text here</a:t>
              </a:r>
            </a:p>
            <a:p>
              <a:pPr marL="172800" indent="-172800">
                <a:lnSpc>
                  <a:spcPct val="120000"/>
                </a:lnSpc>
                <a:buFont typeface="Arial" panose="020B0604020202020204" pitchFamily="34" charset="0"/>
                <a:buChar char="•"/>
              </a:pPr>
              <a:r>
                <a:rPr lang="en-US" altLang="zh-CN" sz="1000" dirty="0"/>
                <a:t>…</a:t>
              </a:r>
            </a:p>
          </p:txBody>
        </p:sp>
        <p:sp>
          <p:nvSpPr>
            <p:cNvPr id="15" name="iṥļíḋe">
              <a:extLst>
                <a:ext uri="{FF2B5EF4-FFF2-40B4-BE49-F238E27FC236}">
                  <a16:creationId xmlns:a16="http://schemas.microsoft.com/office/drawing/2014/main" id="{9A4C4378-4A70-460F-AE06-ED27695C5AE7}"/>
                </a:ext>
              </a:extLst>
            </p:cNvPr>
            <p:cNvSpPr txBox="1"/>
            <p:nvPr/>
          </p:nvSpPr>
          <p:spPr bwMode="auto">
            <a:xfrm>
              <a:off x="8780062" y="2254444"/>
              <a:ext cx="2739853"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en-US" altLang="zh-CN" b="1" dirty="0"/>
                <a:t>Text Here</a:t>
              </a:r>
            </a:p>
          </p:txBody>
        </p:sp>
        <p:cxnSp>
          <p:nvCxnSpPr>
            <p:cNvPr id="16" name="直接连接符 15">
              <a:extLst>
                <a:ext uri="{FF2B5EF4-FFF2-40B4-BE49-F238E27FC236}">
                  <a16:creationId xmlns:a16="http://schemas.microsoft.com/office/drawing/2014/main" id="{E29AEA8C-67DE-43BC-9FDF-CD91CC281074}"/>
                </a:ext>
              </a:extLst>
            </p:cNvPr>
            <p:cNvCxnSpPr>
              <a:cxnSpLocks/>
            </p:cNvCxnSpPr>
            <p:nvPr/>
          </p:nvCxnSpPr>
          <p:spPr>
            <a:xfrm>
              <a:off x="6582147" y="5013176"/>
              <a:ext cx="0" cy="1089174"/>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17" name="ïšḷîḑè">
              <a:extLst>
                <a:ext uri="{FF2B5EF4-FFF2-40B4-BE49-F238E27FC236}">
                  <a16:creationId xmlns:a16="http://schemas.microsoft.com/office/drawing/2014/main" id="{4FF319A3-38DA-4528-A470-E914D98045E0}"/>
                </a:ext>
              </a:extLst>
            </p:cNvPr>
            <p:cNvSpPr txBox="1"/>
            <p:nvPr/>
          </p:nvSpPr>
          <p:spPr>
            <a:xfrm>
              <a:off x="776857" y="2493631"/>
              <a:ext cx="397094" cy="374930"/>
            </a:xfrm>
            <a:prstGeom prst="rect">
              <a:avLst/>
            </a:prstGeom>
            <a:noFill/>
          </p:spPr>
          <p:txBody>
            <a:bodyPr wrap="square" lIns="91440" tIns="45720" rIns="91440" bIns="45720" anchor="ctr">
              <a:prstTxWarp prst="textPlain">
                <a:avLst/>
              </a:prstTxWarp>
              <a:noAutofit/>
            </a:bodyPr>
            <a:lstStyle/>
            <a:p>
              <a:r>
                <a:rPr lang="en-US" sz="4800" dirty="0"/>
                <a:t>“</a:t>
              </a:r>
            </a:p>
          </p:txBody>
        </p:sp>
        <p:sp>
          <p:nvSpPr>
            <p:cNvPr id="18" name="i$ľídè">
              <a:extLst>
                <a:ext uri="{FF2B5EF4-FFF2-40B4-BE49-F238E27FC236}">
                  <a16:creationId xmlns:a16="http://schemas.microsoft.com/office/drawing/2014/main" id="{90562A9E-115B-4C67-8B3D-CDD7543EBEE9}"/>
                </a:ext>
              </a:extLst>
            </p:cNvPr>
            <p:cNvSpPr/>
            <p:nvPr/>
          </p:nvSpPr>
          <p:spPr>
            <a:xfrm>
              <a:off x="672084" y="2935236"/>
              <a:ext cx="3227854" cy="407934"/>
            </a:xfrm>
            <a:prstGeom prst="rect">
              <a:avLst/>
            </a:prstGeom>
          </p:spPr>
          <p:txBody>
            <a:bodyPr wrap="square" lIns="91440" tIns="45720" rIns="91440" bIns="45720" anchor="ctr">
              <a:noAutofit/>
            </a:bodyPr>
            <a:lstStyle/>
            <a:p>
              <a:pPr>
                <a:lnSpc>
                  <a:spcPct val="120000"/>
                </a:lnSpc>
              </a:pPr>
              <a:r>
                <a:rPr lang="en-US" altLang="zh-CN" sz="1800" b="1" dirty="0"/>
                <a:t>Supporting text here</a:t>
              </a:r>
              <a:endParaRPr lang="zh-CN" altLang="en-US" sz="1800" b="1" dirty="0"/>
            </a:p>
          </p:txBody>
        </p:sp>
        <p:sp>
          <p:nvSpPr>
            <p:cNvPr id="19" name="iṧlíḑé">
              <a:extLst>
                <a:ext uri="{FF2B5EF4-FFF2-40B4-BE49-F238E27FC236}">
                  <a16:creationId xmlns:a16="http://schemas.microsoft.com/office/drawing/2014/main" id="{C4168F20-2B2B-4B0A-98FA-24BB474C67E2}"/>
                </a:ext>
              </a:extLst>
            </p:cNvPr>
            <p:cNvSpPr/>
            <p:nvPr/>
          </p:nvSpPr>
          <p:spPr>
            <a:xfrm>
              <a:off x="672083" y="3343170"/>
              <a:ext cx="3227855" cy="1114060"/>
            </a:xfrm>
            <a:prstGeom prst="rect">
              <a:avLst/>
            </a:prstGeom>
          </p:spPr>
          <p:txBody>
            <a:bodyPr wrap="square" lIns="91440" tIns="45720" rIns="91440" bIns="45720" anchor="t">
              <a:noAutofit/>
            </a:bodyPr>
            <a:lstStyle/>
            <a:p>
              <a:pPr>
                <a:lnSpc>
                  <a:spcPct val="120000"/>
                </a:lnSpc>
              </a:pPr>
              <a:r>
                <a:rPr lang="en-US" altLang="zh-CN" sz="1000" dirty="0"/>
                <a:t>Supporting text here</a:t>
              </a:r>
            </a:p>
            <a:p>
              <a:pPr>
                <a:lnSpc>
                  <a:spcPct val="120000"/>
                </a:lnSpc>
              </a:pPr>
              <a:r>
                <a:rPr lang="en-US" altLang="zh-CN" sz="1000" dirty="0"/>
                <a:t>Supporting text here</a:t>
              </a:r>
            </a:p>
            <a:p>
              <a:pPr>
                <a:lnSpc>
                  <a:spcPct val="120000"/>
                </a:lnSpc>
              </a:pPr>
              <a:r>
                <a:rPr lang="en-US" altLang="zh-CN" sz="1000" dirty="0"/>
                <a:t>…</a:t>
              </a:r>
            </a:p>
          </p:txBody>
        </p:sp>
        <p:cxnSp>
          <p:nvCxnSpPr>
            <p:cNvPr id="20" name="直接连接符 19">
              <a:extLst>
                <a:ext uri="{FF2B5EF4-FFF2-40B4-BE49-F238E27FC236}">
                  <a16:creationId xmlns:a16="http://schemas.microsoft.com/office/drawing/2014/main" id="{6FE0273A-4806-404E-878E-E79C906C5FDB}"/>
                </a:ext>
              </a:extLst>
            </p:cNvPr>
            <p:cNvCxnSpPr>
              <a:cxnSpLocks/>
            </p:cNvCxnSpPr>
            <p:nvPr/>
          </p:nvCxnSpPr>
          <p:spPr>
            <a:xfrm>
              <a:off x="3647728" y="1451468"/>
              <a:ext cx="0" cy="4785820"/>
            </a:xfrm>
            <a:prstGeom prst="line">
              <a:avLst/>
            </a:prstGeom>
            <a:ln w="3175">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30456133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6FF876A-EA74-4109-A93B-40BDF6196DDD}"/>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6E6268AA-D9D8-401E-8625-87F7C48D5249}"/>
              </a:ext>
            </a:extLst>
          </p:cNvPr>
          <p:cNvSpPr>
            <a:spLocks noGrp="1"/>
          </p:cNvSpPr>
          <p:nvPr>
            <p:ph type="ftr" sz="quarter" idx="11"/>
          </p:nvPr>
        </p:nvSpPr>
        <p:spPr/>
        <p:txBody>
          <a:bodyPr/>
          <a:lstStyle/>
          <a:p>
            <a:r>
              <a:rPr lang="en-US" altLang="zh-CN" dirty="0"/>
              <a:t>https://islide-powerpoint.com </a:t>
            </a:r>
            <a:endParaRPr lang="zh-CN" altLang="en-US" dirty="0"/>
          </a:p>
        </p:txBody>
      </p:sp>
      <p:sp>
        <p:nvSpPr>
          <p:cNvPr id="4" name="灯片编号占位符 3">
            <a:extLst>
              <a:ext uri="{FF2B5EF4-FFF2-40B4-BE49-F238E27FC236}">
                <a16:creationId xmlns:a16="http://schemas.microsoft.com/office/drawing/2014/main" id="{93937B4F-E526-4CCE-96A2-BD9CC4564423}"/>
              </a:ext>
            </a:extLst>
          </p:cNvPr>
          <p:cNvSpPr>
            <a:spLocks noGrp="1"/>
          </p:cNvSpPr>
          <p:nvPr>
            <p:ph type="sldNum" sz="quarter" idx="12"/>
          </p:nvPr>
        </p:nvSpPr>
        <p:spPr/>
        <p:txBody>
          <a:bodyPr/>
          <a:lstStyle/>
          <a:p>
            <a:fld id="{5DD3DB80-B894-403A-B48E-6FDC1A72010E}" type="slidenum">
              <a:rPr lang="zh-CN" altLang="en-US" smtClean="0"/>
              <a:pPr/>
              <a:t>5</a:t>
            </a:fld>
            <a:endParaRPr lang="zh-CN" altLang="en-US"/>
          </a:p>
        </p:txBody>
      </p:sp>
      <p:grpSp>
        <p:nvGrpSpPr>
          <p:cNvPr id="5" name="20054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03DD9714-790E-486B-9F28-B84C0526CA9D}"/>
              </a:ext>
            </a:extLst>
          </p:cNvPr>
          <p:cNvGrpSpPr>
            <a:grpSpLocks noChangeAspect="1"/>
          </p:cNvGrpSpPr>
          <p:nvPr/>
        </p:nvGrpSpPr>
        <p:grpSpPr>
          <a:xfrm>
            <a:off x="687663" y="1659533"/>
            <a:ext cx="10832825" cy="3736718"/>
            <a:chOff x="687663" y="1659533"/>
            <a:chExt cx="10832825" cy="3736718"/>
          </a:xfrm>
        </p:grpSpPr>
        <p:cxnSp>
          <p:nvCxnSpPr>
            <p:cNvPr id="6" name="直接连接符 5">
              <a:extLst>
                <a:ext uri="{FF2B5EF4-FFF2-40B4-BE49-F238E27FC236}">
                  <a16:creationId xmlns:a16="http://schemas.microsoft.com/office/drawing/2014/main" id="{8DA5832D-7F97-409E-8F2F-B87820F57D32}"/>
                </a:ext>
              </a:extLst>
            </p:cNvPr>
            <p:cNvCxnSpPr/>
            <p:nvPr/>
          </p:nvCxnSpPr>
          <p:spPr>
            <a:xfrm>
              <a:off x="7706646" y="3703625"/>
              <a:ext cx="3796197"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2B059A2F-80BF-4240-B4C0-A6FF53F3C570}"/>
                </a:ext>
              </a:extLst>
            </p:cNvPr>
            <p:cNvCxnSpPr>
              <a:cxnSpLocks/>
            </p:cNvCxnSpPr>
            <p:nvPr/>
          </p:nvCxnSpPr>
          <p:spPr>
            <a:xfrm>
              <a:off x="697014" y="3523320"/>
              <a:ext cx="3425337" cy="0"/>
            </a:xfrm>
            <a:prstGeom prst="line">
              <a:avLst/>
            </a:prstGeom>
            <a:ln w="3175" cap="rnd">
              <a:solidFill>
                <a:schemeClr val="bg1">
                  <a:lumMod val="75000"/>
                </a:schemeClr>
              </a:solidFill>
              <a:round/>
              <a:headEnd type="none"/>
              <a:tailEnd type="none" w="med" len="med"/>
            </a:ln>
          </p:spPr>
          <p:style>
            <a:lnRef idx="1">
              <a:schemeClr val="accent1"/>
            </a:lnRef>
            <a:fillRef idx="0">
              <a:schemeClr val="accent1"/>
            </a:fillRef>
            <a:effectRef idx="0">
              <a:schemeClr val="accent1"/>
            </a:effectRef>
            <a:fontRef idx="minor">
              <a:schemeClr val="tx1"/>
            </a:fontRef>
          </p:style>
        </p:cxnSp>
        <p:sp>
          <p:nvSpPr>
            <p:cNvPr id="8" name="ísļíḍe">
              <a:extLst>
                <a:ext uri="{FF2B5EF4-FFF2-40B4-BE49-F238E27FC236}">
                  <a16:creationId xmlns:a16="http://schemas.microsoft.com/office/drawing/2014/main" id="{9D70BA59-D25C-4213-B318-46E8AFB8EDEC}"/>
                </a:ext>
              </a:extLst>
            </p:cNvPr>
            <p:cNvSpPr/>
            <p:nvPr/>
          </p:nvSpPr>
          <p:spPr bwMode="auto">
            <a:xfrm rot="19847212">
              <a:off x="4619547" y="3347127"/>
              <a:ext cx="1845035" cy="2011445"/>
            </a:xfrm>
            <a:custGeom>
              <a:avLst/>
              <a:gdLst>
                <a:gd name="T0" fmla="*/ 240 w 260"/>
                <a:gd name="T1" fmla="*/ 258 h 258"/>
                <a:gd name="T2" fmla="*/ 153 w 260"/>
                <a:gd name="T3" fmla="*/ 215 h 258"/>
                <a:gd name="T4" fmla="*/ 3 w 260"/>
                <a:gd name="T5" fmla="*/ 33 h 258"/>
                <a:gd name="T6" fmla="*/ 5 w 260"/>
                <a:gd name="T7" fmla="*/ 6 h 258"/>
                <a:gd name="T8" fmla="*/ 20 w 260"/>
                <a:gd name="T9" fmla="*/ 0 h 258"/>
                <a:gd name="T10" fmla="*/ 107 w 260"/>
                <a:gd name="T11" fmla="*/ 43 h 258"/>
                <a:gd name="T12" fmla="*/ 256 w 260"/>
                <a:gd name="T13" fmla="*/ 225 h 258"/>
                <a:gd name="T14" fmla="*/ 255 w 260"/>
                <a:gd name="T15" fmla="*/ 252 h 258"/>
                <a:gd name="T16" fmla="*/ 240 w 260"/>
                <a:gd name="T17" fmla="*/ 258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0" h="258">
                  <a:moveTo>
                    <a:pt x="240" y="258"/>
                  </a:moveTo>
                  <a:cubicBezTo>
                    <a:pt x="221" y="258"/>
                    <a:pt x="189" y="242"/>
                    <a:pt x="153" y="215"/>
                  </a:cubicBezTo>
                  <a:cubicBezTo>
                    <a:pt x="84" y="161"/>
                    <a:pt x="16" y="80"/>
                    <a:pt x="3" y="33"/>
                  </a:cubicBezTo>
                  <a:cubicBezTo>
                    <a:pt x="0" y="20"/>
                    <a:pt x="0" y="11"/>
                    <a:pt x="5" y="6"/>
                  </a:cubicBezTo>
                  <a:cubicBezTo>
                    <a:pt x="8" y="2"/>
                    <a:pt x="13" y="0"/>
                    <a:pt x="20" y="0"/>
                  </a:cubicBezTo>
                  <a:cubicBezTo>
                    <a:pt x="39" y="0"/>
                    <a:pt x="70" y="15"/>
                    <a:pt x="107" y="43"/>
                  </a:cubicBezTo>
                  <a:cubicBezTo>
                    <a:pt x="176" y="96"/>
                    <a:pt x="243" y="178"/>
                    <a:pt x="256" y="225"/>
                  </a:cubicBezTo>
                  <a:cubicBezTo>
                    <a:pt x="260" y="237"/>
                    <a:pt x="259" y="246"/>
                    <a:pt x="255" y="252"/>
                  </a:cubicBezTo>
                  <a:cubicBezTo>
                    <a:pt x="252" y="256"/>
                    <a:pt x="247" y="258"/>
                    <a:pt x="240" y="258"/>
                  </a:cubicBezTo>
                  <a:close/>
                </a:path>
              </a:pathLst>
            </a:custGeom>
            <a:solidFill>
              <a:schemeClr val="bg1">
                <a:lumMod val="85000"/>
              </a:schemeClr>
            </a:solidFill>
            <a:ln>
              <a:noFill/>
            </a:ln>
          </p:spPr>
          <p:txBody>
            <a:bodyPr wrap="square" lIns="91440" tIns="45720" rIns="91440" bIns="45720" anchor="ctr">
              <a:noAutofit/>
            </a:bodyPr>
            <a:lstStyle/>
            <a:p>
              <a:pPr algn="ctr"/>
              <a:endParaRPr/>
            </a:p>
          </p:txBody>
        </p:sp>
        <p:sp>
          <p:nvSpPr>
            <p:cNvPr id="9" name="îṥļíḓe">
              <a:extLst>
                <a:ext uri="{FF2B5EF4-FFF2-40B4-BE49-F238E27FC236}">
                  <a16:creationId xmlns:a16="http://schemas.microsoft.com/office/drawing/2014/main" id="{F68E81E4-51F5-4B6B-80A1-4004EFE2BDDD}"/>
                </a:ext>
              </a:extLst>
            </p:cNvPr>
            <p:cNvSpPr/>
            <p:nvPr/>
          </p:nvSpPr>
          <p:spPr bwMode="auto">
            <a:xfrm rot="19847212">
              <a:off x="4644295" y="2494357"/>
              <a:ext cx="2440111" cy="2718080"/>
            </a:xfrm>
            <a:custGeom>
              <a:avLst/>
              <a:gdLst>
                <a:gd name="T0" fmla="*/ 223 w 344"/>
                <a:gd name="T1" fmla="*/ 254 h 348"/>
                <a:gd name="T2" fmla="*/ 40 w 344"/>
                <a:gd name="T3" fmla="*/ 33 h 348"/>
                <a:gd name="T4" fmla="*/ 39 w 344"/>
                <a:gd name="T5" fmla="*/ 6 h 348"/>
                <a:gd name="T6" fmla="*/ 43 w 344"/>
                <a:gd name="T7" fmla="*/ 0 h 348"/>
                <a:gd name="T8" fmla="*/ 39 w 344"/>
                <a:gd name="T9" fmla="*/ 5 h 348"/>
                <a:gd name="T10" fmla="*/ 37 w 344"/>
                <a:gd name="T11" fmla="*/ 6 h 348"/>
                <a:gd name="T12" fmla="*/ 34 w 344"/>
                <a:gd name="T13" fmla="*/ 11 h 348"/>
                <a:gd name="T14" fmla="*/ 33 w 344"/>
                <a:gd name="T15" fmla="*/ 12 h 348"/>
                <a:gd name="T16" fmla="*/ 30 w 344"/>
                <a:gd name="T17" fmla="*/ 17 h 348"/>
                <a:gd name="T18" fmla="*/ 29 w 344"/>
                <a:gd name="T19" fmla="*/ 18 h 348"/>
                <a:gd name="T20" fmla="*/ 26 w 344"/>
                <a:gd name="T21" fmla="*/ 22 h 348"/>
                <a:gd name="T22" fmla="*/ 25 w 344"/>
                <a:gd name="T23" fmla="*/ 23 h 348"/>
                <a:gd name="T24" fmla="*/ 23 w 344"/>
                <a:gd name="T25" fmla="*/ 26 h 348"/>
                <a:gd name="T26" fmla="*/ 22 w 344"/>
                <a:gd name="T27" fmla="*/ 28 h 348"/>
                <a:gd name="T28" fmla="*/ 20 w 344"/>
                <a:gd name="T29" fmla="*/ 31 h 348"/>
                <a:gd name="T30" fmla="*/ 19 w 344"/>
                <a:gd name="T31" fmla="*/ 33 h 348"/>
                <a:gd name="T32" fmla="*/ 18 w 344"/>
                <a:gd name="T33" fmla="*/ 35 h 348"/>
                <a:gd name="T34" fmla="*/ 16 w 344"/>
                <a:gd name="T35" fmla="*/ 39 h 348"/>
                <a:gd name="T36" fmla="*/ 16 w 344"/>
                <a:gd name="T37" fmla="*/ 40 h 348"/>
                <a:gd name="T38" fmla="*/ 13 w 344"/>
                <a:gd name="T39" fmla="*/ 44 h 348"/>
                <a:gd name="T40" fmla="*/ 13 w 344"/>
                <a:gd name="T41" fmla="*/ 45 h 348"/>
                <a:gd name="T42" fmla="*/ 10 w 344"/>
                <a:gd name="T43" fmla="*/ 51 h 348"/>
                <a:gd name="T44" fmla="*/ 10 w 344"/>
                <a:gd name="T45" fmla="*/ 51 h 348"/>
                <a:gd name="T46" fmla="*/ 8 w 344"/>
                <a:gd name="T47" fmla="*/ 57 h 348"/>
                <a:gd name="T48" fmla="*/ 7 w 344"/>
                <a:gd name="T49" fmla="*/ 58 h 348"/>
                <a:gd name="T50" fmla="*/ 5 w 344"/>
                <a:gd name="T51" fmla="*/ 63 h 348"/>
                <a:gd name="T52" fmla="*/ 4 w 344"/>
                <a:gd name="T53" fmla="*/ 65 h 348"/>
                <a:gd name="T54" fmla="*/ 2 w 344"/>
                <a:gd name="T55" fmla="*/ 71 h 348"/>
                <a:gd name="T56" fmla="*/ 3 w 344"/>
                <a:gd name="T57" fmla="*/ 95 h 348"/>
                <a:gd name="T58" fmla="*/ 169 w 344"/>
                <a:gd name="T59" fmla="*/ 296 h 348"/>
                <a:gd name="T60" fmla="*/ 273 w 344"/>
                <a:gd name="T61" fmla="*/ 342 h 348"/>
                <a:gd name="T62" fmla="*/ 279 w 344"/>
                <a:gd name="T63" fmla="*/ 340 h 348"/>
                <a:gd name="T64" fmla="*/ 281 w 344"/>
                <a:gd name="T65" fmla="*/ 339 h 348"/>
                <a:gd name="T66" fmla="*/ 286 w 344"/>
                <a:gd name="T67" fmla="*/ 337 h 348"/>
                <a:gd name="T68" fmla="*/ 287 w 344"/>
                <a:gd name="T69" fmla="*/ 337 h 348"/>
                <a:gd name="T70" fmla="*/ 293 w 344"/>
                <a:gd name="T71" fmla="*/ 334 h 348"/>
                <a:gd name="T72" fmla="*/ 293 w 344"/>
                <a:gd name="T73" fmla="*/ 334 h 348"/>
                <a:gd name="T74" fmla="*/ 299 w 344"/>
                <a:gd name="T75" fmla="*/ 332 h 348"/>
                <a:gd name="T76" fmla="*/ 299 w 344"/>
                <a:gd name="T77" fmla="*/ 331 h 348"/>
                <a:gd name="T78" fmla="*/ 304 w 344"/>
                <a:gd name="T79" fmla="*/ 329 h 348"/>
                <a:gd name="T80" fmla="*/ 305 w 344"/>
                <a:gd name="T81" fmla="*/ 329 h 348"/>
                <a:gd name="T82" fmla="*/ 309 w 344"/>
                <a:gd name="T83" fmla="*/ 327 h 348"/>
                <a:gd name="T84" fmla="*/ 310 w 344"/>
                <a:gd name="T85" fmla="*/ 326 h 348"/>
                <a:gd name="T86" fmla="*/ 313 w 344"/>
                <a:gd name="T87" fmla="*/ 324 h 348"/>
                <a:gd name="T88" fmla="*/ 315 w 344"/>
                <a:gd name="T89" fmla="*/ 323 h 348"/>
                <a:gd name="T90" fmla="*/ 317 w 344"/>
                <a:gd name="T91" fmla="*/ 322 h 348"/>
                <a:gd name="T92" fmla="*/ 321 w 344"/>
                <a:gd name="T93" fmla="*/ 319 h 348"/>
                <a:gd name="T94" fmla="*/ 322 w 344"/>
                <a:gd name="T95" fmla="*/ 318 h 348"/>
                <a:gd name="T96" fmla="*/ 326 w 344"/>
                <a:gd name="T97" fmla="*/ 316 h 348"/>
                <a:gd name="T98" fmla="*/ 327 w 344"/>
                <a:gd name="T99" fmla="*/ 315 h 348"/>
                <a:gd name="T100" fmla="*/ 332 w 344"/>
                <a:gd name="T101" fmla="*/ 312 h 348"/>
                <a:gd name="T102" fmla="*/ 333 w 344"/>
                <a:gd name="T103" fmla="*/ 311 h 348"/>
                <a:gd name="T104" fmla="*/ 337 w 344"/>
                <a:gd name="T105" fmla="*/ 308 h 348"/>
                <a:gd name="T106" fmla="*/ 339 w 344"/>
                <a:gd name="T107" fmla="*/ 306 h 348"/>
                <a:gd name="T108" fmla="*/ 344 w 344"/>
                <a:gd name="T109" fmla="*/ 302 h 348"/>
                <a:gd name="T110" fmla="*/ 338 w 344"/>
                <a:gd name="T111" fmla="*/ 306 h 348"/>
                <a:gd name="T112" fmla="*/ 223 w 344"/>
                <a:gd name="T113" fmla="*/ 254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44" h="348">
                  <a:moveTo>
                    <a:pt x="223" y="254"/>
                  </a:moveTo>
                  <a:cubicBezTo>
                    <a:pt x="138" y="190"/>
                    <a:pt x="56" y="90"/>
                    <a:pt x="40" y="33"/>
                  </a:cubicBezTo>
                  <a:cubicBezTo>
                    <a:pt x="37" y="22"/>
                    <a:pt x="37" y="13"/>
                    <a:pt x="39" y="6"/>
                  </a:cubicBezTo>
                  <a:cubicBezTo>
                    <a:pt x="40" y="4"/>
                    <a:pt x="41" y="2"/>
                    <a:pt x="43" y="0"/>
                  </a:cubicBezTo>
                  <a:cubicBezTo>
                    <a:pt x="41" y="1"/>
                    <a:pt x="40" y="3"/>
                    <a:pt x="39" y="5"/>
                  </a:cubicBezTo>
                  <a:cubicBezTo>
                    <a:pt x="38" y="5"/>
                    <a:pt x="38" y="6"/>
                    <a:pt x="37" y="6"/>
                  </a:cubicBezTo>
                  <a:cubicBezTo>
                    <a:pt x="36" y="8"/>
                    <a:pt x="35" y="9"/>
                    <a:pt x="34" y="11"/>
                  </a:cubicBezTo>
                  <a:cubicBezTo>
                    <a:pt x="34" y="11"/>
                    <a:pt x="33" y="11"/>
                    <a:pt x="33" y="12"/>
                  </a:cubicBezTo>
                  <a:cubicBezTo>
                    <a:pt x="32" y="13"/>
                    <a:pt x="31" y="15"/>
                    <a:pt x="30" y="17"/>
                  </a:cubicBezTo>
                  <a:cubicBezTo>
                    <a:pt x="29" y="17"/>
                    <a:pt x="29" y="17"/>
                    <a:pt x="29" y="18"/>
                  </a:cubicBezTo>
                  <a:cubicBezTo>
                    <a:pt x="28" y="19"/>
                    <a:pt x="27" y="20"/>
                    <a:pt x="26" y="22"/>
                  </a:cubicBezTo>
                  <a:cubicBezTo>
                    <a:pt x="26" y="22"/>
                    <a:pt x="26" y="23"/>
                    <a:pt x="25" y="23"/>
                  </a:cubicBezTo>
                  <a:cubicBezTo>
                    <a:pt x="25" y="24"/>
                    <a:pt x="24" y="25"/>
                    <a:pt x="23" y="26"/>
                  </a:cubicBezTo>
                  <a:cubicBezTo>
                    <a:pt x="23" y="27"/>
                    <a:pt x="22" y="28"/>
                    <a:pt x="22" y="28"/>
                  </a:cubicBezTo>
                  <a:cubicBezTo>
                    <a:pt x="21" y="29"/>
                    <a:pt x="21" y="30"/>
                    <a:pt x="20" y="31"/>
                  </a:cubicBezTo>
                  <a:cubicBezTo>
                    <a:pt x="20" y="32"/>
                    <a:pt x="19" y="33"/>
                    <a:pt x="19" y="33"/>
                  </a:cubicBezTo>
                  <a:cubicBezTo>
                    <a:pt x="19" y="34"/>
                    <a:pt x="18" y="34"/>
                    <a:pt x="18" y="35"/>
                  </a:cubicBezTo>
                  <a:cubicBezTo>
                    <a:pt x="17" y="36"/>
                    <a:pt x="17" y="38"/>
                    <a:pt x="16" y="39"/>
                  </a:cubicBezTo>
                  <a:cubicBezTo>
                    <a:pt x="16" y="39"/>
                    <a:pt x="16" y="39"/>
                    <a:pt x="16" y="40"/>
                  </a:cubicBezTo>
                  <a:cubicBezTo>
                    <a:pt x="15" y="41"/>
                    <a:pt x="14" y="43"/>
                    <a:pt x="13" y="44"/>
                  </a:cubicBezTo>
                  <a:cubicBezTo>
                    <a:pt x="13" y="45"/>
                    <a:pt x="13" y="45"/>
                    <a:pt x="13" y="45"/>
                  </a:cubicBezTo>
                  <a:cubicBezTo>
                    <a:pt x="12" y="47"/>
                    <a:pt x="11" y="49"/>
                    <a:pt x="10" y="51"/>
                  </a:cubicBezTo>
                  <a:cubicBezTo>
                    <a:pt x="10" y="51"/>
                    <a:pt x="10" y="51"/>
                    <a:pt x="10" y="51"/>
                  </a:cubicBezTo>
                  <a:cubicBezTo>
                    <a:pt x="9" y="53"/>
                    <a:pt x="8" y="55"/>
                    <a:pt x="8" y="57"/>
                  </a:cubicBezTo>
                  <a:cubicBezTo>
                    <a:pt x="7" y="57"/>
                    <a:pt x="7" y="57"/>
                    <a:pt x="7" y="58"/>
                  </a:cubicBezTo>
                  <a:cubicBezTo>
                    <a:pt x="6" y="59"/>
                    <a:pt x="6" y="61"/>
                    <a:pt x="5" y="63"/>
                  </a:cubicBezTo>
                  <a:cubicBezTo>
                    <a:pt x="5" y="63"/>
                    <a:pt x="5" y="64"/>
                    <a:pt x="4" y="65"/>
                  </a:cubicBezTo>
                  <a:cubicBezTo>
                    <a:pt x="3" y="67"/>
                    <a:pt x="3" y="69"/>
                    <a:pt x="2" y="71"/>
                  </a:cubicBezTo>
                  <a:cubicBezTo>
                    <a:pt x="0" y="76"/>
                    <a:pt x="1" y="85"/>
                    <a:pt x="3" y="95"/>
                  </a:cubicBezTo>
                  <a:cubicBezTo>
                    <a:pt x="18" y="147"/>
                    <a:pt x="92" y="237"/>
                    <a:pt x="169" y="296"/>
                  </a:cubicBezTo>
                  <a:cubicBezTo>
                    <a:pt x="217" y="332"/>
                    <a:pt x="255" y="348"/>
                    <a:pt x="273" y="342"/>
                  </a:cubicBezTo>
                  <a:cubicBezTo>
                    <a:pt x="275" y="342"/>
                    <a:pt x="276" y="341"/>
                    <a:pt x="279" y="340"/>
                  </a:cubicBezTo>
                  <a:cubicBezTo>
                    <a:pt x="279" y="340"/>
                    <a:pt x="280" y="340"/>
                    <a:pt x="281" y="339"/>
                  </a:cubicBezTo>
                  <a:cubicBezTo>
                    <a:pt x="282" y="339"/>
                    <a:pt x="284" y="338"/>
                    <a:pt x="286" y="337"/>
                  </a:cubicBezTo>
                  <a:cubicBezTo>
                    <a:pt x="286" y="337"/>
                    <a:pt x="287" y="337"/>
                    <a:pt x="287" y="337"/>
                  </a:cubicBezTo>
                  <a:cubicBezTo>
                    <a:pt x="289" y="336"/>
                    <a:pt x="291" y="335"/>
                    <a:pt x="293" y="334"/>
                  </a:cubicBezTo>
                  <a:cubicBezTo>
                    <a:pt x="293" y="334"/>
                    <a:pt x="293" y="334"/>
                    <a:pt x="293" y="334"/>
                  </a:cubicBezTo>
                  <a:cubicBezTo>
                    <a:pt x="295" y="334"/>
                    <a:pt x="297" y="333"/>
                    <a:pt x="299" y="332"/>
                  </a:cubicBezTo>
                  <a:cubicBezTo>
                    <a:pt x="299" y="332"/>
                    <a:pt x="299" y="332"/>
                    <a:pt x="299" y="331"/>
                  </a:cubicBezTo>
                  <a:cubicBezTo>
                    <a:pt x="301" y="331"/>
                    <a:pt x="302" y="330"/>
                    <a:pt x="304" y="329"/>
                  </a:cubicBezTo>
                  <a:cubicBezTo>
                    <a:pt x="304" y="329"/>
                    <a:pt x="305" y="329"/>
                    <a:pt x="305" y="329"/>
                  </a:cubicBezTo>
                  <a:cubicBezTo>
                    <a:pt x="306" y="328"/>
                    <a:pt x="307" y="327"/>
                    <a:pt x="309" y="327"/>
                  </a:cubicBezTo>
                  <a:cubicBezTo>
                    <a:pt x="309" y="326"/>
                    <a:pt x="310" y="326"/>
                    <a:pt x="310" y="326"/>
                  </a:cubicBezTo>
                  <a:cubicBezTo>
                    <a:pt x="311" y="325"/>
                    <a:pt x="312" y="325"/>
                    <a:pt x="313" y="324"/>
                  </a:cubicBezTo>
                  <a:cubicBezTo>
                    <a:pt x="314" y="324"/>
                    <a:pt x="315" y="323"/>
                    <a:pt x="315" y="323"/>
                  </a:cubicBezTo>
                  <a:cubicBezTo>
                    <a:pt x="316" y="322"/>
                    <a:pt x="317" y="322"/>
                    <a:pt x="317" y="322"/>
                  </a:cubicBezTo>
                  <a:cubicBezTo>
                    <a:pt x="318" y="321"/>
                    <a:pt x="319" y="320"/>
                    <a:pt x="321" y="319"/>
                  </a:cubicBezTo>
                  <a:cubicBezTo>
                    <a:pt x="321" y="319"/>
                    <a:pt x="322" y="319"/>
                    <a:pt x="322" y="318"/>
                  </a:cubicBezTo>
                  <a:cubicBezTo>
                    <a:pt x="323" y="318"/>
                    <a:pt x="325" y="317"/>
                    <a:pt x="326" y="316"/>
                  </a:cubicBezTo>
                  <a:cubicBezTo>
                    <a:pt x="326" y="316"/>
                    <a:pt x="327" y="315"/>
                    <a:pt x="327" y="315"/>
                  </a:cubicBezTo>
                  <a:cubicBezTo>
                    <a:pt x="329" y="314"/>
                    <a:pt x="330" y="313"/>
                    <a:pt x="332" y="312"/>
                  </a:cubicBezTo>
                  <a:cubicBezTo>
                    <a:pt x="332" y="311"/>
                    <a:pt x="333" y="311"/>
                    <a:pt x="333" y="311"/>
                  </a:cubicBezTo>
                  <a:cubicBezTo>
                    <a:pt x="335" y="310"/>
                    <a:pt x="336" y="308"/>
                    <a:pt x="337" y="308"/>
                  </a:cubicBezTo>
                  <a:cubicBezTo>
                    <a:pt x="338" y="307"/>
                    <a:pt x="339" y="307"/>
                    <a:pt x="339" y="306"/>
                  </a:cubicBezTo>
                  <a:cubicBezTo>
                    <a:pt x="341" y="305"/>
                    <a:pt x="343" y="303"/>
                    <a:pt x="344" y="302"/>
                  </a:cubicBezTo>
                  <a:cubicBezTo>
                    <a:pt x="342" y="304"/>
                    <a:pt x="340" y="305"/>
                    <a:pt x="338" y="306"/>
                  </a:cubicBezTo>
                  <a:cubicBezTo>
                    <a:pt x="318" y="312"/>
                    <a:pt x="276" y="295"/>
                    <a:pt x="223" y="254"/>
                  </a:cubicBezTo>
                  <a:close/>
                </a:path>
              </a:pathLst>
            </a:custGeom>
            <a:solidFill>
              <a:schemeClr val="bg1">
                <a:lumMod val="95000"/>
              </a:schemeClr>
            </a:solidFill>
            <a:ln>
              <a:noFill/>
            </a:ln>
          </p:spPr>
          <p:txBody>
            <a:bodyPr wrap="square" lIns="91440" tIns="45720" rIns="91440" bIns="45720" anchor="ctr">
              <a:noAutofit/>
            </a:bodyPr>
            <a:lstStyle/>
            <a:p>
              <a:pPr algn="ctr"/>
              <a:endParaRPr/>
            </a:p>
          </p:txBody>
        </p:sp>
        <p:sp>
          <p:nvSpPr>
            <p:cNvPr id="10" name="îŝľide">
              <a:extLst>
                <a:ext uri="{FF2B5EF4-FFF2-40B4-BE49-F238E27FC236}">
                  <a16:creationId xmlns:a16="http://schemas.microsoft.com/office/drawing/2014/main" id="{4434207D-93F3-41F1-9EC2-956732160AD4}"/>
                </a:ext>
              </a:extLst>
            </p:cNvPr>
            <p:cNvSpPr/>
            <p:nvPr/>
          </p:nvSpPr>
          <p:spPr bwMode="auto">
            <a:xfrm rot="19847212">
              <a:off x="7120791" y="4238242"/>
              <a:ext cx="0" cy="0"/>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1" name="ï$ḻïḋê">
              <a:extLst>
                <a:ext uri="{FF2B5EF4-FFF2-40B4-BE49-F238E27FC236}">
                  <a16:creationId xmlns:a16="http://schemas.microsoft.com/office/drawing/2014/main" id="{9B9844CC-FD9F-4C6E-B3F6-9BF896F74472}"/>
                </a:ext>
              </a:extLst>
            </p:cNvPr>
            <p:cNvSpPr/>
            <p:nvPr/>
          </p:nvSpPr>
          <p:spPr bwMode="auto">
            <a:xfrm rot="19847212">
              <a:off x="7120791" y="4238242"/>
              <a:ext cx="0" cy="0"/>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12" name="ïš1ïďe">
              <a:extLst>
                <a:ext uri="{FF2B5EF4-FFF2-40B4-BE49-F238E27FC236}">
                  <a16:creationId xmlns:a16="http://schemas.microsoft.com/office/drawing/2014/main" id="{9425100B-7D48-4D42-908B-011B6366A1F2}"/>
                </a:ext>
              </a:extLst>
            </p:cNvPr>
            <p:cNvSpPr/>
            <p:nvPr/>
          </p:nvSpPr>
          <p:spPr bwMode="auto">
            <a:xfrm rot="19847212">
              <a:off x="4790063" y="2388975"/>
              <a:ext cx="2239759" cy="2448574"/>
            </a:xfrm>
            <a:custGeom>
              <a:avLst/>
              <a:gdLst>
                <a:gd name="T0" fmla="*/ 292 w 316"/>
                <a:gd name="T1" fmla="*/ 314 h 314"/>
                <a:gd name="T2" fmla="*/ 186 w 316"/>
                <a:gd name="T3" fmla="*/ 262 h 314"/>
                <a:gd name="T4" fmla="*/ 4 w 316"/>
                <a:gd name="T5" fmla="*/ 40 h 314"/>
                <a:gd name="T6" fmla="*/ 6 w 316"/>
                <a:gd name="T7" fmla="*/ 7 h 314"/>
                <a:gd name="T8" fmla="*/ 24 w 316"/>
                <a:gd name="T9" fmla="*/ 0 h 314"/>
                <a:gd name="T10" fmla="*/ 130 w 316"/>
                <a:gd name="T11" fmla="*/ 53 h 314"/>
                <a:gd name="T12" fmla="*/ 312 w 316"/>
                <a:gd name="T13" fmla="*/ 274 h 314"/>
                <a:gd name="T14" fmla="*/ 311 w 316"/>
                <a:gd name="T15" fmla="*/ 307 h 314"/>
                <a:gd name="T16" fmla="*/ 292 w 316"/>
                <a:gd name="T17" fmla="*/ 314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16" h="314">
                  <a:moveTo>
                    <a:pt x="292" y="314"/>
                  </a:moveTo>
                  <a:cubicBezTo>
                    <a:pt x="269" y="314"/>
                    <a:pt x="230" y="295"/>
                    <a:pt x="186" y="262"/>
                  </a:cubicBezTo>
                  <a:cubicBezTo>
                    <a:pt x="102" y="197"/>
                    <a:pt x="20" y="98"/>
                    <a:pt x="4" y="40"/>
                  </a:cubicBezTo>
                  <a:cubicBezTo>
                    <a:pt x="0" y="25"/>
                    <a:pt x="0" y="14"/>
                    <a:pt x="6" y="7"/>
                  </a:cubicBezTo>
                  <a:cubicBezTo>
                    <a:pt x="9" y="2"/>
                    <a:pt x="16" y="0"/>
                    <a:pt x="24" y="0"/>
                  </a:cubicBezTo>
                  <a:cubicBezTo>
                    <a:pt x="47" y="0"/>
                    <a:pt x="86" y="19"/>
                    <a:pt x="130" y="53"/>
                  </a:cubicBezTo>
                  <a:cubicBezTo>
                    <a:pt x="214" y="117"/>
                    <a:pt x="296" y="217"/>
                    <a:pt x="312" y="274"/>
                  </a:cubicBezTo>
                  <a:cubicBezTo>
                    <a:pt x="316" y="289"/>
                    <a:pt x="316" y="300"/>
                    <a:pt x="311" y="307"/>
                  </a:cubicBezTo>
                  <a:cubicBezTo>
                    <a:pt x="307" y="312"/>
                    <a:pt x="300" y="314"/>
                    <a:pt x="292" y="314"/>
                  </a:cubicBezTo>
                  <a:close/>
                </a:path>
              </a:pathLst>
            </a:custGeom>
            <a:solidFill>
              <a:schemeClr val="bg1">
                <a:lumMod val="85000"/>
              </a:schemeClr>
            </a:solidFill>
            <a:ln>
              <a:noFill/>
            </a:ln>
          </p:spPr>
          <p:txBody>
            <a:bodyPr wrap="square" lIns="91440" tIns="45720" rIns="91440" bIns="45720" anchor="ctr">
              <a:noAutofit/>
            </a:bodyPr>
            <a:lstStyle/>
            <a:p>
              <a:pPr algn="ctr"/>
              <a:endParaRPr/>
            </a:p>
          </p:txBody>
        </p:sp>
        <p:sp>
          <p:nvSpPr>
            <p:cNvPr id="13" name="ï$ľîḍè">
              <a:extLst>
                <a:ext uri="{FF2B5EF4-FFF2-40B4-BE49-F238E27FC236}">
                  <a16:creationId xmlns:a16="http://schemas.microsoft.com/office/drawing/2014/main" id="{26621E19-A5DA-46D6-A682-E4816665C753}"/>
                </a:ext>
              </a:extLst>
            </p:cNvPr>
            <p:cNvSpPr/>
            <p:nvPr/>
          </p:nvSpPr>
          <p:spPr bwMode="auto">
            <a:xfrm rot="19847212">
              <a:off x="4651651" y="3476833"/>
              <a:ext cx="1737383" cy="1919418"/>
            </a:xfrm>
            <a:custGeom>
              <a:avLst/>
              <a:gdLst>
                <a:gd name="T0" fmla="*/ 245 w 245"/>
                <a:gd name="T1" fmla="*/ 243 h 246"/>
                <a:gd name="T2" fmla="*/ 154 w 245"/>
                <a:gd name="T3" fmla="*/ 200 h 246"/>
                <a:gd name="T4" fmla="*/ 3 w 245"/>
                <a:gd name="T5" fmla="*/ 0 h 246"/>
                <a:gd name="T6" fmla="*/ 3 w 245"/>
                <a:gd name="T7" fmla="*/ 0 h 246"/>
                <a:gd name="T8" fmla="*/ 1 w 245"/>
                <a:gd name="T9" fmla="*/ 21 h 246"/>
                <a:gd name="T10" fmla="*/ 1 w 245"/>
                <a:gd name="T11" fmla="*/ 23 h 246"/>
                <a:gd name="T12" fmla="*/ 1 w 245"/>
                <a:gd name="T13" fmla="*/ 31 h 246"/>
                <a:gd name="T14" fmla="*/ 1 w 245"/>
                <a:gd name="T15" fmla="*/ 43 h 246"/>
                <a:gd name="T16" fmla="*/ 2 w 245"/>
                <a:gd name="T17" fmla="*/ 53 h 246"/>
                <a:gd name="T18" fmla="*/ 6 w 245"/>
                <a:gd name="T19" fmla="*/ 79 h 246"/>
                <a:gd name="T20" fmla="*/ 7 w 245"/>
                <a:gd name="T21" fmla="*/ 84 h 246"/>
                <a:gd name="T22" fmla="*/ 8 w 245"/>
                <a:gd name="T23" fmla="*/ 86 h 246"/>
                <a:gd name="T24" fmla="*/ 10 w 245"/>
                <a:gd name="T25" fmla="*/ 93 h 246"/>
                <a:gd name="T26" fmla="*/ 11 w 245"/>
                <a:gd name="T27" fmla="*/ 97 h 246"/>
                <a:gd name="T28" fmla="*/ 12 w 245"/>
                <a:gd name="T29" fmla="*/ 101 h 246"/>
                <a:gd name="T30" fmla="*/ 12 w 245"/>
                <a:gd name="T31" fmla="*/ 102 h 246"/>
                <a:gd name="T32" fmla="*/ 15 w 245"/>
                <a:gd name="T33" fmla="*/ 110 h 246"/>
                <a:gd name="T34" fmla="*/ 24 w 245"/>
                <a:gd name="T35" fmla="*/ 129 h 246"/>
                <a:gd name="T36" fmla="*/ 26 w 245"/>
                <a:gd name="T37" fmla="*/ 132 h 246"/>
                <a:gd name="T38" fmla="*/ 30 w 245"/>
                <a:gd name="T39" fmla="*/ 139 h 246"/>
                <a:gd name="T40" fmla="*/ 32 w 245"/>
                <a:gd name="T41" fmla="*/ 143 h 246"/>
                <a:gd name="T42" fmla="*/ 34 w 245"/>
                <a:gd name="T43" fmla="*/ 147 h 246"/>
                <a:gd name="T44" fmla="*/ 36 w 245"/>
                <a:gd name="T45" fmla="*/ 150 h 246"/>
                <a:gd name="T46" fmla="*/ 42 w 245"/>
                <a:gd name="T47" fmla="*/ 158 h 246"/>
                <a:gd name="T48" fmla="*/ 54 w 245"/>
                <a:gd name="T49" fmla="*/ 173 h 246"/>
                <a:gd name="T50" fmla="*/ 56 w 245"/>
                <a:gd name="T51" fmla="*/ 176 h 246"/>
                <a:gd name="T52" fmla="*/ 63 w 245"/>
                <a:gd name="T53" fmla="*/ 183 h 246"/>
                <a:gd name="T54" fmla="*/ 67 w 245"/>
                <a:gd name="T55" fmla="*/ 186 h 246"/>
                <a:gd name="T56" fmla="*/ 80 w 245"/>
                <a:gd name="T57" fmla="*/ 198 h 246"/>
                <a:gd name="T58" fmla="*/ 85 w 245"/>
                <a:gd name="T59" fmla="*/ 202 h 246"/>
                <a:gd name="T60" fmla="*/ 90 w 245"/>
                <a:gd name="T61" fmla="*/ 206 h 246"/>
                <a:gd name="T62" fmla="*/ 98 w 245"/>
                <a:gd name="T63" fmla="*/ 211 h 246"/>
                <a:gd name="T64" fmla="*/ 109 w 245"/>
                <a:gd name="T65" fmla="*/ 218 h 246"/>
                <a:gd name="T66" fmla="*/ 112 w 245"/>
                <a:gd name="T67" fmla="*/ 219 h 246"/>
                <a:gd name="T68" fmla="*/ 116 w 245"/>
                <a:gd name="T69" fmla="*/ 221 h 246"/>
                <a:gd name="T70" fmla="*/ 120 w 245"/>
                <a:gd name="T71" fmla="*/ 223 h 246"/>
                <a:gd name="T72" fmla="*/ 123 w 245"/>
                <a:gd name="T73" fmla="*/ 225 h 246"/>
                <a:gd name="T74" fmla="*/ 137 w 245"/>
                <a:gd name="T75" fmla="*/ 231 h 246"/>
                <a:gd name="T76" fmla="*/ 149 w 245"/>
                <a:gd name="T77" fmla="*/ 235 h 246"/>
                <a:gd name="T78" fmla="*/ 163 w 245"/>
                <a:gd name="T79" fmla="*/ 239 h 246"/>
                <a:gd name="T80" fmla="*/ 166 w 245"/>
                <a:gd name="T81" fmla="*/ 240 h 246"/>
                <a:gd name="T82" fmla="*/ 172 w 245"/>
                <a:gd name="T83" fmla="*/ 241 h 246"/>
                <a:gd name="T84" fmla="*/ 182 w 245"/>
                <a:gd name="T85" fmla="*/ 243 h 246"/>
                <a:gd name="T86" fmla="*/ 190 w 245"/>
                <a:gd name="T87" fmla="*/ 244 h 246"/>
                <a:gd name="T88" fmla="*/ 197 w 245"/>
                <a:gd name="T89" fmla="*/ 245 h 246"/>
                <a:gd name="T90" fmla="*/ 203 w 245"/>
                <a:gd name="T91" fmla="*/ 245 h 246"/>
                <a:gd name="T92" fmla="*/ 222 w 245"/>
                <a:gd name="T93" fmla="*/ 245 h 246"/>
                <a:gd name="T94" fmla="*/ 239 w 245"/>
                <a:gd name="T95" fmla="*/ 244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 h="246">
                  <a:moveTo>
                    <a:pt x="245" y="243"/>
                  </a:moveTo>
                  <a:cubicBezTo>
                    <a:pt x="245" y="243"/>
                    <a:pt x="245" y="243"/>
                    <a:pt x="245" y="243"/>
                  </a:cubicBezTo>
                  <a:cubicBezTo>
                    <a:pt x="245" y="243"/>
                    <a:pt x="245" y="243"/>
                    <a:pt x="245" y="243"/>
                  </a:cubicBezTo>
                  <a:cubicBezTo>
                    <a:pt x="227" y="246"/>
                    <a:pt x="195" y="231"/>
                    <a:pt x="154" y="200"/>
                  </a:cubicBezTo>
                  <a:cubicBezTo>
                    <a:pt x="85" y="147"/>
                    <a:pt x="18" y="66"/>
                    <a:pt x="5" y="18"/>
                  </a:cubicBezTo>
                  <a:cubicBezTo>
                    <a:pt x="3" y="11"/>
                    <a:pt x="2" y="5"/>
                    <a:pt x="3" y="0"/>
                  </a:cubicBezTo>
                  <a:cubicBezTo>
                    <a:pt x="2" y="5"/>
                    <a:pt x="2" y="11"/>
                    <a:pt x="1" y="16"/>
                  </a:cubicBezTo>
                  <a:cubicBezTo>
                    <a:pt x="2" y="11"/>
                    <a:pt x="2" y="5"/>
                    <a:pt x="3" y="0"/>
                  </a:cubicBezTo>
                  <a:cubicBezTo>
                    <a:pt x="2" y="7"/>
                    <a:pt x="1" y="14"/>
                    <a:pt x="1" y="21"/>
                  </a:cubicBezTo>
                  <a:cubicBezTo>
                    <a:pt x="1" y="21"/>
                    <a:pt x="1" y="21"/>
                    <a:pt x="1" y="21"/>
                  </a:cubicBezTo>
                  <a:cubicBezTo>
                    <a:pt x="1" y="21"/>
                    <a:pt x="1" y="21"/>
                    <a:pt x="1" y="22"/>
                  </a:cubicBezTo>
                  <a:cubicBezTo>
                    <a:pt x="1" y="22"/>
                    <a:pt x="1" y="22"/>
                    <a:pt x="1" y="23"/>
                  </a:cubicBezTo>
                  <a:cubicBezTo>
                    <a:pt x="1" y="24"/>
                    <a:pt x="1" y="25"/>
                    <a:pt x="1" y="26"/>
                  </a:cubicBezTo>
                  <a:cubicBezTo>
                    <a:pt x="1" y="28"/>
                    <a:pt x="1" y="29"/>
                    <a:pt x="1" y="31"/>
                  </a:cubicBezTo>
                  <a:cubicBezTo>
                    <a:pt x="1" y="31"/>
                    <a:pt x="1" y="32"/>
                    <a:pt x="1" y="32"/>
                  </a:cubicBezTo>
                  <a:cubicBezTo>
                    <a:pt x="0" y="36"/>
                    <a:pt x="1" y="39"/>
                    <a:pt x="1" y="43"/>
                  </a:cubicBezTo>
                  <a:cubicBezTo>
                    <a:pt x="1" y="44"/>
                    <a:pt x="1" y="44"/>
                    <a:pt x="1" y="45"/>
                  </a:cubicBezTo>
                  <a:cubicBezTo>
                    <a:pt x="1" y="47"/>
                    <a:pt x="1" y="50"/>
                    <a:pt x="2" y="53"/>
                  </a:cubicBezTo>
                  <a:cubicBezTo>
                    <a:pt x="2" y="53"/>
                    <a:pt x="2" y="53"/>
                    <a:pt x="2" y="54"/>
                  </a:cubicBezTo>
                  <a:cubicBezTo>
                    <a:pt x="2" y="55"/>
                    <a:pt x="3" y="65"/>
                    <a:pt x="6" y="79"/>
                  </a:cubicBezTo>
                  <a:cubicBezTo>
                    <a:pt x="6" y="79"/>
                    <a:pt x="6" y="80"/>
                    <a:pt x="6" y="80"/>
                  </a:cubicBezTo>
                  <a:cubicBezTo>
                    <a:pt x="6" y="81"/>
                    <a:pt x="7" y="82"/>
                    <a:pt x="7" y="84"/>
                  </a:cubicBezTo>
                  <a:cubicBezTo>
                    <a:pt x="7" y="84"/>
                    <a:pt x="7" y="84"/>
                    <a:pt x="7" y="84"/>
                  </a:cubicBezTo>
                  <a:cubicBezTo>
                    <a:pt x="7" y="85"/>
                    <a:pt x="8" y="86"/>
                    <a:pt x="8" y="86"/>
                  </a:cubicBezTo>
                  <a:cubicBezTo>
                    <a:pt x="8" y="87"/>
                    <a:pt x="8" y="88"/>
                    <a:pt x="8" y="88"/>
                  </a:cubicBezTo>
                  <a:cubicBezTo>
                    <a:pt x="8" y="89"/>
                    <a:pt x="9" y="90"/>
                    <a:pt x="10" y="93"/>
                  </a:cubicBezTo>
                  <a:cubicBezTo>
                    <a:pt x="10" y="94"/>
                    <a:pt x="10" y="94"/>
                    <a:pt x="10" y="95"/>
                  </a:cubicBezTo>
                  <a:cubicBezTo>
                    <a:pt x="10" y="95"/>
                    <a:pt x="10" y="96"/>
                    <a:pt x="11" y="97"/>
                  </a:cubicBezTo>
                  <a:cubicBezTo>
                    <a:pt x="11" y="97"/>
                    <a:pt x="11" y="97"/>
                    <a:pt x="11" y="98"/>
                  </a:cubicBezTo>
                  <a:cubicBezTo>
                    <a:pt x="11" y="99"/>
                    <a:pt x="12" y="100"/>
                    <a:pt x="12" y="101"/>
                  </a:cubicBezTo>
                  <a:cubicBezTo>
                    <a:pt x="12" y="101"/>
                    <a:pt x="12" y="101"/>
                    <a:pt x="12" y="101"/>
                  </a:cubicBezTo>
                  <a:cubicBezTo>
                    <a:pt x="12" y="102"/>
                    <a:pt x="12" y="102"/>
                    <a:pt x="12" y="102"/>
                  </a:cubicBezTo>
                  <a:cubicBezTo>
                    <a:pt x="13" y="104"/>
                    <a:pt x="14" y="106"/>
                    <a:pt x="15" y="109"/>
                  </a:cubicBezTo>
                  <a:cubicBezTo>
                    <a:pt x="15" y="109"/>
                    <a:pt x="15" y="110"/>
                    <a:pt x="15" y="110"/>
                  </a:cubicBezTo>
                  <a:cubicBezTo>
                    <a:pt x="15" y="110"/>
                    <a:pt x="16" y="110"/>
                    <a:pt x="16" y="110"/>
                  </a:cubicBezTo>
                  <a:cubicBezTo>
                    <a:pt x="18" y="117"/>
                    <a:pt x="20" y="120"/>
                    <a:pt x="24" y="129"/>
                  </a:cubicBezTo>
                  <a:cubicBezTo>
                    <a:pt x="24" y="129"/>
                    <a:pt x="24" y="130"/>
                    <a:pt x="26" y="132"/>
                  </a:cubicBezTo>
                  <a:cubicBezTo>
                    <a:pt x="26" y="132"/>
                    <a:pt x="26" y="132"/>
                    <a:pt x="26" y="132"/>
                  </a:cubicBezTo>
                  <a:cubicBezTo>
                    <a:pt x="27" y="134"/>
                    <a:pt x="28" y="137"/>
                    <a:pt x="30" y="139"/>
                  </a:cubicBezTo>
                  <a:cubicBezTo>
                    <a:pt x="30" y="139"/>
                    <a:pt x="30" y="139"/>
                    <a:pt x="30" y="139"/>
                  </a:cubicBezTo>
                  <a:cubicBezTo>
                    <a:pt x="30" y="139"/>
                    <a:pt x="30" y="140"/>
                    <a:pt x="30" y="140"/>
                  </a:cubicBezTo>
                  <a:cubicBezTo>
                    <a:pt x="31" y="141"/>
                    <a:pt x="31" y="142"/>
                    <a:pt x="32" y="143"/>
                  </a:cubicBezTo>
                  <a:cubicBezTo>
                    <a:pt x="33" y="144"/>
                    <a:pt x="33" y="145"/>
                    <a:pt x="34" y="147"/>
                  </a:cubicBezTo>
                  <a:cubicBezTo>
                    <a:pt x="34" y="147"/>
                    <a:pt x="34" y="147"/>
                    <a:pt x="34" y="147"/>
                  </a:cubicBezTo>
                  <a:cubicBezTo>
                    <a:pt x="35" y="148"/>
                    <a:pt x="35" y="148"/>
                    <a:pt x="36" y="149"/>
                  </a:cubicBezTo>
                  <a:cubicBezTo>
                    <a:pt x="36" y="149"/>
                    <a:pt x="36" y="149"/>
                    <a:pt x="36" y="150"/>
                  </a:cubicBezTo>
                  <a:cubicBezTo>
                    <a:pt x="36" y="150"/>
                    <a:pt x="36" y="150"/>
                    <a:pt x="37" y="150"/>
                  </a:cubicBezTo>
                  <a:cubicBezTo>
                    <a:pt x="38" y="153"/>
                    <a:pt x="40" y="155"/>
                    <a:pt x="42" y="158"/>
                  </a:cubicBezTo>
                  <a:cubicBezTo>
                    <a:pt x="42" y="158"/>
                    <a:pt x="42" y="159"/>
                    <a:pt x="43" y="159"/>
                  </a:cubicBezTo>
                  <a:cubicBezTo>
                    <a:pt x="45" y="163"/>
                    <a:pt x="49" y="168"/>
                    <a:pt x="54" y="173"/>
                  </a:cubicBezTo>
                  <a:cubicBezTo>
                    <a:pt x="55" y="174"/>
                    <a:pt x="55" y="175"/>
                    <a:pt x="56" y="176"/>
                  </a:cubicBezTo>
                  <a:cubicBezTo>
                    <a:pt x="56" y="176"/>
                    <a:pt x="56" y="176"/>
                    <a:pt x="56" y="176"/>
                  </a:cubicBezTo>
                  <a:cubicBezTo>
                    <a:pt x="58" y="178"/>
                    <a:pt x="60" y="180"/>
                    <a:pt x="62" y="182"/>
                  </a:cubicBezTo>
                  <a:cubicBezTo>
                    <a:pt x="62" y="182"/>
                    <a:pt x="63" y="182"/>
                    <a:pt x="63" y="183"/>
                  </a:cubicBezTo>
                  <a:cubicBezTo>
                    <a:pt x="64" y="184"/>
                    <a:pt x="65" y="185"/>
                    <a:pt x="66" y="185"/>
                  </a:cubicBezTo>
                  <a:cubicBezTo>
                    <a:pt x="66" y="186"/>
                    <a:pt x="67" y="186"/>
                    <a:pt x="67" y="186"/>
                  </a:cubicBezTo>
                  <a:cubicBezTo>
                    <a:pt x="67" y="187"/>
                    <a:pt x="68" y="188"/>
                    <a:pt x="69" y="188"/>
                  </a:cubicBezTo>
                  <a:cubicBezTo>
                    <a:pt x="73" y="192"/>
                    <a:pt x="76" y="195"/>
                    <a:pt x="80" y="198"/>
                  </a:cubicBezTo>
                  <a:cubicBezTo>
                    <a:pt x="80" y="198"/>
                    <a:pt x="80" y="198"/>
                    <a:pt x="81" y="199"/>
                  </a:cubicBezTo>
                  <a:cubicBezTo>
                    <a:pt x="82" y="200"/>
                    <a:pt x="83" y="201"/>
                    <a:pt x="85" y="202"/>
                  </a:cubicBezTo>
                  <a:cubicBezTo>
                    <a:pt x="85" y="202"/>
                    <a:pt x="85" y="202"/>
                    <a:pt x="86" y="202"/>
                  </a:cubicBezTo>
                  <a:cubicBezTo>
                    <a:pt x="87" y="204"/>
                    <a:pt x="89" y="205"/>
                    <a:pt x="90" y="206"/>
                  </a:cubicBezTo>
                  <a:cubicBezTo>
                    <a:pt x="90" y="206"/>
                    <a:pt x="90" y="206"/>
                    <a:pt x="90" y="206"/>
                  </a:cubicBezTo>
                  <a:cubicBezTo>
                    <a:pt x="94" y="208"/>
                    <a:pt x="97" y="210"/>
                    <a:pt x="98" y="211"/>
                  </a:cubicBezTo>
                  <a:cubicBezTo>
                    <a:pt x="102" y="213"/>
                    <a:pt x="105" y="215"/>
                    <a:pt x="108" y="217"/>
                  </a:cubicBezTo>
                  <a:cubicBezTo>
                    <a:pt x="108" y="217"/>
                    <a:pt x="108" y="217"/>
                    <a:pt x="109" y="218"/>
                  </a:cubicBezTo>
                  <a:cubicBezTo>
                    <a:pt x="110" y="218"/>
                    <a:pt x="110" y="218"/>
                    <a:pt x="111" y="219"/>
                  </a:cubicBezTo>
                  <a:cubicBezTo>
                    <a:pt x="112" y="219"/>
                    <a:pt x="112" y="219"/>
                    <a:pt x="112" y="219"/>
                  </a:cubicBezTo>
                  <a:cubicBezTo>
                    <a:pt x="113" y="220"/>
                    <a:pt x="114" y="221"/>
                    <a:pt x="115" y="221"/>
                  </a:cubicBezTo>
                  <a:cubicBezTo>
                    <a:pt x="116" y="221"/>
                    <a:pt x="116" y="221"/>
                    <a:pt x="116" y="221"/>
                  </a:cubicBezTo>
                  <a:cubicBezTo>
                    <a:pt x="117" y="222"/>
                    <a:pt x="118" y="222"/>
                    <a:pt x="119" y="223"/>
                  </a:cubicBezTo>
                  <a:cubicBezTo>
                    <a:pt x="119" y="223"/>
                    <a:pt x="119" y="223"/>
                    <a:pt x="120" y="223"/>
                  </a:cubicBezTo>
                  <a:cubicBezTo>
                    <a:pt x="120" y="224"/>
                    <a:pt x="121" y="224"/>
                    <a:pt x="122" y="224"/>
                  </a:cubicBezTo>
                  <a:cubicBezTo>
                    <a:pt x="122" y="225"/>
                    <a:pt x="123" y="225"/>
                    <a:pt x="123" y="225"/>
                  </a:cubicBezTo>
                  <a:cubicBezTo>
                    <a:pt x="124" y="225"/>
                    <a:pt x="124" y="226"/>
                    <a:pt x="125" y="226"/>
                  </a:cubicBezTo>
                  <a:cubicBezTo>
                    <a:pt x="129" y="228"/>
                    <a:pt x="134" y="230"/>
                    <a:pt x="137" y="231"/>
                  </a:cubicBezTo>
                  <a:cubicBezTo>
                    <a:pt x="140" y="232"/>
                    <a:pt x="145" y="234"/>
                    <a:pt x="148" y="235"/>
                  </a:cubicBezTo>
                  <a:cubicBezTo>
                    <a:pt x="148" y="235"/>
                    <a:pt x="149" y="235"/>
                    <a:pt x="149" y="235"/>
                  </a:cubicBezTo>
                  <a:cubicBezTo>
                    <a:pt x="153" y="236"/>
                    <a:pt x="156" y="237"/>
                    <a:pt x="161" y="239"/>
                  </a:cubicBezTo>
                  <a:cubicBezTo>
                    <a:pt x="162" y="239"/>
                    <a:pt x="162" y="239"/>
                    <a:pt x="163" y="239"/>
                  </a:cubicBezTo>
                  <a:cubicBezTo>
                    <a:pt x="163" y="239"/>
                    <a:pt x="163" y="239"/>
                    <a:pt x="164" y="239"/>
                  </a:cubicBezTo>
                  <a:cubicBezTo>
                    <a:pt x="164" y="239"/>
                    <a:pt x="165" y="240"/>
                    <a:pt x="166" y="240"/>
                  </a:cubicBezTo>
                  <a:cubicBezTo>
                    <a:pt x="166" y="240"/>
                    <a:pt x="166" y="240"/>
                    <a:pt x="167" y="240"/>
                  </a:cubicBezTo>
                  <a:cubicBezTo>
                    <a:pt x="169" y="240"/>
                    <a:pt x="170" y="241"/>
                    <a:pt x="172" y="241"/>
                  </a:cubicBezTo>
                  <a:cubicBezTo>
                    <a:pt x="175" y="242"/>
                    <a:pt x="177" y="242"/>
                    <a:pt x="180" y="243"/>
                  </a:cubicBezTo>
                  <a:cubicBezTo>
                    <a:pt x="180" y="243"/>
                    <a:pt x="181" y="243"/>
                    <a:pt x="182" y="243"/>
                  </a:cubicBezTo>
                  <a:cubicBezTo>
                    <a:pt x="182" y="243"/>
                    <a:pt x="182" y="243"/>
                    <a:pt x="182" y="243"/>
                  </a:cubicBezTo>
                  <a:cubicBezTo>
                    <a:pt x="186" y="244"/>
                    <a:pt x="190" y="244"/>
                    <a:pt x="190" y="244"/>
                  </a:cubicBezTo>
                  <a:cubicBezTo>
                    <a:pt x="190" y="244"/>
                    <a:pt x="190" y="244"/>
                    <a:pt x="191" y="244"/>
                  </a:cubicBezTo>
                  <a:cubicBezTo>
                    <a:pt x="193" y="244"/>
                    <a:pt x="196" y="245"/>
                    <a:pt x="197" y="245"/>
                  </a:cubicBezTo>
                  <a:cubicBezTo>
                    <a:pt x="198" y="245"/>
                    <a:pt x="199" y="245"/>
                    <a:pt x="200" y="245"/>
                  </a:cubicBezTo>
                  <a:cubicBezTo>
                    <a:pt x="201" y="245"/>
                    <a:pt x="203" y="245"/>
                    <a:pt x="203" y="245"/>
                  </a:cubicBezTo>
                  <a:cubicBezTo>
                    <a:pt x="213" y="245"/>
                    <a:pt x="216" y="245"/>
                    <a:pt x="222" y="245"/>
                  </a:cubicBezTo>
                  <a:cubicBezTo>
                    <a:pt x="222" y="245"/>
                    <a:pt x="222" y="245"/>
                    <a:pt x="222" y="245"/>
                  </a:cubicBezTo>
                  <a:cubicBezTo>
                    <a:pt x="222" y="245"/>
                    <a:pt x="229" y="245"/>
                    <a:pt x="239" y="244"/>
                  </a:cubicBezTo>
                  <a:cubicBezTo>
                    <a:pt x="239" y="244"/>
                    <a:pt x="239" y="244"/>
                    <a:pt x="239" y="244"/>
                  </a:cubicBezTo>
                  <a:cubicBezTo>
                    <a:pt x="241" y="244"/>
                    <a:pt x="243" y="243"/>
                    <a:pt x="245" y="243"/>
                  </a:cubicBezTo>
                  <a:close/>
                </a:path>
              </a:pathLst>
            </a:custGeom>
            <a:solidFill>
              <a:schemeClr val="bg1">
                <a:lumMod val="95000"/>
              </a:schemeClr>
            </a:solidFill>
            <a:ln>
              <a:noFill/>
            </a:ln>
          </p:spPr>
          <p:txBody>
            <a:bodyPr wrap="square" lIns="91440" tIns="45720" rIns="91440" bIns="45720" anchor="ctr">
              <a:noAutofit/>
            </a:bodyPr>
            <a:lstStyle/>
            <a:p>
              <a:pPr algn="ctr"/>
              <a:endParaRPr/>
            </a:p>
          </p:txBody>
        </p:sp>
        <p:sp>
          <p:nvSpPr>
            <p:cNvPr id="14" name="ïšḷiďè">
              <a:extLst>
                <a:ext uri="{FF2B5EF4-FFF2-40B4-BE49-F238E27FC236}">
                  <a16:creationId xmlns:a16="http://schemas.microsoft.com/office/drawing/2014/main" id="{7C8D47A3-E49E-4125-8B35-200CA0BDE4A7}"/>
                </a:ext>
              </a:extLst>
            </p:cNvPr>
            <p:cNvSpPr/>
            <p:nvPr/>
          </p:nvSpPr>
          <p:spPr bwMode="auto">
            <a:xfrm rot="19847212">
              <a:off x="4886972" y="1684357"/>
              <a:ext cx="2033425" cy="2225080"/>
            </a:xfrm>
            <a:custGeom>
              <a:avLst/>
              <a:gdLst>
                <a:gd name="T0" fmla="*/ 265 w 287"/>
                <a:gd name="T1" fmla="*/ 285 h 285"/>
                <a:gd name="T2" fmla="*/ 169 w 287"/>
                <a:gd name="T3" fmla="*/ 237 h 285"/>
                <a:gd name="T4" fmla="*/ 4 w 287"/>
                <a:gd name="T5" fmla="*/ 36 h 285"/>
                <a:gd name="T6" fmla="*/ 5 w 287"/>
                <a:gd name="T7" fmla="*/ 6 h 285"/>
                <a:gd name="T8" fmla="*/ 22 w 287"/>
                <a:gd name="T9" fmla="*/ 0 h 285"/>
                <a:gd name="T10" fmla="*/ 118 w 287"/>
                <a:gd name="T11" fmla="*/ 47 h 285"/>
                <a:gd name="T12" fmla="*/ 283 w 287"/>
                <a:gd name="T13" fmla="*/ 248 h 285"/>
                <a:gd name="T14" fmla="*/ 282 w 287"/>
                <a:gd name="T15" fmla="*/ 278 h 285"/>
                <a:gd name="T16" fmla="*/ 265 w 287"/>
                <a:gd name="T17" fmla="*/ 28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7" h="285">
                  <a:moveTo>
                    <a:pt x="265" y="285"/>
                  </a:moveTo>
                  <a:cubicBezTo>
                    <a:pt x="244" y="285"/>
                    <a:pt x="209" y="267"/>
                    <a:pt x="169" y="237"/>
                  </a:cubicBezTo>
                  <a:cubicBezTo>
                    <a:pt x="92" y="178"/>
                    <a:pt x="18" y="88"/>
                    <a:pt x="4" y="36"/>
                  </a:cubicBezTo>
                  <a:cubicBezTo>
                    <a:pt x="0" y="22"/>
                    <a:pt x="0" y="13"/>
                    <a:pt x="5" y="6"/>
                  </a:cubicBezTo>
                  <a:cubicBezTo>
                    <a:pt x="8" y="2"/>
                    <a:pt x="14" y="0"/>
                    <a:pt x="22" y="0"/>
                  </a:cubicBezTo>
                  <a:cubicBezTo>
                    <a:pt x="43" y="0"/>
                    <a:pt x="78" y="17"/>
                    <a:pt x="118" y="47"/>
                  </a:cubicBezTo>
                  <a:cubicBezTo>
                    <a:pt x="194" y="106"/>
                    <a:pt x="269" y="196"/>
                    <a:pt x="283" y="248"/>
                  </a:cubicBezTo>
                  <a:cubicBezTo>
                    <a:pt x="287" y="262"/>
                    <a:pt x="286" y="272"/>
                    <a:pt x="282" y="278"/>
                  </a:cubicBezTo>
                  <a:cubicBezTo>
                    <a:pt x="278" y="283"/>
                    <a:pt x="273" y="285"/>
                    <a:pt x="265" y="285"/>
                  </a:cubicBezTo>
                  <a:close/>
                </a:path>
              </a:pathLst>
            </a:custGeom>
            <a:solidFill>
              <a:schemeClr val="bg1">
                <a:lumMod val="85000"/>
              </a:schemeClr>
            </a:solidFill>
            <a:ln>
              <a:noFill/>
            </a:ln>
          </p:spPr>
          <p:txBody>
            <a:bodyPr wrap="square" lIns="91440" tIns="45720" rIns="91440" bIns="45720" anchor="ctr">
              <a:noAutofit/>
            </a:bodyPr>
            <a:lstStyle/>
            <a:p>
              <a:pPr algn="ctr"/>
              <a:endParaRPr/>
            </a:p>
          </p:txBody>
        </p:sp>
        <p:sp>
          <p:nvSpPr>
            <p:cNvPr id="15" name="ïŝḻiḓê">
              <a:extLst>
                <a:ext uri="{FF2B5EF4-FFF2-40B4-BE49-F238E27FC236}">
                  <a16:creationId xmlns:a16="http://schemas.microsoft.com/office/drawing/2014/main" id="{5617A1F4-3C0F-4E3A-9351-F8B5A3D030D6}"/>
                </a:ext>
              </a:extLst>
            </p:cNvPr>
            <p:cNvSpPr/>
            <p:nvPr/>
          </p:nvSpPr>
          <p:spPr bwMode="auto">
            <a:xfrm rot="19847212">
              <a:off x="4593047" y="1772982"/>
              <a:ext cx="2481975" cy="2803535"/>
            </a:xfrm>
            <a:custGeom>
              <a:avLst/>
              <a:gdLst>
                <a:gd name="T0" fmla="*/ 310 w 350"/>
                <a:gd name="T1" fmla="*/ 342 h 359"/>
                <a:gd name="T2" fmla="*/ 350 w 350"/>
                <a:gd name="T3" fmla="*/ 272 h 359"/>
                <a:gd name="T4" fmla="*/ 235 w 350"/>
                <a:gd name="T5" fmla="*/ 236 h 359"/>
                <a:gd name="T6" fmla="*/ 70 w 350"/>
                <a:gd name="T7" fmla="*/ 35 h 359"/>
                <a:gd name="T8" fmla="*/ 79 w 350"/>
                <a:gd name="T9" fmla="*/ 0 h 359"/>
                <a:gd name="T10" fmla="*/ 8 w 350"/>
                <a:gd name="T11" fmla="*/ 40 h 359"/>
                <a:gd name="T12" fmla="*/ 4 w 350"/>
                <a:gd name="T13" fmla="*/ 75 h 359"/>
                <a:gd name="T14" fmla="*/ 187 w 350"/>
                <a:gd name="T15" fmla="*/ 296 h 359"/>
                <a:gd name="T16" fmla="*/ 310 w 350"/>
                <a:gd name="T17" fmla="*/ 342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 h="359">
                  <a:moveTo>
                    <a:pt x="310" y="342"/>
                  </a:moveTo>
                  <a:cubicBezTo>
                    <a:pt x="336" y="312"/>
                    <a:pt x="346" y="283"/>
                    <a:pt x="350" y="272"/>
                  </a:cubicBezTo>
                  <a:cubicBezTo>
                    <a:pt x="342" y="296"/>
                    <a:pt x="297" y="283"/>
                    <a:pt x="235" y="236"/>
                  </a:cubicBezTo>
                  <a:cubicBezTo>
                    <a:pt x="158" y="177"/>
                    <a:pt x="84" y="87"/>
                    <a:pt x="70" y="35"/>
                  </a:cubicBezTo>
                  <a:cubicBezTo>
                    <a:pt x="65" y="15"/>
                    <a:pt x="68" y="4"/>
                    <a:pt x="79" y="0"/>
                  </a:cubicBezTo>
                  <a:cubicBezTo>
                    <a:pt x="41" y="13"/>
                    <a:pt x="17" y="33"/>
                    <a:pt x="8" y="40"/>
                  </a:cubicBezTo>
                  <a:cubicBezTo>
                    <a:pt x="1" y="46"/>
                    <a:pt x="0" y="58"/>
                    <a:pt x="4" y="75"/>
                  </a:cubicBezTo>
                  <a:cubicBezTo>
                    <a:pt x="20" y="133"/>
                    <a:pt x="102" y="232"/>
                    <a:pt x="187" y="296"/>
                  </a:cubicBezTo>
                  <a:cubicBezTo>
                    <a:pt x="249" y="344"/>
                    <a:pt x="295" y="359"/>
                    <a:pt x="310" y="342"/>
                  </a:cubicBezTo>
                  <a:close/>
                </a:path>
              </a:pathLst>
            </a:custGeom>
            <a:solidFill>
              <a:schemeClr val="bg1">
                <a:lumMod val="95000"/>
              </a:schemeClr>
            </a:solidFill>
            <a:ln>
              <a:noFill/>
            </a:ln>
          </p:spPr>
          <p:txBody>
            <a:bodyPr wrap="square" lIns="91440" tIns="45720" rIns="91440" bIns="45720" anchor="ctr">
              <a:noAutofit/>
            </a:bodyPr>
            <a:lstStyle/>
            <a:p>
              <a:pPr algn="ctr"/>
              <a:endParaRPr/>
            </a:p>
          </p:txBody>
        </p:sp>
        <p:sp>
          <p:nvSpPr>
            <p:cNvPr id="16" name="iṩlíḓè">
              <a:extLst>
                <a:ext uri="{FF2B5EF4-FFF2-40B4-BE49-F238E27FC236}">
                  <a16:creationId xmlns:a16="http://schemas.microsoft.com/office/drawing/2014/main" id="{D1305AD0-4478-4727-906E-89D48E95E6BE}"/>
                </a:ext>
              </a:extLst>
            </p:cNvPr>
            <p:cNvSpPr/>
            <p:nvPr/>
          </p:nvSpPr>
          <p:spPr bwMode="auto">
            <a:xfrm rot="19847212">
              <a:off x="5469673" y="1659533"/>
              <a:ext cx="1856997" cy="2113333"/>
            </a:xfrm>
            <a:custGeom>
              <a:avLst/>
              <a:gdLst>
                <a:gd name="T0" fmla="*/ 259 w 262"/>
                <a:gd name="T1" fmla="*/ 245 h 271"/>
                <a:gd name="T2" fmla="*/ 261 w 262"/>
                <a:gd name="T3" fmla="*/ 200 h 271"/>
                <a:gd name="T4" fmla="*/ 259 w 262"/>
                <a:gd name="T5" fmla="*/ 180 h 271"/>
                <a:gd name="T6" fmla="*/ 256 w 262"/>
                <a:gd name="T7" fmla="*/ 167 h 271"/>
                <a:gd name="T8" fmla="*/ 254 w 262"/>
                <a:gd name="T9" fmla="*/ 157 h 271"/>
                <a:gd name="T10" fmla="*/ 242 w 262"/>
                <a:gd name="T11" fmla="*/ 124 h 271"/>
                <a:gd name="T12" fmla="*/ 226 w 262"/>
                <a:gd name="T13" fmla="*/ 96 h 271"/>
                <a:gd name="T14" fmla="*/ 203 w 262"/>
                <a:gd name="T15" fmla="*/ 67 h 271"/>
                <a:gd name="T16" fmla="*/ 178 w 262"/>
                <a:gd name="T17" fmla="*/ 44 h 271"/>
                <a:gd name="T18" fmla="*/ 102 w 262"/>
                <a:gd name="T19" fmla="*/ 7 h 271"/>
                <a:gd name="T20" fmla="*/ 60 w 262"/>
                <a:gd name="T21" fmla="*/ 0 h 271"/>
                <a:gd name="T22" fmla="*/ 39 w 262"/>
                <a:gd name="T23" fmla="*/ 0 h 271"/>
                <a:gd name="T24" fmla="*/ 28 w 262"/>
                <a:gd name="T25" fmla="*/ 1 h 271"/>
                <a:gd name="T26" fmla="*/ 17 w 262"/>
                <a:gd name="T27" fmla="*/ 2 h 271"/>
                <a:gd name="T28" fmla="*/ 5 w 262"/>
                <a:gd name="T29" fmla="*/ 34 h 271"/>
                <a:gd name="T30" fmla="*/ 155 w 262"/>
                <a:gd name="T31" fmla="*/ 216 h 271"/>
                <a:gd name="T32" fmla="*/ 259 w 262"/>
                <a:gd name="T33" fmla="*/ 245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62" h="271">
                  <a:moveTo>
                    <a:pt x="259" y="245"/>
                  </a:moveTo>
                  <a:cubicBezTo>
                    <a:pt x="261" y="232"/>
                    <a:pt x="262" y="217"/>
                    <a:pt x="261" y="200"/>
                  </a:cubicBezTo>
                  <a:cubicBezTo>
                    <a:pt x="261" y="194"/>
                    <a:pt x="260" y="186"/>
                    <a:pt x="259" y="180"/>
                  </a:cubicBezTo>
                  <a:cubicBezTo>
                    <a:pt x="258" y="176"/>
                    <a:pt x="257" y="171"/>
                    <a:pt x="256" y="167"/>
                  </a:cubicBezTo>
                  <a:cubicBezTo>
                    <a:pt x="256" y="164"/>
                    <a:pt x="255" y="160"/>
                    <a:pt x="254" y="157"/>
                  </a:cubicBezTo>
                  <a:cubicBezTo>
                    <a:pt x="251" y="145"/>
                    <a:pt x="247" y="136"/>
                    <a:pt x="242" y="124"/>
                  </a:cubicBezTo>
                  <a:cubicBezTo>
                    <a:pt x="237" y="113"/>
                    <a:pt x="230" y="102"/>
                    <a:pt x="226" y="96"/>
                  </a:cubicBezTo>
                  <a:cubicBezTo>
                    <a:pt x="222" y="90"/>
                    <a:pt x="216" y="80"/>
                    <a:pt x="203" y="67"/>
                  </a:cubicBezTo>
                  <a:cubicBezTo>
                    <a:pt x="196" y="59"/>
                    <a:pt x="187" y="51"/>
                    <a:pt x="178" y="44"/>
                  </a:cubicBezTo>
                  <a:cubicBezTo>
                    <a:pt x="162" y="32"/>
                    <a:pt x="136" y="16"/>
                    <a:pt x="102" y="7"/>
                  </a:cubicBezTo>
                  <a:cubicBezTo>
                    <a:pt x="97" y="6"/>
                    <a:pt x="81" y="2"/>
                    <a:pt x="60" y="0"/>
                  </a:cubicBezTo>
                  <a:cubicBezTo>
                    <a:pt x="57" y="0"/>
                    <a:pt x="49" y="0"/>
                    <a:pt x="39" y="0"/>
                  </a:cubicBezTo>
                  <a:cubicBezTo>
                    <a:pt x="35" y="0"/>
                    <a:pt x="31" y="1"/>
                    <a:pt x="28" y="1"/>
                  </a:cubicBezTo>
                  <a:cubicBezTo>
                    <a:pt x="24" y="1"/>
                    <a:pt x="20" y="2"/>
                    <a:pt x="17" y="2"/>
                  </a:cubicBezTo>
                  <a:cubicBezTo>
                    <a:pt x="5" y="4"/>
                    <a:pt x="0" y="15"/>
                    <a:pt x="5" y="34"/>
                  </a:cubicBezTo>
                  <a:cubicBezTo>
                    <a:pt x="18" y="82"/>
                    <a:pt x="85" y="163"/>
                    <a:pt x="155" y="216"/>
                  </a:cubicBezTo>
                  <a:cubicBezTo>
                    <a:pt x="214" y="261"/>
                    <a:pt x="256" y="271"/>
                    <a:pt x="259" y="245"/>
                  </a:cubicBezTo>
                  <a:close/>
                </a:path>
              </a:pathLst>
            </a:custGeom>
            <a:solidFill>
              <a:schemeClr val="bg1">
                <a:lumMod val="95000"/>
              </a:schemeClr>
            </a:solidFill>
            <a:ln>
              <a:noFill/>
            </a:ln>
          </p:spPr>
          <p:txBody>
            <a:bodyPr wrap="square" lIns="91440" tIns="45720" rIns="91440" bIns="45720" anchor="ctr">
              <a:noAutofit/>
            </a:bodyPr>
            <a:lstStyle/>
            <a:p>
              <a:pPr algn="ctr"/>
              <a:endParaRPr/>
            </a:p>
          </p:txBody>
        </p:sp>
        <p:sp>
          <p:nvSpPr>
            <p:cNvPr id="17" name="iṩḻîḋé">
              <a:extLst>
                <a:ext uri="{FF2B5EF4-FFF2-40B4-BE49-F238E27FC236}">
                  <a16:creationId xmlns:a16="http://schemas.microsoft.com/office/drawing/2014/main" id="{ECC6A9C9-4C13-441E-809C-A908122B76A3}"/>
                </a:ext>
              </a:extLst>
            </p:cNvPr>
            <p:cNvSpPr/>
            <p:nvPr/>
          </p:nvSpPr>
          <p:spPr>
            <a:xfrm>
              <a:off x="6938772" y="1976734"/>
              <a:ext cx="617120" cy="61712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chemeClr val="bg1"/>
            </a:solidFill>
            <a:ln w="38100">
              <a:solidFill>
                <a:schemeClr val="accent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lIns="91440" tIns="45720" rIns="91440" bIns="45720" anchor="ctr">
              <a:no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p>
          </p:txBody>
        </p:sp>
        <p:sp>
          <p:nvSpPr>
            <p:cNvPr id="18" name="iṣḷíḓé">
              <a:extLst>
                <a:ext uri="{FF2B5EF4-FFF2-40B4-BE49-F238E27FC236}">
                  <a16:creationId xmlns:a16="http://schemas.microsoft.com/office/drawing/2014/main" id="{58FB64A9-B3DA-4028-AECC-6DB22C109EB8}"/>
                </a:ext>
              </a:extLst>
            </p:cNvPr>
            <p:cNvSpPr/>
            <p:nvPr/>
          </p:nvSpPr>
          <p:spPr>
            <a:xfrm>
              <a:off x="4041778" y="2286105"/>
              <a:ext cx="617120" cy="61712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chemeClr val="bg1"/>
            </a:solidFill>
            <a:ln w="381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lIns="91440" tIns="45720" rIns="91440" bIns="45720" anchor="ctr">
              <a:no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p>
          </p:txBody>
        </p:sp>
        <p:sp>
          <p:nvSpPr>
            <p:cNvPr id="19" name="ïšlïḋe">
              <a:extLst>
                <a:ext uri="{FF2B5EF4-FFF2-40B4-BE49-F238E27FC236}">
                  <a16:creationId xmlns:a16="http://schemas.microsoft.com/office/drawing/2014/main" id="{2510687A-E33D-4431-9337-68C08D679C58}"/>
                </a:ext>
              </a:extLst>
            </p:cNvPr>
            <p:cNvSpPr/>
            <p:nvPr/>
          </p:nvSpPr>
          <p:spPr>
            <a:xfrm>
              <a:off x="6938772" y="4073175"/>
              <a:ext cx="617120" cy="61712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chemeClr val="bg1"/>
            </a:solidFill>
            <a:ln w="38100">
              <a:solidFill>
                <a:schemeClr val="accent1"/>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lIns="91440" tIns="45720" rIns="91440" bIns="45720" anchor="ctr">
              <a:no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p>
          </p:txBody>
        </p:sp>
        <p:sp>
          <p:nvSpPr>
            <p:cNvPr id="20" name="íṣlíďé">
              <a:extLst>
                <a:ext uri="{FF2B5EF4-FFF2-40B4-BE49-F238E27FC236}">
                  <a16:creationId xmlns:a16="http://schemas.microsoft.com/office/drawing/2014/main" id="{D85D3F90-1389-4472-80BA-1A6F3E6D6D3E}"/>
                </a:ext>
              </a:extLst>
            </p:cNvPr>
            <p:cNvSpPr/>
            <p:nvPr/>
          </p:nvSpPr>
          <p:spPr bwMode="auto">
            <a:xfrm>
              <a:off x="7086639" y="2112471"/>
              <a:ext cx="321386" cy="345643"/>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solidFill>
              <a:schemeClr val="accent2"/>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1" name="ïş1iḑè">
              <a:extLst>
                <a:ext uri="{FF2B5EF4-FFF2-40B4-BE49-F238E27FC236}">
                  <a16:creationId xmlns:a16="http://schemas.microsoft.com/office/drawing/2014/main" id="{04C202F7-9F6D-4B36-8361-FEC9A58A3756}"/>
                </a:ext>
              </a:extLst>
            </p:cNvPr>
            <p:cNvSpPr/>
            <p:nvPr/>
          </p:nvSpPr>
          <p:spPr>
            <a:xfrm>
              <a:off x="4213475" y="4073175"/>
              <a:ext cx="617120" cy="617120"/>
            </a:xfrm>
            <a:custGeom>
              <a:avLst/>
              <a:gdLst>
                <a:gd name="connsiteX0" fmla="*/ 0 w 670873"/>
                <a:gd name="connsiteY0" fmla="*/ 335437 h 670873"/>
                <a:gd name="connsiteX1" fmla="*/ 335437 w 670873"/>
                <a:gd name="connsiteY1" fmla="*/ 0 h 670873"/>
                <a:gd name="connsiteX2" fmla="*/ 670874 w 670873"/>
                <a:gd name="connsiteY2" fmla="*/ 335437 h 670873"/>
                <a:gd name="connsiteX3" fmla="*/ 335437 w 670873"/>
                <a:gd name="connsiteY3" fmla="*/ 670874 h 670873"/>
                <a:gd name="connsiteX4" fmla="*/ 0 w 670873"/>
                <a:gd name="connsiteY4" fmla="*/ 335437 h 670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873" h="670873">
                  <a:moveTo>
                    <a:pt x="0" y="335437"/>
                  </a:moveTo>
                  <a:cubicBezTo>
                    <a:pt x="0" y="150180"/>
                    <a:pt x="150180" y="0"/>
                    <a:pt x="335437" y="0"/>
                  </a:cubicBezTo>
                  <a:cubicBezTo>
                    <a:pt x="520694" y="0"/>
                    <a:pt x="670874" y="150180"/>
                    <a:pt x="670874" y="335437"/>
                  </a:cubicBezTo>
                  <a:cubicBezTo>
                    <a:pt x="670874" y="520694"/>
                    <a:pt x="520694" y="670874"/>
                    <a:pt x="335437" y="670874"/>
                  </a:cubicBezTo>
                  <a:cubicBezTo>
                    <a:pt x="150180" y="670874"/>
                    <a:pt x="0" y="520694"/>
                    <a:pt x="0" y="335437"/>
                  </a:cubicBezTo>
                  <a:close/>
                </a:path>
              </a:pathLst>
            </a:custGeom>
            <a:solidFill>
              <a:schemeClr val="bg1"/>
            </a:solidFill>
            <a:ln w="38100">
              <a:solidFill>
                <a:schemeClr val="accent2"/>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wrap="square" lIns="91440" tIns="45720" rIns="91440" bIns="45720" anchor="ctr">
              <a:noAutofit/>
            </a:bodyPr>
            <a:lstStyle>
              <a:defPPr>
                <a:defRPr lang="zh-CN"/>
              </a:defPPr>
              <a:lvl1pPr marL="0" algn="l" defTabSz="914377" rtl="0" eaLnBrk="1" latinLnBrk="0" hangingPunct="1">
                <a:defRPr sz="1800" kern="1200">
                  <a:solidFill>
                    <a:schemeClr val="lt1"/>
                  </a:solidFill>
                </a:defRPr>
              </a:lvl1pPr>
              <a:lvl2pPr marL="457189" algn="l" defTabSz="914377" rtl="0" eaLnBrk="1" latinLnBrk="0" hangingPunct="1">
                <a:defRPr sz="1800" kern="1200">
                  <a:solidFill>
                    <a:schemeClr val="lt1"/>
                  </a:solidFill>
                </a:defRPr>
              </a:lvl2pPr>
              <a:lvl3pPr marL="914377" algn="l" defTabSz="914377" rtl="0" eaLnBrk="1" latinLnBrk="0" hangingPunct="1">
                <a:defRPr sz="1800" kern="1200">
                  <a:solidFill>
                    <a:schemeClr val="lt1"/>
                  </a:solidFill>
                </a:defRPr>
              </a:lvl3pPr>
              <a:lvl4pPr marL="1371566" algn="l" defTabSz="914377" rtl="0" eaLnBrk="1" latinLnBrk="0" hangingPunct="1">
                <a:defRPr sz="1800" kern="1200">
                  <a:solidFill>
                    <a:schemeClr val="lt1"/>
                  </a:solidFill>
                </a:defRPr>
              </a:lvl4pPr>
              <a:lvl5pPr marL="1828754" algn="l" defTabSz="914377" rtl="0" eaLnBrk="1" latinLnBrk="0" hangingPunct="1">
                <a:defRPr sz="1800" kern="1200">
                  <a:solidFill>
                    <a:schemeClr val="lt1"/>
                  </a:solidFill>
                </a:defRPr>
              </a:lvl5pPr>
              <a:lvl6pPr marL="2285943" algn="l" defTabSz="914377" rtl="0" eaLnBrk="1" latinLnBrk="0" hangingPunct="1">
                <a:defRPr sz="1800" kern="1200">
                  <a:solidFill>
                    <a:schemeClr val="lt1"/>
                  </a:solidFill>
                </a:defRPr>
              </a:lvl6pPr>
              <a:lvl7pPr marL="2743131" algn="l" defTabSz="914377" rtl="0" eaLnBrk="1" latinLnBrk="0" hangingPunct="1">
                <a:defRPr sz="1800" kern="1200">
                  <a:solidFill>
                    <a:schemeClr val="lt1"/>
                  </a:solidFill>
                </a:defRPr>
              </a:lvl7pPr>
              <a:lvl8pPr marL="3200320" algn="l" defTabSz="914377" rtl="0" eaLnBrk="1" latinLnBrk="0" hangingPunct="1">
                <a:defRPr sz="1800" kern="1200">
                  <a:solidFill>
                    <a:schemeClr val="lt1"/>
                  </a:solidFill>
                </a:defRPr>
              </a:lvl8pPr>
              <a:lvl9pPr marL="3657509" algn="l" defTabSz="914377" rtl="0" eaLnBrk="1" latinLnBrk="0" hangingPunct="1">
                <a:defRPr sz="1800" kern="1200">
                  <a:solidFill>
                    <a:schemeClr val="lt1"/>
                  </a:solidFill>
                </a:defRPr>
              </a:lvl9pPr>
            </a:lstStyle>
            <a:p>
              <a:pPr algn="ctr"/>
              <a:endParaRPr/>
            </a:p>
          </p:txBody>
        </p:sp>
        <p:sp>
          <p:nvSpPr>
            <p:cNvPr id="22" name="ïṩľiḑê">
              <a:extLst>
                <a:ext uri="{FF2B5EF4-FFF2-40B4-BE49-F238E27FC236}">
                  <a16:creationId xmlns:a16="http://schemas.microsoft.com/office/drawing/2014/main" id="{1C63368F-5F0D-4D48-8869-45451B2C5C1F}"/>
                </a:ext>
              </a:extLst>
            </p:cNvPr>
            <p:cNvSpPr/>
            <p:nvPr/>
          </p:nvSpPr>
          <p:spPr bwMode="auto">
            <a:xfrm>
              <a:off x="7086639" y="4208912"/>
              <a:ext cx="321386" cy="345643"/>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solidFill>
              <a:schemeClr val="accent1"/>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3" name="îsļide">
              <a:extLst>
                <a:ext uri="{FF2B5EF4-FFF2-40B4-BE49-F238E27FC236}">
                  <a16:creationId xmlns:a16="http://schemas.microsoft.com/office/drawing/2014/main" id="{34B4142B-28CE-4F5D-BADE-8EFBA632FFCC}"/>
                </a:ext>
              </a:extLst>
            </p:cNvPr>
            <p:cNvSpPr/>
            <p:nvPr/>
          </p:nvSpPr>
          <p:spPr bwMode="auto">
            <a:xfrm>
              <a:off x="687663" y="2803472"/>
              <a:ext cx="3082200" cy="71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tabLst>
                  <a:tab pos="228594" algn="l"/>
                </a:tabLst>
                <a:defRPr/>
              </a:pPr>
              <a:r>
                <a:rPr lang="en-US" altLang="zh-CN" sz="1000" dirty="0"/>
                <a:t>Supporting text here</a:t>
              </a:r>
            </a:p>
            <a:p>
              <a:pPr marL="171450" indent="-171450">
                <a:lnSpc>
                  <a:spcPct val="150000"/>
                </a:lnSpc>
                <a:buFont typeface="Arial" panose="020B0604020202020204" pitchFamily="34" charset="0"/>
                <a:buChar char="•"/>
                <a:tabLst>
                  <a:tab pos="228594" algn="l"/>
                </a:tabLst>
                <a:defRPr/>
              </a:pPr>
              <a:r>
                <a:rPr lang="en-US" altLang="zh-CN" sz="1000" dirty="0"/>
                <a:t>Supporting text here</a:t>
              </a:r>
            </a:p>
          </p:txBody>
        </p:sp>
        <p:sp>
          <p:nvSpPr>
            <p:cNvPr id="24" name="îṡ1íḋê">
              <a:extLst>
                <a:ext uri="{FF2B5EF4-FFF2-40B4-BE49-F238E27FC236}">
                  <a16:creationId xmlns:a16="http://schemas.microsoft.com/office/drawing/2014/main" id="{AB57507C-73C7-422F-826B-F8C6E4D40498}"/>
                </a:ext>
              </a:extLst>
            </p:cNvPr>
            <p:cNvSpPr/>
            <p:nvPr/>
          </p:nvSpPr>
          <p:spPr bwMode="auto">
            <a:xfrm>
              <a:off x="4361343" y="4208912"/>
              <a:ext cx="321386" cy="345643"/>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solidFill>
              <a:schemeClr val="accent2"/>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5" name="îś1iďe">
              <a:extLst>
                <a:ext uri="{FF2B5EF4-FFF2-40B4-BE49-F238E27FC236}">
                  <a16:creationId xmlns:a16="http://schemas.microsoft.com/office/drawing/2014/main" id="{02ABA4AD-269F-4579-BED5-4B90FA304531}"/>
                </a:ext>
              </a:extLst>
            </p:cNvPr>
            <p:cNvSpPr/>
            <p:nvPr/>
          </p:nvSpPr>
          <p:spPr bwMode="auto">
            <a:xfrm>
              <a:off x="4189646" y="2421842"/>
              <a:ext cx="321386" cy="345643"/>
            </a:xfrm>
            <a:custGeom>
              <a:avLst/>
              <a:gdLst>
                <a:gd name="connsiteX0" fmla="*/ 321179 w 564656"/>
                <a:gd name="connsiteY0" fmla="*/ 256496 h 607273"/>
                <a:gd name="connsiteX1" fmla="*/ 361871 w 564656"/>
                <a:gd name="connsiteY1" fmla="*/ 266542 h 607273"/>
                <a:gd name="connsiteX2" fmla="*/ 363621 w 564656"/>
                <a:gd name="connsiteY2" fmla="*/ 269381 h 607273"/>
                <a:gd name="connsiteX3" fmla="*/ 363074 w 564656"/>
                <a:gd name="connsiteY3" fmla="*/ 272111 h 607273"/>
                <a:gd name="connsiteX4" fmla="*/ 359793 w 564656"/>
                <a:gd name="connsiteY4" fmla="*/ 274295 h 607273"/>
                <a:gd name="connsiteX5" fmla="*/ 359355 w 564656"/>
                <a:gd name="connsiteY5" fmla="*/ 274295 h 607273"/>
                <a:gd name="connsiteX6" fmla="*/ 358480 w 564656"/>
                <a:gd name="connsiteY6" fmla="*/ 431648 h 607273"/>
                <a:gd name="connsiteX7" fmla="*/ 354980 w 564656"/>
                <a:gd name="connsiteY7" fmla="*/ 444206 h 607273"/>
                <a:gd name="connsiteX8" fmla="*/ 354542 w 564656"/>
                <a:gd name="connsiteY8" fmla="*/ 444097 h 607273"/>
                <a:gd name="connsiteX9" fmla="*/ 306958 w 564656"/>
                <a:gd name="connsiteY9" fmla="*/ 446936 h 607273"/>
                <a:gd name="connsiteX10" fmla="*/ 306302 w 564656"/>
                <a:gd name="connsiteY10" fmla="*/ 446608 h 607273"/>
                <a:gd name="connsiteX11" fmla="*/ 308818 w 564656"/>
                <a:gd name="connsiteY11" fmla="*/ 519224 h 607273"/>
                <a:gd name="connsiteX12" fmla="*/ 302692 w 564656"/>
                <a:gd name="connsiteY12" fmla="*/ 525667 h 607273"/>
                <a:gd name="connsiteX13" fmla="*/ 296238 w 564656"/>
                <a:gd name="connsiteY13" fmla="*/ 531673 h 607273"/>
                <a:gd name="connsiteX14" fmla="*/ 2206 w 564656"/>
                <a:gd name="connsiteY14" fmla="*/ 497712 h 607273"/>
                <a:gd name="connsiteX15" fmla="*/ 1987 w 564656"/>
                <a:gd name="connsiteY15" fmla="*/ 489741 h 607273"/>
                <a:gd name="connsiteX16" fmla="*/ 34585 w 564656"/>
                <a:gd name="connsiteY16" fmla="*/ 326710 h 607273"/>
                <a:gd name="connsiteX17" fmla="*/ 142112 w 564656"/>
                <a:gd name="connsiteY17" fmla="*/ 260755 h 607273"/>
                <a:gd name="connsiteX18" fmla="*/ 150316 w 564656"/>
                <a:gd name="connsiteY18" fmla="*/ 263048 h 607273"/>
                <a:gd name="connsiteX19" fmla="*/ 207197 w 564656"/>
                <a:gd name="connsiteY19" fmla="*/ 359360 h 607273"/>
                <a:gd name="connsiteX20" fmla="*/ 210698 w 564656"/>
                <a:gd name="connsiteY20" fmla="*/ 344837 h 607273"/>
                <a:gd name="connsiteX21" fmla="*/ 217917 w 564656"/>
                <a:gd name="connsiteY21" fmla="*/ 315790 h 607273"/>
                <a:gd name="connsiteX22" fmla="*/ 209276 w 564656"/>
                <a:gd name="connsiteY22" fmla="*/ 305635 h 607273"/>
                <a:gd name="connsiteX23" fmla="*/ 202384 w 564656"/>
                <a:gd name="connsiteY23" fmla="*/ 293842 h 607273"/>
                <a:gd name="connsiteX24" fmla="*/ 205010 w 564656"/>
                <a:gd name="connsiteY24" fmla="*/ 283905 h 607273"/>
                <a:gd name="connsiteX25" fmla="*/ 228309 w 564656"/>
                <a:gd name="connsiteY25" fmla="*/ 283359 h 607273"/>
                <a:gd name="connsiteX26" fmla="*/ 252812 w 564656"/>
                <a:gd name="connsiteY26" fmla="*/ 281284 h 607273"/>
                <a:gd name="connsiteX27" fmla="*/ 256203 w 564656"/>
                <a:gd name="connsiteY27" fmla="*/ 287290 h 607273"/>
                <a:gd name="connsiteX28" fmla="*/ 256640 w 564656"/>
                <a:gd name="connsiteY28" fmla="*/ 290566 h 607273"/>
                <a:gd name="connsiteX29" fmla="*/ 250624 w 564656"/>
                <a:gd name="connsiteY29" fmla="*/ 308037 h 607273"/>
                <a:gd name="connsiteX30" fmla="*/ 244170 w 564656"/>
                <a:gd name="connsiteY30" fmla="*/ 320704 h 607273"/>
                <a:gd name="connsiteX31" fmla="*/ 249530 w 564656"/>
                <a:gd name="connsiteY31" fmla="*/ 346911 h 607273"/>
                <a:gd name="connsiteX32" fmla="*/ 252265 w 564656"/>
                <a:gd name="connsiteY32" fmla="*/ 358377 h 607273"/>
                <a:gd name="connsiteX33" fmla="*/ 312866 w 564656"/>
                <a:gd name="connsiteY33" fmla="*/ 258899 h 607273"/>
                <a:gd name="connsiteX34" fmla="*/ 318882 w 564656"/>
                <a:gd name="connsiteY34" fmla="*/ 257042 h 607273"/>
                <a:gd name="connsiteX35" fmla="*/ 321179 w 564656"/>
                <a:gd name="connsiteY35" fmla="*/ 256496 h 607273"/>
                <a:gd name="connsiteX36" fmla="*/ 424854 w 564656"/>
                <a:gd name="connsiteY36" fmla="*/ 248274 h 607273"/>
                <a:gd name="connsiteX37" fmla="*/ 464444 w 564656"/>
                <a:gd name="connsiteY37" fmla="*/ 250240 h 607273"/>
                <a:gd name="connsiteX38" fmla="*/ 466194 w 564656"/>
                <a:gd name="connsiteY38" fmla="*/ 251332 h 607273"/>
                <a:gd name="connsiteX39" fmla="*/ 470569 w 564656"/>
                <a:gd name="connsiteY39" fmla="*/ 254609 h 607273"/>
                <a:gd name="connsiteX40" fmla="*/ 471662 w 564656"/>
                <a:gd name="connsiteY40" fmla="*/ 276016 h 607273"/>
                <a:gd name="connsiteX41" fmla="*/ 536516 w 564656"/>
                <a:gd name="connsiteY41" fmla="*/ 294364 h 607273"/>
                <a:gd name="connsiteX42" fmla="*/ 556093 w 564656"/>
                <a:gd name="connsiteY42" fmla="*/ 361096 h 607273"/>
                <a:gd name="connsiteX43" fmla="*/ 553249 w 564656"/>
                <a:gd name="connsiteY43" fmla="*/ 363935 h 607273"/>
                <a:gd name="connsiteX44" fmla="*/ 550078 w 564656"/>
                <a:gd name="connsiteY44" fmla="*/ 367212 h 607273"/>
                <a:gd name="connsiteX45" fmla="*/ 505128 w 564656"/>
                <a:gd name="connsiteY45" fmla="*/ 367103 h 607273"/>
                <a:gd name="connsiteX46" fmla="*/ 465975 w 564656"/>
                <a:gd name="connsiteY46" fmla="*/ 361314 h 607273"/>
                <a:gd name="connsiteX47" fmla="*/ 464444 w 564656"/>
                <a:gd name="connsiteY47" fmla="*/ 358038 h 607273"/>
                <a:gd name="connsiteX48" fmla="*/ 459632 w 564656"/>
                <a:gd name="connsiteY48" fmla="*/ 355307 h 607273"/>
                <a:gd name="connsiteX49" fmla="*/ 459632 w 564656"/>
                <a:gd name="connsiteY49" fmla="*/ 338925 h 607273"/>
                <a:gd name="connsiteX50" fmla="*/ 447055 w 564656"/>
                <a:gd name="connsiteY50" fmla="*/ 324289 h 607273"/>
                <a:gd name="connsiteX51" fmla="*/ 426275 w 564656"/>
                <a:gd name="connsiteY51" fmla="*/ 333573 h 607273"/>
                <a:gd name="connsiteX52" fmla="*/ 426932 w 564656"/>
                <a:gd name="connsiteY52" fmla="*/ 335102 h 607273"/>
                <a:gd name="connsiteX53" fmla="*/ 531485 w 564656"/>
                <a:gd name="connsiteY53" fmla="*/ 420400 h 607273"/>
                <a:gd name="connsiteX54" fmla="*/ 564514 w 564656"/>
                <a:gd name="connsiteY54" fmla="*/ 479814 h 607273"/>
                <a:gd name="connsiteX55" fmla="*/ 472209 w 564656"/>
                <a:gd name="connsiteY55" fmla="*/ 573960 h 607273"/>
                <a:gd name="connsiteX56" fmla="*/ 472537 w 564656"/>
                <a:gd name="connsiteY56" fmla="*/ 600718 h 607273"/>
                <a:gd name="connsiteX57" fmla="*/ 466085 w 564656"/>
                <a:gd name="connsiteY57" fmla="*/ 607271 h 607273"/>
                <a:gd name="connsiteX58" fmla="*/ 434587 w 564656"/>
                <a:gd name="connsiteY58" fmla="*/ 605523 h 607273"/>
                <a:gd name="connsiteX59" fmla="*/ 420260 w 564656"/>
                <a:gd name="connsiteY59" fmla="*/ 601045 h 607273"/>
                <a:gd name="connsiteX60" fmla="*/ 417964 w 564656"/>
                <a:gd name="connsiteY60" fmla="*/ 598206 h 607273"/>
                <a:gd name="connsiteX61" fmla="*/ 416214 w 564656"/>
                <a:gd name="connsiteY61" fmla="*/ 571884 h 607273"/>
                <a:gd name="connsiteX62" fmla="*/ 325002 w 564656"/>
                <a:gd name="connsiteY62" fmla="*/ 465507 h 607273"/>
                <a:gd name="connsiteX63" fmla="*/ 329486 w 564656"/>
                <a:gd name="connsiteY63" fmla="*/ 460374 h 607273"/>
                <a:gd name="connsiteX64" fmla="*/ 410417 w 564656"/>
                <a:gd name="connsiteY64" fmla="*/ 459391 h 607273"/>
                <a:gd name="connsiteX65" fmla="*/ 416432 w 564656"/>
                <a:gd name="connsiteY65" fmla="*/ 463214 h 607273"/>
                <a:gd name="connsiteX66" fmla="*/ 419495 w 564656"/>
                <a:gd name="connsiteY66" fmla="*/ 467255 h 607273"/>
                <a:gd name="connsiteX67" fmla="*/ 444868 w 564656"/>
                <a:gd name="connsiteY67" fmla="*/ 520116 h 607273"/>
                <a:gd name="connsiteX68" fmla="*/ 454929 w 564656"/>
                <a:gd name="connsiteY68" fmla="*/ 471623 h 607273"/>
                <a:gd name="connsiteX69" fmla="*/ 373123 w 564656"/>
                <a:gd name="connsiteY69" fmla="*/ 417779 h 607273"/>
                <a:gd name="connsiteX70" fmla="*/ 326971 w 564656"/>
                <a:gd name="connsiteY70" fmla="*/ 366556 h 607273"/>
                <a:gd name="connsiteX71" fmla="*/ 415667 w 564656"/>
                <a:gd name="connsiteY71" fmla="*/ 277326 h 607273"/>
                <a:gd name="connsiteX72" fmla="*/ 417198 w 564656"/>
                <a:gd name="connsiteY72" fmla="*/ 254172 h 607273"/>
                <a:gd name="connsiteX73" fmla="*/ 422119 w 564656"/>
                <a:gd name="connsiteY73" fmla="*/ 249476 h 607273"/>
                <a:gd name="connsiteX74" fmla="*/ 424854 w 564656"/>
                <a:gd name="connsiteY74" fmla="*/ 248274 h 607273"/>
                <a:gd name="connsiteX75" fmla="*/ 215096 w 564656"/>
                <a:gd name="connsiteY75" fmla="*/ 1184 h 607273"/>
                <a:gd name="connsiteX76" fmla="*/ 313856 w 564656"/>
                <a:gd name="connsiteY76" fmla="*/ 177884 h 607273"/>
                <a:gd name="connsiteX77" fmla="*/ 218486 w 564656"/>
                <a:gd name="connsiteY77" fmla="*/ 264268 h 607273"/>
                <a:gd name="connsiteX78" fmla="*/ 141053 w 564656"/>
                <a:gd name="connsiteY78" fmla="*/ 135292 h 607273"/>
                <a:gd name="connsiteX79" fmla="*/ 215096 w 564656"/>
                <a:gd name="connsiteY79" fmla="*/ 1184 h 607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Lst>
              <a:rect l="l" t="t" r="r" b="b"/>
              <a:pathLst>
                <a:path w="564656" h="607273">
                  <a:moveTo>
                    <a:pt x="321179" y="256496"/>
                  </a:moveTo>
                  <a:cubicBezTo>
                    <a:pt x="334305" y="258680"/>
                    <a:pt x="350167" y="259772"/>
                    <a:pt x="361871" y="266542"/>
                  </a:cubicBezTo>
                  <a:cubicBezTo>
                    <a:pt x="363074" y="267198"/>
                    <a:pt x="363512" y="268289"/>
                    <a:pt x="363621" y="269381"/>
                  </a:cubicBezTo>
                  <a:cubicBezTo>
                    <a:pt x="364168" y="270364"/>
                    <a:pt x="363949" y="271347"/>
                    <a:pt x="363074" y="272111"/>
                  </a:cubicBezTo>
                  <a:cubicBezTo>
                    <a:pt x="362309" y="273203"/>
                    <a:pt x="361324" y="274186"/>
                    <a:pt x="359793" y="274295"/>
                  </a:cubicBezTo>
                  <a:cubicBezTo>
                    <a:pt x="359574" y="274295"/>
                    <a:pt x="359464" y="274295"/>
                    <a:pt x="359355" y="274295"/>
                  </a:cubicBezTo>
                  <a:cubicBezTo>
                    <a:pt x="300176" y="303123"/>
                    <a:pt x="286722" y="410136"/>
                    <a:pt x="358480" y="431648"/>
                  </a:cubicBezTo>
                  <a:cubicBezTo>
                    <a:pt x="366465" y="434160"/>
                    <a:pt x="363184" y="446390"/>
                    <a:pt x="354980" y="444206"/>
                  </a:cubicBezTo>
                  <a:cubicBezTo>
                    <a:pt x="354870" y="444206"/>
                    <a:pt x="354761" y="444097"/>
                    <a:pt x="354542" y="444097"/>
                  </a:cubicBezTo>
                  <a:cubicBezTo>
                    <a:pt x="339884" y="450976"/>
                    <a:pt x="322492" y="451413"/>
                    <a:pt x="306958" y="446936"/>
                  </a:cubicBezTo>
                  <a:cubicBezTo>
                    <a:pt x="306630" y="446827"/>
                    <a:pt x="306521" y="446717"/>
                    <a:pt x="306302" y="446608"/>
                  </a:cubicBezTo>
                  <a:cubicBezTo>
                    <a:pt x="305427" y="450103"/>
                    <a:pt x="308709" y="513109"/>
                    <a:pt x="308818" y="519224"/>
                  </a:cubicBezTo>
                  <a:cubicBezTo>
                    <a:pt x="308928" y="523483"/>
                    <a:pt x="305864" y="525667"/>
                    <a:pt x="302692" y="525667"/>
                  </a:cubicBezTo>
                  <a:cubicBezTo>
                    <a:pt x="302364" y="528834"/>
                    <a:pt x="300286" y="531673"/>
                    <a:pt x="296238" y="531673"/>
                  </a:cubicBezTo>
                  <a:cubicBezTo>
                    <a:pt x="201728" y="530472"/>
                    <a:pt x="88294" y="544012"/>
                    <a:pt x="2206" y="497712"/>
                  </a:cubicBezTo>
                  <a:cubicBezTo>
                    <a:pt x="-1075" y="495965"/>
                    <a:pt x="-310" y="491707"/>
                    <a:pt x="1987" y="489741"/>
                  </a:cubicBezTo>
                  <a:cubicBezTo>
                    <a:pt x="-2169" y="433832"/>
                    <a:pt x="2972" y="374757"/>
                    <a:pt x="34585" y="326710"/>
                  </a:cubicBezTo>
                  <a:cubicBezTo>
                    <a:pt x="57228" y="292531"/>
                    <a:pt x="98576" y="257042"/>
                    <a:pt x="142112" y="260755"/>
                  </a:cubicBezTo>
                  <a:cubicBezTo>
                    <a:pt x="144847" y="259554"/>
                    <a:pt x="148238" y="259881"/>
                    <a:pt x="150316" y="263048"/>
                  </a:cubicBezTo>
                  <a:cubicBezTo>
                    <a:pt x="170553" y="294278"/>
                    <a:pt x="189695" y="326492"/>
                    <a:pt x="207197" y="359360"/>
                  </a:cubicBezTo>
                  <a:cubicBezTo>
                    <a:pt x="208291" y="354446"/>
                    <a:pt x="209713" y="349641"/>
                    <a:pt x="210698" y="344837"/>
                  </a:cubicBezTo>
                  <a:cubicBezTo>
                    <a:pt x="212885" y="335118"/>
                    <a:pt x="214964" y="325290"/>
                    <a:pt x="217917" y="315790"/>
                  </a:cubicBezTo>
                  <a:cubicBezTo>
                    <a:pt x="214854" y="312623"/>
                    <a:pt x="212010" y="309129"/>
                    <a:pt x="209276" y="305635"/>
                  </a:cubicBezTo>
                  <a:cubicBezTo>
                    <a:pt x="206760" y="302141"/>
                    <a:pt x="203150" y="298209"/>
                    <a:pt x="202384" y="293842"/>
                  </a:cubicBezTo>
                  <a:cubicBezTo>
                    <a:pt x="199540" y="290456"/>
                    <a:pt x="199540" y="284887"/>
                    <a:pt x="205010" y="283905"/>
                  </a:cubicBezTo>
                  <a:cubicBezTo>
                    <a:pt x="212557" y="282594"/>
                    <a:pt x="220652" y="283905"/>
                    <a:pt x="228309" y="283359"/>
                  </a:cubicBezTo>
                  <a:cubicBezTo>
                    <a:pt x="236622" y="282813"/>
                    <a:pt x="244608" y="279864"/>
                    <a:pt x="252812" y="281284"/>
                  </a:cubicBezTo>
                  <a:cubicBezTo>
                    <a:pt x="256093" y="281830"/>
                    <a:pt x="256750" y="284669"/>
                    <a:pt x="256203" y="287290"/>
                  </a:cubicBezTo>
                  <a:cubicBezTo>
                    <a:pt x="256640" y="288273"/>
                    <a:pt x="256859" y="289474"/>
                    <a:pt x="256640" y="290566"/>
                  </a:cubicBezTo>
                  <a:cubicBezTo>
                    <a:pt x="255218" y="296572"/>
                    <a:pt x="252702" y="302250"/>
                    <a:pt x="250624" y="308037"/>
                  </a:cubicBezTo>
                  <a:cubicBezTo>
                    <a:pt x="248874" y="313169"/>
                    <a:pt x="247999" y="317210"/>
                    <a:pt x="244170" y="320704"/>
                  </a:cubicBezTo>
                  <a:cubicBezTo>
                    <a:pt x="245920" y="329440"/>
                    <a:pt x="247671" y="338176"/>
                    <a:pt x="249530" y="346911"/>
                  </a:cubicBezTo>
                  <a:cubicBezTo>
                    <a:pt x="250405" y="350733"/>
                    <a:pt x="251390" y="354555"/>
                    <a:pt x="252265" y="358377"/>
                  </a:cubicBezTo>
                  <a:cubicBezTo>
                    <a:pt x="269110" y="324089"/>
                    <a:pt x="290331" y="288709"/>
                    <a:pt x="312866" y="258899"/>
                  </a:cubicBezTo>
                  <a:cubicBezTo>
                    <a:pt x="314506" y="256715"/>
                    <a:pt x="316804" y="256496"/>
                    <a:pt x="318882" y="257042"/>
                  </a:cubicBezTo>
                  <a:cubicBezTo>
                    <a:pt x="319538" y="256715"/>
                    <a:pt x="320195" y="256387"/>
                    <a:pt x="321179" y="256496"/>
                  </a:cubicBezTo>
                  <a:close/>
                  <a:moveTo>
                    <a:pt x="424854" y="248274"/>
                  </a:moveTo>
                  <a:cubicBezTo>
                    <a:pt x="437868" y="247073"/>
                    <a:pt x="451539" y="248165"/>
                    <a:pt x="464444" y="250240"/>
                  </a:cubicBezTo>
                  <a:cubicBezTo>
                    <a:pt x="465319" y="250350"/>
                    <a:pt x="465647" y="251005"/>
                    <a:pt x="466194" y="251332"/>
                  </a:cubicBezTo>
                  <a:cubicBezTo>
                    <a:pt x="468272" y="251223"/>
                    <a:pt x="470240" y="252097"/>
                    <a:pt x="470569" y="254609"/>
                  </a:cubicBezTo>
                  <a:cubicBezTo>
                    <a:pt x="471553" y="261708"/>
                    <a:pt x="472647" y="269026"/>
                    <a:pt x="471662" y="276016"/>
                  </a:cubicBezTo>
                  <a:cubicBezTo>
                    <a:pt x="495613" y="273613"/>
                    <a:pt x="519127" y="275142"/>
                    <a:pt x="536516" y="294364"/>
                  </a:cubicBezTo>
                  <a:cubicBezTo>
                    <a:pt x="551609" y="311183"/>
                    <a:pt x="561670" y="338597"/>
                    <a:pt x="556093" y="361096"/>
                  </a:cubicBezTo>
                  <a:cubicBezTo>
                    <a:pt x="555765" y="362625"/>
                    <a:pt x="554562" y="363389"/>
                    <a:pt x="553249" y="363935"/>
                  </a:cubicBezTo>
                  <a:cubicBezTo>
                    <a:pt x="552812" y="365355"/>
                    <a:pt x="551937" y="366775"/>
                    <a:pt x="550078" y="367212"/>
                  </a:cubicBezTo>
                  <a:cubicBezTo>
                    <a:pt x="535641" y="370597"/>
                    <a:pt x="519783" y="367867"/>
                    <a:pt x="505128" y="367103"/>
                  </a:cubicBezTo>
                  <a:cubicBezTo>
                    <a:pt x="492114" y="366447"/>
                    <a:pt x="477459" y="368085"/>
                    <a:pt x="465975" y="361314"/>
                  </a:cubicBezTo>
                  <a:cubicBezTo>
                    <a:pt x="464882" y="360659"/>
                    <a:pt x="464444" y="359348"/>
                    <a:pt x="464444" y="358038"/>
                  </a:cubicBezTo>
                  <a:cubicBezTo>
                    <a:pt x="462366" y="358256"/>
                    <a:pt x="460398" y="357491"/>
                    <a:pt x="459632" y="355307"/>
                  </a:cubicBezTo>
                  <a:cubicBezTo>
                    <a:pt x="457882" y="349846"/>
                    <a:pt x="460726" y="344604"/>
                    <a:pt x="459632" y="338925"/>
                  </a:cubicBezTo>
                  <a:cubicBezTo>
                    <a:pt x="458429" y="331935"/>
                    <a:pt x="453945" y="326255"/>
                    <a:pt x="447055" y="324289"/>
                  </a:cubicBezTo>
                  <a:cubicBezTo>
                    <a:pt x="437978" y="321668"/>
                    <a:pt x="429884" y="326474"/>
                    <a:pt x="426275" y="333573"/>
                  </a:cubicBezTo>
                  <a:cubicBezTo>
                    <a:pt x="426494" y="334119"/>
                    <a:pt x="426932" y="334447"/>
                    <a:pt x="426932" y="335102"/>
                  </a:cubicBezTo>
                  <a:cubicBezTo>
                    <a:pt x="429119" y="376386"/>
                    <a:pt x="504472" y="397793"/>
                    <a:pt x="531485" y="420400"/>
                  </a:cubicBezTo>
                  <a:cubicBezTo>
                    <a:pt x="550296" y="436018"/>
                    <a:pt x="563202" y="454695"/>
                    <a:pt x="564514" y="479814"/>
                  </a:cubicBezTo>
                  <a:cubicBezTo>
                    <a:pt x="567576" y="533877"/>
                    <a:pt x="520658" y="567953"/>
                    <a:pt x="472209" y="573960"/>
                  </a:cubicBezTo>
                  <a:cubicBezTo>
                    <a:pt x="472756" y="582915"/>
                    <a:pt x="472537" y="591871"/>
                    <a:pt x="472537" y="600718"/>
                  </a:cubicBezTo>
                  <a:cubicBezTo>
                    <a:pt x="472647" y="604213"/>
                    <a:pt x="469584" y="607380"/>
                    <a:pt x="466085" y="607271"/>
                  </a:cubicBezTo>
                  <a:cubicBezTo>
                    <a:pt x="455585" y="606943"/>
                    <a:pt x="445086" y="606615"/>
                    <a:pt x="434587" y="605523"/>
                  </a:cubicBezTo>
                  <a:cubicBezTo>
                    <a:pt x="429775" y="605086"/>
                    <a:pt x="423322" y="605196"/>
                    <a:pt x="420260" y="601045"/>
                  </a:cubicBezTo>
                  <a:cubicBezTo>
                    <a:pt x="419276" y="600390"/>
                    <a:pt x="418401" y="599516"/>
                    <a:pt x="417964" y="598206"/>
                  </a:cubicBezTo>
                  <a:cubicBezTo>
                    <a:pt x="414901" y="590124"/>
                    <a:pt x="415011" y="580731"/>
                    <a:pt x="416214" y="571884"/>
                  </a:cubicBezTo>
                  <a:cubicBezTo>
                    <a:pt x="363827" y="572758"/>
                    <a:pt x="307613" y="520662"/>
                    <a:pt x="325002" y="465507"/>
                  </a:cubicBezTo>
                  <a:cubicBezTo>
                    <a:pt x="325002" y="462886"/>
                    <a:pt x="326534" y="460265"/>
                    <a:pt x="329486" y="460374"/>
                  </a:cubicBezTo>
                  <a:cubicBezTo>
                    <a:pt x="356719" y="461903"/>
                    <a:pt x="383404" y="462121"/>
                    <a:pt x="410417" y="459391"/>
                  </a:cubicBezTo>
                  <a:cubicBezTo>
                    <a:pt x="413808" y="459063"/>
                    <a:pt x="415776" y="460811"/>
                    <a:pt x="416432" y="463214"/>
                  </a:cubicBezTo>
                  <a:cubicBezTo>
                    <a:pt x="418182" y="463869"/>
                    <a:pt x="419604" y="465179"/>
                    <a:pt x="419495" y="467255"/>
                  </a:cubicBezTo>
                  <a:cubicBezTo>
                    <a:pt x="419276" y="483637"/>
                    <a:pt x="418401" y="522628"/>
                    <a:pt x="444868" y="520116"/>
                  </a:cubicBezTo>
                  <a:cubicBezTo>
                    <a:pt x="467288" y="518040"/>
                    <a:pt x="459851" y="487569"/>
                    <a:pt x="454929" y="471623"/>
                  </a:cubicBezTo>
                  <a:cubicBezTo>
                    <a:pt x="431087" y="446503"/>
                    <a:pt x="403199" y="435691"/>
                    <a:pt x="373123" y="417779"/>
                  </a:cubicBezTo>
                  <a:cubicBezTo>
                    <a:pt x="353110" y="405765"/>
                    <a:pt x="333533" y="389929"/>
                    <a:pt x="326971" y="366556"/>
                  </a:cubicBezTo>
                  <a:cubicBezTo>
                    <a:pt x="311441" y="310637"/>
                    <a:pt x="368093" y="278091"/>
                    <a:pt x="415667" y="277326"/>
                  </a:cubicBezTo>
                  <a:cubicBezTo>
                    <a:pt x="413917" y="269899"/>
                    <a:pt x="415448" y="261162"/>
                    <a:pt x="417198" y="254172"/>
                  </a:cubicBezTo>
                  <a:cubicBezTo>
                    <a:pt x="417964" y="251223"/>
                    <a:pt x="419932" y="249803"/>
                    <a:pt x="422119" y="249476"/>
                  </a:cubicBezTo>
                  <a:cubicBezTo>
                    <a:pt x="422885" y="248930"/>
                    <a:pt x="423760" y="248274"/>
                    <a:pt x="424854" y="248274"/>
                  </a:cubicBezTo>
                  <a:close/>
                  <a:moveTo>
                    <a:pt x="215096" y="1184"/>
                  </a:moveTo>
                  <a:cubicBezTo>
                    <a:pt x="316918" y="-12467"/>
                    <a:pt x="342401" y="94667"/>
                    <a:pt x="313856" y="177884"/>
                  </a:cubicBezTo>
                  <a:cubicBezTo>
                    <a:pt x="300841" y="226918"/>
                    <a:pt x="266171" y="276499"/>
                    <a:pt x="218486" y="264268"/>
                  </a:cubicBezTo>
                  <a:cubicBezTo>
                    <a:pt x="165770" y="256623"/>
                    <a:pt x="146521" y="182907"/>
                    <a:pt x="141053" y="135292"/>
                  </a:cubicBezTo>
                  <a:cubicBezTo>
                    <a:pt x="134163" y="75118"/>
                    <a:pt x="144553" y="10576"/>
                    <a:pt x="215096" y="1184"/>
                  </a:cubicBezTo>
                  <a:close/>
                </a:path>
              </a:pathLst>
            </a:custGeom>
            <a:solidFill>
              <a:schemeClr val="accent1"/>
            </a:solidFill>
            <a:ln>
              <a:noFill/>
            </a:ln>
          </p:spPr>
          <p:txBody>
            <a:bodyPr wrap="square" lIns="91440" tIns="45720" rIns="91440" bIns="45720" anchor="ctr">
              <a:no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ctr"/>
              <a:endParaRPr/>
            </a:p>
          </p:txBody>
        </p:sp>
        <p:sp>
          <p:nvSpPr>
            <p:cNvPr id="26" name="iṣľíḓè">
              <a:extLst>
                <a:ext uri="{FF2B5EF4-FFF2-40B4-BE49-F238E27FC236}">
                  <a16:creationId xmlns:a16="http://schemas.microsoft.com/office/drawing/2014/main" id="{8B6AA00D-5B2D-4632-8DE9-ABCB7BA511A2}"/>
                </a:ext>
              </a:extLst>
            </p:cNvPr>
            <p:cNvSpPr txBox="1"/>
            <p:nvPr/>
          </p:nvSpPr>
          <p:spPr bwMode="auto">
            <a:xfrm>
              <a:off x="687663" y="2384237"/>
              <a:ext cx="3082200" cy="419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en-US" altLang="zh-CN" b="1" dirty="0"/>
                <a:t>Text here</a:t>
              </a:r>
            </a:p>
          </p:txBody>
        </p:sp>
        <p:sp>
          <p:nvSpPr>
            <p:cNvPr id="27" name="íşḻíḑe">
              <a:extLst>
                <a:ext uri="{FF2B5EF4-FFF2-40B4-BE49-F238E27FC236}">
                  <a16:creationId xmlns:a16="http://schemas.microsoft.com/office/drawing/2014/main" id="{E55EB4C0-A038-4C35-8000-CC6BB38040E4}"/>
                </a:ext>
              </a:extLst>
            </p:cNvPr>
            <p:cNvSpPr/>
            <p:nvPr/>
          </p:nvSpPr>
          <p:spPr bwMode="auto">
            <a:xfrm>
              <a:off x="687663" y="4510867"/>
              <a:ext cx="3082200" cy="71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nSpc>
                  <a:spcPct val="150000"/>
                </a:lnSpc>
                <a:buFont typeface="Arial" panose="020B0604020202020204" pitchFamily="34" charset="0"/>
                <a:buChar char="•"/>
                <a:tabLst>
                  <a:tab pos="228594" algn="l"/>
                </a:tabLst>
                <a:defRPr/>
              </a:pPr>
              <a:r>
                <a:rPr lang="en-US" altLang="zh-CN" sz="1000" dirty="0"/>
                <a:t>Supporting text here</a:t>
              </a:r>
            </a:p>
            <a:p>
              <a:pPr marL="171450" indent="-171450">
                <a:lnSpc>
                  <a:spcPct val="150000"/>
                </a:lnSpc>
                <a:buFont typeface="Arial" panose="020B0604020202020204" pitchFamily="34" charset="0"/>
                <a:buChar char="•"/>
                <a:tabLst>
                  <a:tab pos="228594" algn="l"/>
                </a:tabLst>
                <a:defRPr/>
              </a:pPr>
              <a:r>
                <a:rPr lang="en-US" altLang="zh-CN" sz="1000" dirty="0"/>
                <a:t>Supporting text here</a:t>
              </a:r>
            </a:p>
          </p:txBody>
        </p:sp>
        <p:sp>
          <p:nvSpPr>
            <p:cNvPr id="28" name="iṧlíḍe">
              <a:extLst>
                <a:ext uri="{FF2B5EF4-FFF2-40B4-BE49-F238E27FC236}">
                  <a16:creationId xmlns:a16="http://schemas.microsoft.com/office/drawing/2014/main" id="{2A501870-089C-43D4-9641-E3DA7A400B5F}"/>
                </a:ext>
              </a:extLst>
            </p:cNvPr>
            <p:cNvSpPr txBox="1"/>
            <p:nvPr/>
          </p:nvSpPr>
          <p:spPr bwMode="auto">
            <a:xfrm>
              <a:off x="687663" y="4091632"/>
              <a:ext cx="3082200" cy="419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eaLnBrk="1" hangingPunct="1">
                <a:lnSpc>
                  <a:spcPct val="100000"/>
                </a:lnSpc>
                <a:spcBef>
                  <a:spcPct val="0"/>
                </a:spcBef>
                <a:buFontTx/>
                <a:buNone/>
              </a:pPr>
              <a:r>
                <a:rPr lang="en-US" altLang="zh-CN" b="1" dirty="0"/>
                <a:t>Text here</a:t>
              </a:r>
            </a:p>
          </p:txBody>
        </p:sp>
        <p:sp>
          <p:nvSpPr>
            <p:cNvPr id="29" name="î$ļiḓé">
              <a:extLst>
                <a:ext uri="{FF2B5EF4-FFF2-40B4-BE49-F238E27FC236}">
                  <a16:creationId xmlns:a16="http://schemas.microsoft.com/office/drawing/2014/main" id="{2CE1822C-5C9C-4BA8-B721-C9141ABB528F}"/>
                </a:ext>
              </a:extLst>
            </p:cNvPr>
            <p:cNvSpPr/>
            <p:nvPr/>
          </p:nvSpPr>
          <p:spPr bwMode="auto">
            <a:xfrm>
              <a:off x="8438288" y="2803472"/>
              <a:ext cx="3082200" cy="71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50000"/>
                </a:lnSpc>
                <a:buFont typeface="Arial" panose="020B0604020202020204" pitchFamily="34" charset="0"/>
                <a:buChar char="•"/>
                <a:tabLst>
                  <a:tab pos="228594" algn="l"/>
                </a:tabLst>
                <a:defRPr/>
              </a:pPr>
              <a:r>
                <a:rPr lang="en-US" altLang="zh-CN" sz="1000" dirty="0"/>
                <a:t>Supporting text here</a:t>
              </a:r>
            </a:p>
            <a:p>
              <a:pPr marL="171450" indent="-171450" algn="r">
                <a:lnSpc>
                  <a:spcPct val="150000"/>
                </a:lnSpc>
                <a:buFont typeface="Arial" panose="020B0604020202020204" pitchFamily="34" charset="0"/>
                <a:buChar char="•"/>
                <a:tabLst>
                  <a:tab pos="228594" algn="l"/>
                </a:tabLst>
                <a:defRPr/>
              </a:pPr>
              <a:r>
                <a:rPr lang="en-US" altLang="zh-CN" sz="1000" dirty="0"/>
                <a:t>Supporting text here</a:t>
              </a:r>
            </a:p>
          </p:txBody>
        </p:sp>
        <p:sp>
          <p:nvSpPr>
            <p:cNvPr id="30" name="íṣḷiḑè">
              <a:extLst>
                <a:ext uri="{FF2B5EF4-FFF2-40B4-BE49-F238E27FC236}">
                  <a16:creationId xmlns:a16="http://schemas.microsoft.com/office/drawing/2014/main" id="{0EB0075A-751F-4F6C-A626-197A47FFFEDD}"/>
                </a:ext>
              </a:extLst>
            </p:cNvPr>
            <p:cNvSpPr txBox="1"/>
            <p:nvPr/>
          </p:nvSpPr>
          <p:spPr bwMode="auto">
            <a:xfrm>
              <a:off x="8438288" y="2384237"/>
              <a:ext cx="3082200" cy="419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b="1" dirty="0"/>
                <a:t>Text here</a:t>
              </a:r>
            </a:p>
          </p:txBody>
        </p:sp>
        <p:sp>
          <p:nvSpPr>
            <p:cNvPr id="31" name="íšļídê">
              <a:extLst>
                <a:ext uri="{FF2B5EF4-FFF2-40B4-BE49-F238E27FC236}">
                  <a16:creationId xmlns:a16="http://schemas.microsoft.com/office/drawing/2014/main" id="{D79B7C85-E96C-45D5-BF4A-10AA53A567BE}"/>
                </a:ext>
              </a:extLst>
            </p:cNvPr>
            <p:cNvSpPr/>
            <p:nvPr/>
          </p:nvSpPr>
          <p:spPr bwMode="auto">
            <a:xfrm>
              <a:off x="8438288" y="4510867"/>
              <a:ext cx="3082200" cy="718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nchorCtr="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marL="171450" indent="-171450" algn="r">
                <a:lnSpc>
                  <a:spcPct val="150000"/>
                </a:lnSpc>
                <a:buFont typeface="Arial" panose="020B0604020202020204" pitchFamily="34" charset="0"/>
                <a:buChar char="•"/>
                <a:tabLst>
                  <a:tab pos="228594" algn="l"/>
                </a:tabLst>
                <a:defRPr/>
              </a:pPr>
              <a:r>
                <a:rPr lang="en-US" altLang="zh-CN" sz="1000" dirty="0"/>
                <a:t>Supporting text here</a:t>
              </a:r>
            </a:p>
            <a:p>
              <a:pPr marL="171450" indent="-171450" algn="r">
                <a:lnSpc>
                  <a:spcPct val="150000"/>
                </a:lnSpc>
                <a:buFont typeface="Arial" panose="020B0604020202020204" pitchFamily="34" charset="0"/>
                <a:buChar char="•"/>
                <a:tabLst>
                  <a:tab pos="228594" algn="l"/>
                </a:tabLst>
                <a:defRPr/>
              </a:pPr>
              <a:r>
                <a:rPr lang="en-US" altLang="zh-CN" sz="1000" dirty="0"/>
                <a:t>Supporting text here</a:t>
              </a:r>
            </a:p>
          </p:txBody>
        </p:sp>
        <p:sp>
          <p:nvSpPr>
            <p:cNvPr id="32" name="î$ľiḓe">
              <a:extLst>
                <a:ext uri="{FF2B5EF4-FFF2-40B4-BE49-F238E27FC236}">
                  <a16:creationId xmlns:a16="http://schemas.microsoft.com/office/drawing/2014/main" id="{B27DF7C9-66A4-4619-9C5E-3652C1759A7F}"/>
                </a:ext>
              </a:extLst>
            </p:cNvPr>
            <p:cNvSpPr txBox="1"/>
            <p:nvPr/>
          </p:nvSpPr>
          <p:spPr bwMode="auto">
            <a:xfrm>
              <a:off x="8438288" y="4091632"/>
              <a:ext cx="3082200" cy="4192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lgn="r" eaLnBrk="1" hangingPunct="1">
                <a:lnSpc>
                  <a:spcPct val="100000"/>
                </a:lnSpc>
                <a:spcBef>
                  <a:spcPct val="0"/>
                </a:spcBef>
                <a:buFontTx/>
                <a:buNone/>
              </a:pPr>
              <a:r>
                <a:rPr lang="en-US" altLang="zh-CN" b="1" dirty="0"/>
                <a:t>Text here</a:t>
              </a:r>
            </a:p>
          </p:txBody>
        </p:sp>
      </p:grpSp>
    </p:spTree>
    <p:extLst>
      <p:ext uri="{BB962C8B-B14F-4D97-AF65-F5344CB8AC3E}">
        <p14:creationId xmlns:p14="http://schemas.microsoft.com/office/powerpoint/2010/main" val="287395163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7AA86BC-B40E-4280-A3B6-8FA442586BD9}"/>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8AF4ADFF-4119-4696-920A-0720A4E39FF7}"/>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E164BD8F-C66A-4024-BEBC-8E315803E6A4}"/>
              </a:ext>
            </a:extLst>
          </p:cNvPr>
          <p:cNvSpPr>
            <a:spLocks noGrp="1"/>
          </p:cNvSpPr>
          <p:nvPr>
            <p:ph type="sldNum" sz="quarter" idx="12"/>
          </p:nvPr>
        </p:nvSpPr>
        <p:spPr/>
        <p:txBody>
          <a:bodyPr/>
          <a:lstStyle/>
          <a:p>
            <a:fld id="{5DD3DB80-B894-403A-B48E-6FDC1A72010E}" type="slidenum">
              <a:rPr lang="zh-CN" altLang="en-US" smtClean="0"/>
              <a:pPr/>
              <a:t>6</a:t>
            </a:fld>
            <a:endParaRPr lang="zh-CN" altLang="en-US"/>
          </a:p>
        </p:txBody>
      </p:sp>
      <p:grpSp>
        <p:nvGrpSpPr>
          <p:cNvPr id="5" name="200568"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B11FAA96-A05C-4061-8BA3-5D571FEA2313}"/>
              </a:ext>
            </a:extLst>
          </p:cNvPr>
          <p:cNvGrpSpPr>
            <a:grpSpLocks noChangeAspect="1"/>
          </p:cNvGrpSpPr>
          <p:nvPr/>
        </p:nvGrpSpPr>
        <p:grpSpPr>
          <a:xfrm>
            <a:off x="673740" y="1467023"/>
            <a:ext cx="10846748" cy="4498621"/>
            <a:chOff x="673740" y="1467023"/>
            <a:chExt cx="10846748" cy="4498621"/>
          </a:xfrm>
        </p:grpSpPr>
        <p:cxnSp>
          <p:nvCxnSpPr>
            <p:cNvPr id="6" name="直接连接符 5">
              <a:extLst>
                <a:ext uri="{FF2B5EF4-FFF2-40B4-BE49-F238E27FC236}">
                  <a16:creationId xmlns:a16="http://schemas.microsoft.com/office/drawing/2014/main" id="{D8D58391-F8B0-4FCB-A342-FE0FAFDE93EF}"/>
                </a:ext>
              </a:extLst>
            </p:cNvPr>
            <p:cNvCxnSpPr>
              <a:cxnSpLocks/>
            </p:cNvCxnSpPr>
            <p:nvPr/>
          </p:nvCxnSpPr>
          <p:spPr>
            <a:xfrm flipH="1">
              <a:off x="7644384" y="3600617"/>
              <a:ext cx="327272" cy="941832"/>
            </a:xfrm>
            <a:prstGeom prst="line">
              <a:avLst/>
            </a:prstGeom>
            <a:ln w="1524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7" name="直接连接符 6">
              <a:extLst>
                <a:ext uri="{FF2B5EF4-FFF2-40B4-BE49-F238E27FC236}">
                  <a16:creationId xmlns:a16="http://schemas.microsoft.com/office/drawing/2014/main" id="{6F663227-7A52-4002-89C4-C66E2F4CF80A}"/>
                </a:ext>
              </a:extLst>
            </p:cNvPr>
            <p:cNvCxnSpPr>
              <a:cxnSpLocks/>
            </p:cNvCxnSpPr>
            <p:nvPr/>
          </p:nvCxnSpPr>
          <p:spPr>
            <a:xfrm flipH="1">
              <a:off x="4104540" y="4585600"/>
              <a:ext cx="291038" cy="876257"/>
            </a:xfrm>
            <a:prstGeom prst="line">
              <a:avLst/>
            </a:prstGeom>
            <a:ln w="1524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8" name="直接连接符 7">
              <a:extLst>
                <a:ext uri="{FF2B5EF4-FFF2-40B4-BE49-F238E27FC236}">
                  <a16:creationId xmlns:a16="http://schemas.microsoft.com/office/drawing/2014/main" id="{8D7F8B80-C84D-4AFE-83D5-7D9EDF914FEB}"/>
                </a:ext>
              </a:extLst>
            </p:cNvPr>
            <p:cNvCxnSpPr>
              <a:cxnSpLocks/>
            </p:cNvCxnSpPr>
            <p:nvPr/>
          </p:nvCxnSpPr>
          <p:spPr>
            <a:xfrm>
              <a:off x="767408" y="5549005"/>
              <a:ext cx="3359163" cy="0"/>
            </a:xfrm>
            <a:prstGeom prst="line">
              <a:avLst/>
            </a:prstGeom>
            <a:ln w="152400" cap="rnd">
              <a:solidFill>
                <a:schemeClr val="bg1">
                  <a:lumMod val="85000"/>
                </a:schemeClr>
              </a:solidFill>
              <a:round/>
              <a:tailEnd type="arrow" w="sm" len="sm"/>
            </a:ln>
          </p:spPr>
          <p:style>
            <a:lnRef idx="1">
              <a:schemeClr val="accent1"/>
            </a:lnRef>
            <a:fillRef idx="0">
              <a:schemeClr val="accent1"/>
            </a:fillRef>
            <a:effectRef idx="0">
              <a:schemeClr val="accent1"/>
            </a:effectRef>
            <a:fontRef idx="minor">
              <a:schemeClr val="tx1"/>
            </a:fontRef>
          </p:style>
        </p:cxnSp>
        <p:cxnSp>
          <p:nvCxnSpPr>
            <p:cNvPr id="9" name="直接连接符 8">
              <a:extLst>
                <a:ext uri="{FF2B5EF4-FFF2-40B4-BE49-F238E27FC236}">
                  <a16:creationId xmlns:a16="http://schemas.microsoft.com/office/drawing/2014/main" id="{EA473B2E-80A8-4EC7-A80E-E1386FBEF064}"/>
                </a:ext>
              </a:extLst>
            </p:cNvPr>
            <p:cNvCxnSpPr>
              <a:cxnSpLocks/>
            </p:cNvCxnSpPr>
            <p:nvPr/>
          </p:nvCxnSpPr>
          <p:spPr>
            <a:xfrm>
              <a:off x="4395578" y="4583623"/>
              <a:ext cx="3248806" cy="0"/>
            </a:xfrm>
            <a:prstGeom prst="line">
              <a:avLst/>
            </a:prstGeom>
            <a:ln w="1524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cxnSp>
        <p:cxnSp>
          <p:nvCxnSpPr>
            <p:cNvPr id="10" name="直接连接符 9">
              <a:extLst>
                <a:ext uri="{FF2B5EF4-FFF2-40B4-BE49-F238E27FC236}">
                  <a16:creationId xmlns:a16="http://schemas.microsoft.com/office/drawing/2014/main" id="{D646C5D6-4400-4E85-9D56-9EB83FDE16BC}"/>
                </a:ext>
              </a:extLst>
            </p:cNvPr>
            <p:cNvCxnSpPr>
              <a:cxnSpLocks/>
            </p:cNvCxnSpPr>
            <p:nvPr/>
          </p:nvCxnSpPr>
          <p:spPr>
            <a:xfrm>
              <a:off x="7981039" y="3600617"/>
              <a:ext cx="3539449" cy="0"/>
            </a:xfrm>
            <a:prstGeom prst="line">
              <a:avLst/>
            </a:prstGeom>
            <a:ln w="152400" cap="rnd">
              <a:solidFill>
                <a:schemeClr val="bg1">
                  <a:lumMod val="85000"/>
                </a:schemeClr>
              </a:solidFill>
              <a:round/>
              <a:tailEnd type="arrow" w="sm" len="sm"/>
            </a:ln>
          </p:spPr>
          <p:style>
            <a:lnRef idx="1">
              <a:schemeClr val="accent1"/>
            </a:lnRef>
            <a:fillRef idx="0">
              <a:schemeClr val="accent1"/>
            </a:fillRef>
            <a:effectRef idx="0">
              <a:schemeClr val="accent1"/>
            </a:effectRef>
            <a:fontRef idx="minor">
              <a:schemeClr val="tx1"/>
            </a:fontRef>
          </p:style>
        </p:cxnSp>
        <p:sp>
          <p:nvSpPr>
            <p:cNvPr id="11" name="iṡḷïḋè">
              <a:extLst>
                <a:ext uri="{FF2B5EF4-FFF2-40B4-BE49-F238E27FC236}">
                  <a16:creationId xmlns:a16="http://schemas.microsoft.com/office/drawing/2014/main" id="{D5B0D009-57E2-4B1F-BECE-E7BCCF7C266C}"/>
                </a:ext>
              </a:extLst>
            </p:cNvPr>
            <p:cNvSpPr/>
            <p:nvPr/>
          </p:nvSpPr>
          <p:spPr>
            <a:xfrm>
              <a:off x="1734239" y="5098734"/>
              <a:ext cx="866918" cy="866910"/>
            </a:xfrm>
            <a:prstGeom prst="ellipse">
              <a:avLst/>
            </a:prstGeom>
            <a:solidFill>
              <a:schemeClr val="bg1"/>
            </a:solidFill>
            <a:ln w="34925">
              <a:solidFill>
                <a:schemeClr val="accent1"/>
              </a:solidFill>
              <a:miter lim="800000"/>
            </a:ln>
            <a:effectLst/>
          </p:spPr>
          <p:txBody>
            <a:bodyPr wrap="none" lIns="91440" tIns="45720" rIns="91440" bIns="45720" anchor="ctr">
              <a:noAutofit/>
            </a:bodyPr>
            <a:lstStyle/>
            <a:p>
              <a:pPr algn="ctr" defTabSz="914377"/>
              <a:r>
                <a:rPr lang="en-US" altLang="zh-CN" sz="1400" b="1" kern="0" dirty="0">
                  <a:solidFill>
                    <a:schemeClr val="tx1"/>
                  </a:solidFill>
                </a:rPr>
                <a:t>20XX</a:t>
              </a:r>
              <a:endParaRPr sz="1400" b="1" kern="0" dirty="0">
                <a:solidFill>
                  <a:schemeClr val="tx1"/>
                </a:solidFill>
              </a:endParaRPr>
            </a:p>
          </p:txBody>
        </p:sp>
        <p:sp>
          <p:nvSpPr>
            <p:cNvPr id="12" name="îṡḻïḍé">
              <a:extLst>
                <a:ext uri="{FF2B5EF4-FFF2-40B4-BE49-F238E27FC236}">
                  <a16:creationId xmlns:a16="http://schemas.microsoft.com/office/drawing/2014/main" id="{81C987D0-9477-4B73-BC7D-0C712C1BF4F1}"/>
                </a:ext>
              </a:extLst>
            </p:cNvPr>
            <p:cNvSpPr/>
            <p:nvPr/>
          </p:nvSpPr>
          <p:spPr>
            <a:xfrm>
              <a:off x="5433420" y="4157404"/>
              <a:ext cx="866918" cy="866910"/>
            </a:xfrm>
            <a:prstGeom prst="ellipse">
              <a:avLst/>
            </a:prstGeom>
            <a:solidFill>
              <a:schemeClr val="bg1"/>
            </a:solidFill>
            <a:ln w="34925">
              <a:solidFill>
                <a:schemeClr val="accent2"/>
              </a:solidFill>
              <a:miter lim="800000"/>
            </a:ln>
            <a:effectLst/>
          </p:spPr>
          <p:txBody>
            <a:bodyPr wrap="none" lIns="91440" tIns="45720" rIns="91440" bIns="45720" anchor="ctr">
              <a:noAutofit/>
            </a:bodyPr>
            <a:lstStyle/>
            <a:p>
              <a:pPr algn="ctr" defTabSz="914377"/>
              <a:r>
                <a:rPr lang="en-US" altLang="zh-CN" sz="1400" b="1" kern="0" dirty="0"/>
                <a:t>20XX</a:t>
              </a:r>
            </a:p>
          </p:txBody>
        </p:sp>
        <p:sp>
          <p:nvSpPr>
            <p:cNvPr id="13" name="îşḻïďe">
              <a:extLst>
                <a:ext uri="{FF2B5EF4-FFF2-40B4-BE49-F238E27FC236}">
                  <a16:creationId xmlns:a16="http://schemas.microsoft.com/office/drawing/2014/main" id="{D9E75C2C-36B4-48C4-A971-3DF8A02F78EE}"/>
                </a:ext>
              </a:extLst>
            </p:cNvPr>
            <p:cNvSpPr/>
            <p:nvPr/>
          </p:nvSpPr>
          <p:spPr>
            <a:xfrm>
              <a:off x="9072732" y="3151564"/>
              <a:ext cx="866918" cy="866910"/>
            </a:xfrm>
            <a:prstGeom prst="ellipse">
              <a:avLst/>
            </a:prstGeom>
            <a:solidFill>
              <a:schemeClr val="bg1"/>
            </a:solidFill>
            <a:ln w="34925">
              <a:solidFill>
                <a:schemeClr val="accent1"/>
              </a:solidFill>
              <a:miter lim="800000"/>
            </a:ln>
            <a:effectLst/>
          </p:spPr>
          <p:txBody>
            <a:bodyPr wrap="none" lIns="91440" tIns="45720" rIns="91440" bIns="45720" anchor="ctr">
              <a:noAutofit/>
            </a:bodyPr>
            <a:lstStyle/>
            <a:p>
              <a:pPr algn="ctr" defTabSz="914377"/>
              <a:r>
                <a:rPr lang="en-US" altLang="zh-CN" sz="1400" b="1" kern="0" dirty="0"/>
                <a:t>20XX</a:t>
              </a:r>
            </a:p>
          </p:txBody>
        </p:sp>
        <p:sp>
          <p:nvSpPr>
            <p:cNvPr id="14" name="î$ľîdé">
              <a:extLst>
                <a:ext uri="{FF2B5EF4-FFF2-40B4-BE49-F238E27FC236}">
                  <a16:creationId xmlns:a16="http://schemas.microsoft.com/office/drawing/2014/main" id="{D9A507F0-1EEC-46F0-885F-EBEFB354B5B1}"/>
                </a:ext>
              </a:extLst>
            </p:cNvPr>
            <p:cNvSpPr/>
            <p:nvPr/>
          </p:nvSpPr>
          <p:spPr>
            <a:xfrm>
              <a:off x="673740" y="4688954"/>
              <a:ext cx="2735631" cy="691908"/>
            </a:xfrm>
            <a:prstGeom prst="snip2SameRect">
              <a:avLst>
                <a:gd name="adj1" fmla="val 0"/>
                <a:gd name="adj2" fmla="val 0"/>
              </a:avLst>
            </a:prstGeom>
            <a:ln>
              <a:noFill/>
            </a:ln>
          </p:spPr>
          <p:txBody>
            <a:bodyPr wrap="square" lIns="91440" tIns="45720" rIns="91440" bIns="45720" anchor="t">
              <a:noAutofit/>
            </a:bodyPr>
            <a:lstStyle/>
            <a:p>
              <a:pPr marL="172800" indent="-172800">
                <a:lnSpc>
                  <a:spcPct val="120000"/>
                </a:lnSpc>
                <a:buFont typeface="Arial" panose="020B0604020202020204" pitchFamily="34" charset="0"/>
                <a:buChar char="•"/>
              </a:pPr>
              <a:r>
                <a:rPr lang="en-US" altLang="zh-CN" sz="1000" dirty="0"/>
                <a:t>Supporting text here</a:t>
              </a:r>
            </a:p>
            <a:p>
              <a:pPr marL="172800" indent="-172800">
                <a:lnSpc>
                  <a:spcPct val="120000"/>
                </a:lnSpc>
                <a:buFont typeface="Arial" panose="020B0604020202020204" pitchFamily="34" charset="0"/>
                <a:buChar char="•"/>
              </a:pPr>
              <a:r>
                <a:rPr lang="en-US" altLang="zh-CN" sz="1000" dirty="0"/>
                <a:t>Supporting text here</a:t>
              </a:r>
            </a:p>
          </p:txBody>
        </p:sp>
        <p:sp>
          <p:nvSpPr>
            <p:cNvPr id="15" name="îŝḷíḓe">
              <a:extLst>
                <a:ext uri="{FF2B5EF4-FFF2-40B4-BE49-F238E27FC236}">
                  <a16:creationId xmlns:a16="http://schemas.microsoft.com/office/drawing/2014/main" id="{6F94B204-AFD6-4CC3-AE5D-A2EE1E0A8B14}"/>
                </a:ext>
              </a:extLst>
            </p:cNvPr>
            <p:cNvSpPr txBox="1"/>
            <p:nvPr/>
          </p:nvSpPr>
          <p:spPr bwMode="auto">
            <a:xfrm>
              <a:off x="673740" y="4156725"/>
              <a:ext cx="2735631"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en-US" altLang="zh-CN" sz="1600" b="1" dirty="0"/>
                <a:t>Text Here</a:t>
              </a:r>
            </a:p>
          </p:txBody>
        </p:sp>
        <p:sp>
          <p:nvSpPr>
            <p:cNvPr id="16" name="îṡļîďè">
              <a:extLst>
                <a:ext uri="{FF2B5EF4-FFF2-40B4-BE49-F238E27FC236}">
                  <a16:creationId xmlns:a16="http://schemas.microsoft.com/office/drawing/2014/main" id="{8FF61D47-CD96-4035-B212-4420A784B219}"/>
                </a:ext>
              </a:extLst>
            </p:cNvPr>
            <p:cNvSpPr/>
            <p:nvPr/>
          </p:nvSpPr>
          <p:spPr>
            <a:xfrm>
              <a:off x="4455614" y="3305518"/>
              <a:ext cx="2735631" cy="866910"/>
            </a:xfrm>
            <a:prstGeom prst="snip2SameRect">
              <a:avLst>
                <a:gd name="adj1" fmla="val 0"/>
                <a:gd name="adj2" fmla="val 0"/>
              </a:avLst>
            </a:prstGeom>
            <a:ln>
              <a:noFill/>
            </a:ln>
          </p:spPr>
          <p:txBody>
            <a:bodyPr wrap="square" lIns="91440" tIns="45720" rIns="91440" bIns="45720" anchor="t">
              <a:noAutofit/>
            </a:bodyPr>
            <a:lstStyle/>
            <a:p>
              <a:pPr marL="172800" indent="-172800">
                <a:lnSpc>
                  <a:spcPct val="120000"/>
                </a:lnSpc>
                <a:buFont typeface="Arial" panose="020B0604020202020204" pitchFamily="34" charset="0"/>
                <a:buChar char="•"/>
              </a:pPr>
              <a:r>
                <a:rPr lang="en-US" altLang="zh-CN" sz="1000" dirty="0"/>
                <a:t>Supporting text here</a:t>
              </a:r>
            </a:p>
            <a:p>
              <a:pPr marL="172800" indent="-172800">
                <a:lnSpc>
                  <a:spcPct val="120000"/>
                </a:lnSpc>
                <a:buFont typeface="Arial" panose="020B0604020202020204" pitchFamily="34" charset="0"/>
                <a:buChar char="•"/>
              </a:pPr>
              <a:r>
                <a:rPr lang="en-US" altLang="zh-CN" sz="1000" dirty="0"/>
                <a:t>Supporting text here</a:t>
              </a:r>
            </a:p>
          </p:txBody>
        </p:sp>
        <p:sp>
          <p:nvSpPr>
            <p:cNvPr id="17" name="ïṣľiḑe">
              <a:extLst>
                <a:ext uri="{FF2B5EF4-FFF2-40B4-BE49-F238E27FC236}">
                  <a16:creationId xmlns:a16="http://schemas.microsoft.com/office/drawing/2014/main" id="{82830D85-8E02-4D88-8F56-603FFC2DA586}"/>
                </a:ext>
              </a:extLst>
            </p:cNvPr>
            <p:cNvSpPr txBox="1"/>
            <p:nvPr/>
          </p:nvSpPr>
          <p:spPr bwMode="auto">
            <a:xfrm>
              <a:off x="4455614" y="2773289"/>
              <a:ext cx="2735631"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en-US" altLang="zh-CN" sz="1600" b="1" dirty="0"/>
                <a:t>Text Here</a:t>
              </a:r>
            </a:p>
          </p:txBody>
        </p:sp>
        <p:sp>
          <p:nvSpPr>
            <p:cNvPr id="18" name="îśľïḓe">
              <a:extLst>
                <a:ext uri="{FF2B5EF4-FFF2-40B4-BE49-F238E27FC236}">
                  <a16:creationId xmlns:a16="http://schemas.microsoft.com/office/drawing/2014/main" id="{77327830-DD6B-4D4E-AC75-1D06783CC571}"/>
                </a:ext>
              </a:extLst>
            </p:cNvPr>
            <p:cNvSpPr/>
            <p:nvPr/>
          </p:nvSpPr>
          <p:spPr>
            <a:xfrm>
              <a:off x="8019395" y="1999251"/>
              <a:ext cx="2735631" cy="1152313"/>
            </a:xfrm>
            <a:prstGeom prst="snip2SameRect">
              <a:avLst>
                <a:gd name="adj1" fmla="val 0"/>
                <a:gd name="adj2" fmla="val 0"/>
              </a:avLst>
            </a:prstGeom>
            <a:ln>
              <a:noFill/>
            </a:ln>
          </p:spPr>
          <p:txBody>
            <a:bodyPr wrap="square" lIns="91440" tIns="45720" rIns="91440" bIns="45720" anchor="t">
              <a:noAutofit/>
            </a:bodyPr>
            <a:lstStyle/>
            <a:p>
              <a:pPr marL="172800" indent="-172800">
                <a:lnSpc>
                  <a:spcPct val="120000"/>
                </a:lnSpc>
                <a:buFont typeface="Arial" panose="020B0604020202020204" pitchFamily="34" charset="0"/>
                <a:buChar char="•"/>
              </a:pPr>
              <a:r>
                <a:rPr lang="en-US" altLang="zh-CN" sz="1000" dirty="0"/>
                <a:t>Supporting text here</a:t>
              </a:r>
            </a:p>
            <a:p>
              <a:pPr marL="172800" indent="-172800">
                <a:lnSpc>
                  <a:spcPct val="120000"/>
                </a:lnSpc>
                <a:buFont typeface="Arial" panose="020B0604020202020204" pitchFamily="34" charset="0"/>
                <a:buChar char="•"/>
              </a:pPr>
              <a:r>
                <a:rPr lang="en-US" altLang="zh-CN" sz="1000" dirty="0"/>
                <a:t>Supporting text here</a:t>
              </a:r>
            </a:p>
          </p:txBody>
        </p:sp>
        <p:sp>
          <p:nvSpPr>
            <p:cNvPr id="19" name="iṣlíḑè">
              <a:extLst>
                <a:ext uri="{FF2B5EF4-FFF2-40B4-BE49-F238E27FC236}">
                  <a16:creationId xmlns:a16="http://schemas.microsoft.com/office/drawing/2014/main" id="{CD37F655-CA71-404A-8AFF-DE39B4929265}"/>
                </a:ext>
              </a:extLst>
            </p:cNvPr>
            <p:cNvSpPr txBox="1"/>
            <p:nvPr/>
          </p:nvSpPr>
          <p:spPr bwMode="auto">
            <a:xfrm>
              <a:off x="8019395" y="1467023"/>
              <a:ext cx="2735631" cy="5162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ctr">
              <a:noAutofit/>
            </a:bodyPr>
            <a:lstStyle>
              <a:defPPr>
                <a:defRPr lang="zh-CN"/>
              </a:defPPr>
              <a:lvl1pPr marL="0" algn="l" defTabSz="914377" rtl="0" eaLnBrk="1" latinLnBrk="0" hangingPunct="1">
                <a:defRPr sz="1800" kern="1200">
                  <a:solidFill>
                    <a:schemeClr val="tx1"/>
                  </a:solidFill>
                </a:defRPr>
              </a:lvl1pPr>
              <a:lvl2pPr marL="457189" algn="l" defTabSz="914377" rtl="0" eaLnBrk="1" latinLnBrk="0" hangingPunct="1">
                <a:defRPr sz="1800" kern="1200">
                  <a:solidFill>
                    <a:schemeClr val="tx1"/>
                  </a:solidFill>
                </a:defRPr>
              </a:lvl2pPr>
              <a:lvl3pPr marL="914377" algn="l" defTabSz="914377" rtl="0" eaLnBrk="1" latinLnBrk="0" hangingPunct="1">
                <a:defRPr sz="1800" kern="1200">
                  <a:solidFill>
                    <a:schemeClr val="tx1"/>
                  </a:solidFill>
                </a:defRPr>
              </a:lvl3pPr>
              <a:lvl4pPr marL="1371566" algn="l" defTabSz="914377" rtl="0" eaLnBrk="1" latinLnBrk="0" hangingPunct="1">
                <a:defRPr sz="1800" kern="1200">
                  <a:solidFill>
                    <a:schemeClr val="tx1"/>
                  </a:solidFill>
                </a:defRPr>
              </a:lvl4pPr>
              <a:lvl5pPr marL="1828754" algn="l" defTabSz="914377" rtl="0" eaLnBrk="1" latinLnBrk="0" hangingPunct="1">
                <a:defRPr sz="1800" kern="1200">
                  <a:solidFill>
                    <a:schemeClr val="tx1"/>
                  </a:solidFill>
                </a:defRPr>
              </a:lvl5pPr>
              <a:lvl6pPr marL="2285943" algn="l" defTabSz="914377" rtl="0" eaLnBrk="1" latinLnBrk="0" hangingPunct="1">
                <a:defRPr sz="1800" kern="1200">
                  <a:solidFill>
                    <a:schemeClr val="tx1"/>
                  </a:solidFill>
                </a:defRPr>
              </a:lvl6pPr>
              <a:lvl7pPr marL="2743131" algn="l" defTabSz="914377" rtl="0" eaLnBrk="1" latinLnBrk="0" hangingPunct="1">
                <a:defRPr sz="1800" kern="1200">
                  <a:solidFill>
                    <a:schemeClr val="tx1"/>
                  </a:solidFill>
                </a:defRPr>
              </a:lvl7pPr>
              <a:lvl8pPr marL="3200320" algn="l" defTabSz="914377" rtl="0" eaLnBrk="1" latinLnBrk="0" hangingPunct="1">
                <a:defRPr sz="1800" kern="1200">
                  <a:solidFill>
                    <a:schemeClr val="tx1"/>
                  </a:solidFill>
                </a:defRPr>
              </a:lvl8pPr>
              <a:lvl9pPr marL="3657509" algn="l" defTabSz="914377" rtl="0" eaLnBrk="1" latinLnBrk="0" hangingPunct="1">
                <a:defRPr sz="1800" kern="1200">
                  <a:solidFill>
                    <a:schemeClr val="tx1"/>
                  </a:solidFill>
                </a:defRPr>
              </a:lvl9pPr>
            </a:lstStyle>
            <a:p>
              <a:pPr>
                <a:spcBef>
                  <a:spcPct val="0"/>
                </a:spcBef>
              </a:pPr>
              <a:r>
                <a:rPr lang="en-US" altLang="zh-CN" sz="1600" b="1" dirty="0"/>
                <a:t>Text Here</a:t>
              </a:r>
            </a:p>
          </p:txBody>
        </p:sp>
      </p:grpSp>
    </p:spTree>
    <p:extLst>
      <p:ext uri="{BB962C8B-B14F-4D97-AF65-F5344CB8AC3E}">
        <p14:creationId xmlns:p14="http://schemas.microsoft.com/office/powerpoint/2010/main" val="243583124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2D3157ED-DFAA-42DF-9DB7-EA177BCFAD29}"/>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E0252499-3B2C-4201-A355-F8E4126A42A9}"/>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6690A7EE-D2EA-40F4-A97A-40627D367C89}"/>
              </a:ext>
            </a:extLst>
          </p:cNvPr>
          <p:cNvSpPr>
            <a:spLocks noGrp="1"/>
          </p:cNvSpPr>
          <p:nvPr>
            <p:ph type="sldNum" sz="quarter" idx="12"/>
          </p:nvPr>
        </p:nvSpPr>
        <p:spPr/>
        <p:txBody>
          <a:bodyPr/>
          <a:lstStyle/>
          <a:p>
            <a:fld id="{5DD3DB80-B894-403A-B48E-6FDC1A72010E}" type="slidenum">
              <a:rPr lang="zh-CN" altLang="en-US" smtClean="0"/>
              <a:pPr/>
              <a:t>7</a:t>
            </a:fld>
            <a:endParaRPr lang="zh-CN" altLang="en-US"/>
          </a:p>
        </p:txBody>
      </p:sp>
      <p:grpSp>
        <p:nvGrpSpPr>
          <p:cNvPr id="5" name="277907"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55D93ED2-9AF3-4716-9721-DF1BD5BA97C2}"/>
              </a:ext>
            </a:extLst>
          </p:cNvPr>
          <p:cNvGrpSpPr>
            <a:grpSpLocks noChangeAspect="1"/>
          </p:cNvGrpSpPr>
          <p:nvPr/>
        </p:nvGrpSpPr>
        <p:grpSpPr>
          <a:xfrm>
            <a:off x="669925" y="1822634"/>
            <a:ext cx="9827746" cy="3631832"/>
            <a:chOff x="669925" y="1822634"/>
            <a:chExt cx="9827746" cy="3631832"/>
          </a:xfrm>
        </p:grpSpPr>
        <p:sp>
          <p:nvSpPr>
            <p:cNvPr id="6" name="îṣľidé">
              <a:extLst>
                <a:ext uri="{FF2B5EF4-FFF2-40B4-BE49-F238E27FC236}">
                  <a16:creationId xmlns:a16="http://schemas.microsoft.com/office/drawing/2014/main" id="{0F745250-0722-4286-B11D-C83C2F164A9B}"/>
                </a:ext>
              </a:extLst>
            </p:cNvPr>
            <p:cNvSpPr/>
            <p:nvPr/>
          </p:nvSpPr>
          <p:spPr bwMode="auto">
            <a:xfrm>
              <a:off x="3911396" y="2529682"/>
              <a:ext cx="2538413" cy="2217737"/>
            </a:xfrm>
            <a:custGeom>
              <a:avLst/>
              <a:gdLst>
                <a:gd name="T0" fmla="*/ 4140 w 26630"/>
                <a:gd name="T1" fmla="*/ 4140 h 23273"/>
                <a:gd name="T2" fmla="*/ 19133 w 26630"/>
                <a:gd name="T3" fmla="*/ 4140 h 23273"/>
                <a:gd name="T4" fmla="*/ 26630 w 26630"/>
                <a:gd name="T5" fmla="*/ 11637 h 23273"/>
                <a:gd name="T6" fmla="*/ 19133 w 26630"/>
                <a:gd name="T7" fmla="*/ 19133 h 23273"/>
                <a:gd name="T8" fmla="*/ 4140 w 26630"/>
                <a:gd name="T9" fmla="*/ 19133 h 23273"/>
                <a:gd name="T10" fmla="*/ 4140 w 26630"/>
                <a:gd name="T11" fmla="*/ 4140 h 23273"/>
              </a:gdLst>
              <a:ahLst/>
              <a:cxnLst>
                <a:cxn ang="0">
                  <a:pos x="T0" y="T1"/>
                </a:cxn>
                <a:cxn ang="0">
                  <a:pos x="T2" y="T3"/>
                </a:cxn>
                <a:cxn ang="0">
                  <a:pos x="T4" y="T5"/>
                </a:cxn>
                <a:cxn ang="0">
                  <a:pos x="T6" y="T7"/>
                </a:cxn>
                <a:cxn ang="0">
                  <a:pos x="T8" y="T9"/>
                </a:cxn>
                <a:cxn ang="0">
                  <a:pos x="T10" y="T11"/>
                </a:cxn>
              </a:cxnLst>
              <a:rect l="0" t="0" r="r" b="b"/>
              <a:pathLst>
                <a:path w="26630" h="23273">
                  <a:moveTo>
                    <a:pt x="4140" y="4140"/>
                  </a:moveTo>
                  <a:cubicBezTo>
                    <a:pt x="8281" y="0"/>
                    <a:pt x="14993" y="0"/>
                    <a:pt x="19133" y="4140"/>
                  </a:cubicBezTo>
                  <a:cubicBezTo>
                    <a:pt x="21632" y="6639"/>
                    <a:pt x="24131" y="9138"/>
                    <a:pt x="26630" y="11637"/>
                  </a:cubicBezTo>
                  <a:cubicBezTo>
                    <a:pt x="24131" y="14135"/>
                    <a:pt x="21632" y="16634"/>
                    <a:pt x="19133" y="19133"/>
                  </a:cubicBezTo>
                  <a:cubicBezTo>
                    <a:pt x="14993" y="23273"/>
                    <a:pt x="8281" y="23273"/>
                    <a:pt x="4140" y="19133"/>
                  </a:cubicBezTo>
                  <a:cubicBezTo>
                    <a:pt x="0" y="14993"/>
                    <a:pt x="0" y="8280"/>
                    <a:pt x="4140" y="4140"/>
                  </a:cubicBezTo>
                </a:path>
              </a:pathLst>
            </a:custGeom>
            <a:solidFill>
              <a:schemeClr val="accent1"/>
            </a:solidFill>
            <a:ln w="76200">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r>
                <a:rPr lang="en-US" altLang="zh-CN" sz="2400" dirty="0">
                  <a:solidFill>
                    <a:schemeClr val="bg1"/>
                  </a:solidFill>
                </a:rPr>
                <a:t>…text</a:t>
              </a:r>
              <a:endParaRPr lang="zh-CN" altLang="en-US" sz="2400" dirty="0">
                <a:solidFill>
                  <a:schemeClr val="lt1"/>
                </a:solidFill>
              </a:endParaRPr>
            </a:p>
          </p:txBody>
        </p:sp>
        <p:grpSp>
          <p:nvGrpSpPr>
            <p:cNvPr id="7" name="îś1íḋé">
              <a:extLst>
                <a:ext uri="{FF2B5EF4-FFF2-40B4-BE49-F238E27FC236}">
                  <a16:creationId xmlns:a16="http://schemas.microsoft.com/office/drawing/2014/main" id="{43C65196-B327-4249-B845-11668D360455}"/>
                </a:ext>
              </a:extLst>
            </p:cNvPr>
            <p:cNvGrpSpPr/>
            <p:nvPr/>
          </p:nvGrpSpPr>
          <p:grpSpPr>
            <a:xfrm>
              <a:off x="5783698" y="1838433"/>
              <a:ext cx="1416858" cy="1416858"/>
              <a:chOff x="5783698" y="1838433"/>
              <a:chExt cx="1416858" cy="1416858"/>
            </a:xfrm>
          </p:grpSpPr>
          <p:sp>
            <p:nvSpPr>
              <p:cNvPr id="26" name="îśļîḍe">
                <a:extLst>
                  <a:ext uri="{FF2B5EF4-FFF2-40B4-BE49-F238E27FC236}">
                    <a16:creationId xmlns:a16="http://schemas.microsoft.com/office/drawing/2014/main" id="{79247EDF-35B6-4EFA-9F22-7A167F07AC0D}"/>
                  </a:ext>
                </a:extLst>
              </p:cNvPr>
              <p:cNvSpPr/>
              <p:nvPr/>
            </p:nvSpPr>
            <p:spPr>
              <a:xfrm rot="13500000" flipH="1">
                <a:off x="5783698" y="1838433"/>
                <a:ext cx="1416858" cy="1416858"/>
              </a:xfrm>
              <a:prstGeom prst="teardrop">
                <a:avLst/>
              </a:prstGeom>
              <a:solidFill>
                <a:schemeClr val="bg1"/>
              </a:solidFill>
              <a:ln w="571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7" name="iS1íďè">
                <a:extLst>
                  <a:ext uri="{FF2B5EF4-FFF2-40B4-BE49-F238E27FC236}">
                    <a16:creationId xmlns:a16="http://schemas.microsoft.com/office/drawing/2014/main" id="{491D2D7A-B374-4DDE-82C1-8660E48F4391}"/>
                  </a:ext>
                </a:extLst>
              </p:cNvPr>
              <p:cNvSpPr/>
              <p:nvPr/>
            </p:nvSpPr>
            <p:spPr>
              <a:xfrm>
                <a:off x="6268009" y="2343503"/>
                <a:ext cx="448236" cy="406717"/>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accent2"/>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8" name="íşlïḋé">
              <a:extLst>
                <a:ext uri="{FF2B5EF4-FFF2-40B4-BE49-F238E27FC236}">
                  <a16:creationId xmlns:a16="http://schemas.microsoft.com/office/drawing/2014/main" id="{1F2231D0-CB32-4072-89FB-930719FF9863}"/>
                </a:ext>
              </a:extLst>
            </p:cNvPr>
            <p:cNvGrpSpPr/>
            <p:nvPr/>
          </p:nvGrpSpPr>
          <p:grpSpPr>
            <a:xfrm>
              <a:off x="6863746" y="2930121"/>
              <a:ext cx="1416858" cy="1416858"/>
              <a:chOff x="6863746" y="2930121"/>
              <a:chExt cx="1416858" cy="1416858"/>
            </a:xfrm>
          </p:grpSpPr>
          <p:sp>
            <p:nvSpPr>
              <p:cNvPr id="24" name="îṩļídé">
                <a:extLst>
                  <a:ext uri="{FF2B5EF4-FFF2-40B4-BE49-F238E27FC236}">
                    <a16:creationId xmlns:a16="http://schemas.microsoft.com/office/drawing/2014/main" id="{A869661F-95E3-4A09-9166-114698DC0220}"/>
                  </a:ext>
                </a:extLst>
              </p:cNvPr>
              <p:cNvSpPr/>
              <p:nvPr/>
            </p:nvSpPr>
            <p:spPr>
              <a:xfrm rot="18900000" flipH="1">
                <a:off x="6863746" y="2930121"/>
                <a:ext cx="1416858" cy="1416858"/>
              </a:xfrm>
              <a:prstGeom prst="teardrop">
                <a:avLst/>
              </a:prstGeom>
              <a:solidFill>
                <a:schemeClr val="bg1"/>
              </a:solidFill>
              <a:ln w="571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5" name="íšḻîḋe">
                <a:extLst>
                  <a:ext uri="{FF2B5EF4-FFF2-40B4-BE49-F238E27FC236}">
                    <a16:creationId xmlns:a16="http://schemas.microsoft.com/office/drawing/2014/main" id="{1FA106F8-1836-42B2-9721-BDFA11233FEC}"/>
                  </a:ext>
                </a:extLst>
              </p:cNvPr>
              <p:cNvSpPr/>
              <p:nvPr/>
            </p:nvSpPr>
            <p:spPr>
              <a:xfrm>
                <a:off x="7348057" y="3435191"/>
                <a:ext cx="448236" cy="406717"/>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9" name="îs1îḋê">
              <a:extLst>
                <a:ext uri="{FF2B5EF4-FFF2-40B4-BE49-F238E27FC236}">
                  <a16:creationId xmlns:a16="http://schemas.microsoft.com/office/drawing/2014/main" id="{50279960-33FB-419D-AB7F-EAA256D7AB35}"/>
                </a:ext>
              </a:extLst>
            </p:cNvPr>
            <p:cNvGrpSpPr/>
            <p:nvPr/>
          </p:nvGrpSpPr>
          <p:grpSpPr>
            <a:xfrm>
              <a:off x="5783698" y="4021809"/>
              <a:ext cx="1416858" cy="1416858"/>
              <a:chOff x="5783698" y="4021809"/>
              <a:chExt cx="1416858" cy="1416858"/>
            </a:xfrm>
          </p:grpSpPr>
          <p:sp>
            <p:nvSpPr>
              <p:cNvPr id="22" name="ïśḻiďe">
                <a:extLst>
                  <a:ext uri="{FF2B5EF4-FFF2-40B4-BE49-F238E27FC236}">
                    <a16:creationId xmlns:a16="http://schemas.microsoft.com/office/drawing/2014/main" id="{F80776D0-AC2C-40E0-844E-9F9F6BAB9BA2}"/>
                  </a:ext>
                </a:extLst>
              </p:cNvPr>
              <p:cNvSpPr/>
              <p:nvPr/>
            </p:nvSpPr>
            <p:spPr>
              <a:xfrm rot="8100000" flipH="1" flipV="1">
                <a:off x="5783698" y="4021809"/>
                <a:ext cx="1416858" cy="1416858"/>
              </a:xfrm>
              <a:prstGeom prst="teardrop">
                <a:avLst/>
              </a:prstGeom>
              <a:solidFill>
                <a:schemeClr val="bg1"/>
              </a:solidFill>
              <a:ln w="571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anchor="ctr">
                <a:normAutofit/>
              </a:bodyPr>
              <a:lstStyle/>
              <a:p>
                <a:pPr algn="ctr"/>
                <a:endParaRPr/>
              </a:p>
            </p:txBody>
          </p:sp>
          <p:sp>
            <p:nvSpPr>
              <p:cNvPr id="23" name="ïṧļïḑè">
                <a:extLst>
                  <a:ext uri="{FF2B5EF4-FFF2-40B4-BE49-F238E27FC236}">
                    <a16:creationId xmlns:a16="http://schemas.microsoft.com/office/drawing/2014/main" id="{3B2479DE-F7B7-4469-A85C-B014AA4262A5}"/>
                  </a:ext>
                </a:extLst>
              </p:cNvPr>
              <p:cNvSpPr/>
              <p:nvPr/>
            </p:nvSpPr>
            <p:spPr>
              <a:xfrm>
                <a:off x="6268009" y="4526879"/>
                <a:ext cx="448236" cy="406717"/>
              </a:xfrm>
              <a:custGeom>
                <a:avLst/>
                <a:gdLst>
                  <a:gd name="connsiteX0" fmla="*/ 116112 w 607919"/>
                  <a:gd name="connsiteY0" fmla="*/ 473652 h 551610"/>
                  <a:gd name="connsiteX1" fmla="*/ 118901 w 607919"/>
                  <a:gd name="connsiteY1" fmla="*/ 480423 h 551610"/>
                  <a:gd name="connsiteX2" fmla="*/ 118901 w 607919"/>
                  <a:gd name="connsiteY2" fmla="*/ 551610 h 551610"/>
                  <a:gd name="connsiteX3" fmla="*/ 55604 w 607919"/>
                  <a:gd name="connsiteY3" fmla="*/ 551610 h 551610"/>
                  <a:gd name="connsiteX4" fmla="*/ 55604 w 607919"/>
                  <a:gd name="connsiteY4" fmla="*/ 540851 h 551610"/>
                  <a:gd name="connsiteX5" fmla="*/ 65255 w 607919"/>
                  <a:gd name="connsiteY5" fmla="*/ 520583 h 551610"/>
                  <a:gd name="connsiteX6" fmla="*/ 83555 w 607919"/>
                  <a:gd name="connsiteY6" fmla="*/ 502317 h 551610"/>
                  <a:gd name="connsiteX7" fmla="*/ 109375 w 607919"/>
                  <a:gd name="connsiteY7" fmla="*/ 476545 h 551610"/>
                  <a:gd name="connsiteX8" fmla="*/ 116112 w 607919"/>
                  <a:gd name="connsiteY8" fmla="*/ 473652 h 551610"/>
                  <a:gd name="connsiteX9" fmla="*/ 199155 w 607919"/>
                  <a:gd name="connsiteY9" fmla="*/ 390799 h 551610"/>
                  <a:gd name="connsiteX10" fmla="*/ 201956 w 607919"/>
                  <a:gd name="connsiteY10" fmla="*/ 397632 h 551610"/>
                  <a:gd name="connsiteX11" fmla="*/ 201956 w 607919"/>
                  <a:gd name="connsiteY11" fmla="*/ 551610 h 551610"/>
                  <a:gd name="connsiteX12" fmla="*/ 145363 w 607919"/>
                  <a:gd name="connsiteY12" fmla="*/ 551610 h 551610"/>
                  <a:gd name="connsiteX13" fmla="*/ 145363 w 607919"/>
                  <a:gd name="connsiteY13" fmla="*/ 454170 h 551610"/>
                  <a:gd name="connsiteX14" fmla="*/ 154879 w 607919"/>
                  <a:gd name="connsiteY14" fmla="*/ 431030 h 551610"/>
                  <a:gd name="connsiteX15" fmla="*/ 192315 w 607919"/>
                  <a:gd name="connsiteY15" fmla="*/ 393630 h 551610"/>
                  <a:gd name="connsiteX16" fmla="*/ 199155 w 607919"/>
                  <a:gd name="connsiteY16" fmla="*/ 390799 h 551610"/>
                  <a:gd name="connsiteX17" fmla="*/ 231082 w 607919"/>
                  <a:gd name="connsiteY17" fmla="*/ 388245 h 551610"/>
                  <a:gd name="connsiteX18" fmla="*/ 237930 w 607919"/>
                  <a:gd name="connsiteY18" fmla="*/ 391091 h 551610"/>
                  <a:gd name="connsiteX19" fmla="*/ 266763 w 607919"/>
                  <a:gd name="connsiteY19" fmla="*/ 419867 h 551610"/>
                  <a:gd name="connsiteX20" fmla="*/ 275915 w 607919"/>
                  <a:gd name="connsiteY20" fmla="*/ 428875 h 551610"/>
                  <a:gd name="connsiteX21" fmla="*/ 284941 w 607919"/>
                  <a:gd name="connsiteY21" fmla="*/ 451520 h 551610"/>
                  <a:gd name="connsiteX22" fmla="*/ 284941 w 607919"/>
                  <a:gd name="connsiteY22" fmla="*/ 551610 h 551610"/>
                  <a:gd name="connsiteX23" fmla="*/ 228277 w 607919"/>
                  <a:gd name="connsiteY23" fmla="*/ 551610 h 551610"/>
                  <a:gd name="connsiteX24" fmla="*/ 228277 w 607919"/>
                  <a:gd name="connsiteY24" fmla="*/ 394969 h 551610"/>
                  <a:gd name="connsiteX25" fmla="*/ 231082 w 607919"/>
                  <a:gd name="connsiteY25" fmla="*/ 388245 h 551610"/>
                  <a:gd name="connsiteX26" fmla="*/ 365148 w 607919"/>
                  <a:gd name="connsiteY26" fmla="*/ 381336 h 551610"/>
                  <a:gd name="connsiteX27" fmla="*/ 367997 w 607919"/>
                  <a:gd name="connsiteY27" fmla="*/ 388122 h 551610"/>
                  <a:gd name="connsiteX28" fmla="*/ 367997 w 607919"/>
                  <a:gd name="connsiteY28" fmla="*/ 551610 h 551610"/>
                  <a:gd name="connsiteX29" fmla="*/ 311262 w 607919"/>
                  <a:gd name="connsiteY29" fmla="*/ 551610 h 551610"/>
                  <a:gd name="connsiteX30" fmla="*/ 311262 w 607919"/>
                  <a:gd name="connsiteY30" fmla="*/ 444661 h 551610"/>
                  <a:gd name="connsiteX31" fmla="*/ 316898 w 607919"/>
                  <a:gd name="connsiteY31" fmla="*/ 425523 h 551610"/>
                  <a:gd name="connsiteX32" fmla="*/ 322534 w 607919"/>
                  <a:gd name="connsiteY32" fmla="*/ 419894 h 551610"/>
                  <a:gd name="connsiteX33" fmla="*/ 358353 w 607919"/>
                  <a:gd name="connsiteY33" fmla="*/ 384120 h 551610"/>
                  <a:gd name="connsiteX34" fmla="*/ 365148 w 607919"/>
                  <a:gd name="connsiteY34" fmla="*/ 381336 h 551610"/>
                  <a:gd name="connsiteX35" fmla="*/ 448177 w 607919"/>
                  <a:gd name="connsiteY35" fmla="*/ 298352 h 551610"/>
                  <a:gd name="connsiteX36" fmla="*/ 450982 w 607919"/>
                  <a:gd name="connsiteY36" fmla="*/ 305139 h 551610"/>
                  <a:gd name="connsiteX37" fmla="*/ 450982 w 607919"/>
                  <a:gd name="connsiteY37" fmla="*/ 551610 h 551610"/>
                  <a:gd name="connsiteX38" fmla="*/ 394318 w 607919"/>
                  <a:gd name="connsiteY38" fmla="*/ 551610 h 551610"/>
                  <a:gd name="connsiteX39" fmla="*/ 394318 w 607919"/>
                  <a:gd name="connsiteY39" fmla="*/ 361815 h 551610"/>
                  <a:gd name="connsiteX40" fmla="*/ 403846 w 607919"/>
                  <a:gd name="connsiteY40" fmla="*/ 338669 h 551610"/>
                  <a:gd name="connsiteX41" fmla="*/ 441329 w 607919"/>
                  <a:gd name="connsiteY41" fmla="*/ 301136 h 551610"/>
                  <a:gd name="connsiteX42" fmla="*/ 448177 w 607919"/>
                  <a:gd name="connsiteY42" fmla="*/ 298352 h 551610"/>
                  <a:gd name="connsiteX43" fmla="*/ 527085 w 607919"/>
                  <a:gd name="connsiteY43" fmla="*/ 219452 h 551610"/>
                  <a:gd name="connsiteX44" fmla="*/ 529874 w 607919"/>
                  <a:gd name="connsiteY44" fmla="*/ 226177 h 551610"/>
                  <a:gd name="connsiteX45" fmla="*/ 529874 w 607919"/>
                  <a:gd name="connsiteY45" fmla="*/ 551610 h 551610"/>
                  <a:gd name="connsiteX46" fmla="*/ 477232 w 607919"/>
                  <a:gd name="connsiteY46" fmla="*/ 551610 h 551610"/>
                  <a:gd name="connsiteX47" fmla="*/ 477232 w 607919"/>
                  <a:gd name="connsiteY47" fmla="*/ 278727 h 551610"/>
                  <a:gd name="connsiteX48" fmla="*/ 486883 w 607919"/>
                  <a:gd name="connsiteY48" fmla="*/ 255580 h 551610"/>
                  <a:gd name="connsiteX49" fmla="*/ 520348 w 607919"/>
                  <a:gd name="connsiteY49" fmla="*/ 222298 h 551610"/>
                  <a:gd name="connsiteX50" fmla="*/ 527085 w 607919"/>
                  <a:gd name="connsiteY50" fmla="*/ 219452 h 551610"/>
                  <a:gd name="connsiteX51" fmla="*/ 387769 w 607919"/>
                  <a:gd name="connsiteY51" fmla="*/ 0 h 551610"/>
                  <a:gd name="connsiteX52" fmla="*/ 580729 w 607919"/>
                  <a:gd name="connsiteY52" fmla="*/ 0 h 551610"/>
                  <a:gd name="connsiteX53" fmla="*/ 607919 w 607919"/>
                  <a:gd name="connsiteY53" fmla="*/ 26022 h 551610"/>
                  <a:gd name="connsiteX54" fmla="*/ 607919 w 607919"/>
                  <a:gd name="connsiteY54" fmla="*/ 219812 h 551610"/>
                  <a:gd name="connsiteX55" fmla="*/ 598271 w 607919"/>
                  <a:gd name="connsiteY55" fmla="*/ 223815 h 551610"/>
                  <a:gd name="connsiteX56" fmla="*/ 530610 w 607919"/>
                  <a:gd name="connsiteY56" fmla="*/ 156258 h 551610"/>
                  <a:gd name="connsiteX57" fmla="*/ 304320 w 607919"/>
                  <a:gd name="connsiteY57" fmla="*/ 382325 h 551610"/>
                  <a:gd name="connsiteX58" fmla="*/ 285024 w 607919"/>
                  <a:gd name="connsiteY58" fmla="*/ 382325 h 551610"/>
                  <a:gd name="connsiteX59" fmla="*/ 216360 w 607919"/>
                  <a:gd name="connsiteY59" fmla="*/ 313767 h 551610"/>
                  <a:gd name="connsiteX60" fmla="*/ 94068 w 607919"/>
                  <a:gd name="connsiteY60" fmla="*/ 435996 h 551610"/>
                  <a:gd name="connsiteX61" fmla="*/ 17260 w 607919"/>
                  <a:gd name="connsiteY61" fmla="*/ 435996 h 551610"/>
                  <a:gd name="connsiteX62" fmla="*/ 15882 w 607919"/>
                  <a:gd name="connsiteY62" fmla="*/ 434745 h 551610"/>
                  <a:gd name="connsiteX63" fmla="*/ 15882 w 607919"/>
                  <a:gd name="connsiteY63" fmla="*/ 358055 h 551610"/>
                  <a:gd name="connsiteX64" fmla="*/ 206837 w 607919"/>
                  <a:gd name="connsiteY64" fmla="*/ 167267 h 551610"/>
                  <a:gd name="connsiteX65" fmla="*/ 226008 w 607919"/>
                  <a:gd name="connsiteY65" fmla="*/ 167267 h 551610"/>
                  <a:gd name="connsiteX66" fmla="*/ 294672 w 607919"/>
                  <a:gd name="connsiteY66" fmla="*/ 235701 h 551610"/>
                  <a:gd name="connsiteX67" fmla="*/ 424481 w 607919"/>
                  <a:gd name="connsiteY67" fmla="*/ 105965 h 551610"/>
                  <a:gd name="connsiteX68" fmla="*/ 452423 w 607919"/>
                  <a:gd name="connsiteY68" fmla="*/ 78192 h 551610"/>
                  <a:gd name="connsiteX69" fmla="*/ 383885 w 607919"/>
                  <a:gd name="connsiteY69" fmla="*/ 9633 h 551610"/>
                  <a:gd name="connsiteX70" fmla="*/ 387769 w 607919"/>
                  <a:gd name="connsiteY70" fmla="*/ 0 h 5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607919" h="551610">
                    <a:moveTo>
                      <a:pt x="116112" y="473652"/>
                    </a:moveTo>
                    <a:cubicBezTo>
                      <a:pt x="117836" y="474356"/>
                      <a:pt x="118901" y="476670"/>
                      <a:pt x="118901" y="480423"/>
                    </a:cubicBezTo>
                    <a:lnTo>
                      <a:pt x="118901" y="551610"/>
                    </a:lnTo>
                    <a:lnTo>
                      <a:pt x="55604" y="551610"/>
                    </a:lnTo>
                    <a:lnTo>
                      <a:pt x="55604" y="540851"/>
                    </a:lnTo>
                    <a:cubicBezTo>
                      <a:pt x="55604" y="534971"/>
                      <a:pt x="59991" y="525838"/>
                      <a:pt x="65255" y="520583"/>
                    </a:cubicBezTo>
                    <a:lnTo>
                      <a:pt x="83555" y="502317"/>
                    </a:lnTo>
                    <a:lnTo>
                      <a:pt x="109375" y="476545"/>
                    </a:lnTo>
                    <a:cubicBezTo>
                      <a:pt x="112007" y="473855"/>
                      <a:pt x="114389" y="472948"/>
                      <a:pt x="116112" y="473652"/>
                    </a:cubicBezTo>
                    <a:close/>
                    <a:moveTo>
                      <a:pt x="199155" y="390799"/>
                    </a:moveTo>
                    <a:cubicBezTo>
                      <a:pt x="200892" y="391534"/>
                      <a:pt x="201956" y="393880"/>
                      <a:pt x="201956" y="397632"/>
                    </a:cubicBezTo>
                    <a:lnTo>
                      <a:pt x="201956" y="551610"/>
                    </a:lnTo>
                    <a:lnTo>
                      <a:pt x="145363" y="551610"/>
                    </a:lnTo>
                    <a:lnTo>
                      <a:pt x="145363" y="454170"/>
                    </a:lnTo>
                    <a:cubicBezTo>
                      <a:pt x="145363" y="446665"/>
                      <a:pt x="149620" y="436283"/>
                      <a:pt x="154879" y="431030"/>
                    </a:cubicBezTo>
                    <a:lnTo>
                      <a:pt x="192315" y="393630"/>
                    </a:lnTo>
                    <a:cubicBezTo>
                      <a:pt x="195007" y="390941"/>
                      <a:pt x="197417" y="390065"/>
                      <a:pt x="199155" y="390799"/>
                    </a:cubicBezTo>
                    <a:close/>
                    <a:moveTo>
                      <a:pt x="231082" y="388245"/>
                    </a:moveTo>
                    <a:cubicBezTo>
                      <a:pt x="232822" y="387525"/>
                      <a:pt x="235235" y="388401"/>
                      <a:pt x="237930" y="391091"/>
                    </a:cubicBezTo>
                    <a:lnTo>
                      <a:pt x="266763" y="419867"/>
                    </a:lnTo>
                    <a:lnTo>
                      <a:pt x="275915" y="428875"/>
                    </a:lnTo>
                    <a:cubicBezTo>
                      <a:pt x="280929" y="433879"/>
                      <a:pt x="284941" y="444013"/>
                      <a:pt x="284941" y="451520"/>
                    </a:cubicBezTo>
                    <a:lnTo>
                      <a:pt x="284941" y="551610"/>
                    </a:lnTo>
                    <a:lnTo>
                      <a:pt x="228277" y="551610"/>
                    </a:lnTo>
                    <a:lnTo>
                      <a:pt x="228277" y="394969"/>
                    </a:lnTo>
                    <a:cubicBezTo>
                      <a:pt x="228277" y="391278"/>
                      <a:pt x="229343" y="388964"/>
                      <a:pt x="231082" y="388245"/>
                    </a:cubicBezTo>
                    <a:close/>
                    <a:moveTo>
                      <a:pt x="365148" y="381336"/>
                    </a:moveTo>
                    <a:cubicBezTo>
                      <a:pt x="366901" y="382055"/>
                      <a:pt x="367997" y="384370"/>
                      <a:pt x="367997" y="388122"/>
                    </a:cubicBezTo>
                    <a:lnTo>
                      <a:pt x="367997" y="551610"/>
                    </a:lnTo>
                    <a:lnTo>
                      <a:pt x="311262" y="551610"/>
                    </a:lnTo>
                    <a:lnTo>
                      <a:pt x="311262" y="444661"/>
                    </a:lnTo>
                    <a:cubicBezTo>
                      <a:pt x="311262" y="437156"/>
                      <a:pt x="313767" y="428650"/>
                      <a:pt x="316898" y="425523"/>
                    </a:cubicBezTo>
                    <a:cubicBezTo>
                      <a:pt x="320029" y="422396"/>
                      <a:pt x="322534" y="419894"/>
                      <a:pt x="322534" y="419894"/>
                    </a:cubicBezTo>
                    <a:lnTo>
                      <a:pt x="358353" y="384120"/>
                    </a:lnTo>
                    <a:cubicBezTo>
                      <a:pt x="360983" y="381493"/>
                      <a:pt x="363394" y="380617"/>
                      <a:pt x="365148" y="381336"/>
                    </a:cubicBezTo>
                    <a:close/>
                    <a:moveTo>
                      <a:pt x="448177" y="298352"/>
                    </a:moveTo>
                    <a:cubicBezTo>
                      <a:pt x="449916" y="299071"/>
                      <a:pt x="450982" y="301386"/>
                      <a:pt x="450982" y="305139"/>
                    </a:cubicBezTo>
                    <a:lnTo>
                      <a:pt x="450982" y="551610"/>
                    </a:lnTo>
                    <a:lnTo>
                      <a:pt x="394318" y="551610"/>
                    </a:lnTo>
                    <a:lnTo>
                      <a:pt x="394318" y="361815"/>
                    </a:lnTo>
                    <a:cubicBezTo>
                      <a:pt x="394318" y="354308"/>
                      <a:pt x="398580" y="343924"/>
                      <a:pt x="403846" y="338669"/>
                    </a:cubicBezTo>
                    <a:lnTo>
                      <a:pt x="441329" y="301136"/>
                    </a:lnTo>
                    <a:cubicBezTo>
                      <a:pt x="444024" y="298508"/>
                      <a:pt x="446438" y="297633"/>
                      <a:pt x="448177" y="298352"/>
                    </a:cubicBezTo>
                    <a:close/>
                    <a:moveTo>
                      <a:pt x="527085" y="219452"/>
                    </a:moveTo>
                    <a:cubicBezTo>
                      <a:pt x="528809" y="220171"/>
                      <a:pt x="529874" y="222486"/>
                      <a:pt x="529874" y="226177"/>
                    </a:cubicBezTo>
                    <a:lnTo>
                      <a:pt x="529874" y="551610"/>
                    </a:lnTo>
                    <a:lnTo>
                      <a:pt x="477232" y="551610"/>
                    </a:lnTo>
                    <a:lnTo>
                      <a:pt x="477232" y="278727"/>
                    </a:lnTo>
                    <a:cubicBezTo>
                      <a:pt x="477232" y="271345"/>
                      <a:pt x="481494" y="260960"/>
                      <a:pt x="486883" y="255580"/>
                    </a:cubicBezTo>
                    <a:lnTo>
                      <a:pt x="520348" y="222298"/>
                    </a:lnTo>
                    <a:cubicBezTo>
                      <a:pt x="522980" y="219608"/>
                      <a:pt x="525362" y="218732"/>
                      <a:pt x="527085" y="219452"/>
                    </a:cubicBezTo>
                    <a:close/>
                    <a:moveTo>
                      <a:pt x="387769" y="0"/>
                    </a:moveTo>
                    <a:lnTo>
                      <a:pt x="580729" y="0"/>
                    </a:lnTo>
                    <a:cubicBezTo>
                      <a:pt x="594512" y="0"/>
                      <a:pt x="607919" y="12135"/>
                      <a:pt x="607919" y="26022"/>
                    </a:cubicBezTo>
                    <a:lnTo>
                      <a:pt x="607919" y="219812"/>
                    </a:lnTo>
                    <a:cubicBezTo>
                      <a:pt x="607919" y="227318"/>
                      <a:pt x="603534" y="229070"/>
                      <a:pt x="598271" y="223815"/>
                    </a:cubicBezTo>
                    <a:lnTo>
                      <a:pt x="530610" y="156258"/>
                    </a:lnTo>
                    <a:lnTo>
                      <a:pt x="304320" y="382325"/>
                    </a:lnTo>
                    <a:cubicBezTo>
                      <a:pt x="298932" y="387580"/>
                      <a:pt x="290412" y="387580"/>
                      <a:pt x="285024" y="382325"/>
                    </a:cubicBezTo>
                    <a:lnTo>
                      <a:pt x="216360" y="313767"/>
                    </a:lnTo>
                    <a:lnTo>
                      <a:pt x="94068" y="435996"/>
                    </a:lnTo>
                    <a:cubicBezTo>
                      <a:pt x="72767" y="457264"/>
                      <a:pt x="38435" y="457264"/>
                      <a:pt x="17260" y="435996"/>
                    </a:cubicBezTo>
                    <a:lnTo>
                      <a:pt x="15882" y="434745"/>
                    </a:lnTo>
                    <a:cubicBezTo>
                      <a:pt x="-5294" y="413477"/>
                      <a:pt x="-5294" y="379198"/>
                      <a:pt x="15882" y="358055"/>
                    </a:cubicBezTo>
                    <a:lnTo>
                      <a:pt x="206837" y="167267"/>
                    </a:lnTo>
                    <a:cubicBezTo>
                      <a:pt x="212100" y="161888"/>
                      <a:pt x="220745" y="161888"/>
                      <a:pt x="226008" y="167267"/>
                    </a:cubicBezTo>
                    <a:lnTo>
                      <a:pt x="294672" y="235701"/>
                    </a:lnTo>
                    <a:lnTo>
                      <a:pt x="424481" y="105965"/>
                    </a:lnTo>
                    <a:lnTo>
                      <a:pt x="452423" y="78192"/>
                    </a:lnTo>
                    <a:lnTo>
                      <a:pt x="383885" y="9633"/>
                    </a:lnTo>
                    <a:cubicBezTo>
                      <a:pt x="378497" y="4379"/>
                      <a:pt x="380376" y="0"/>
                      <a:pt x="387769" y="0"/>
                    </a:cubicBezTo>
                    <a:close/>
                  </a:path>
                </a:pathLst>
              </a:cu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algn="ctr"/>
                <a:endParaRPr lang="zh-CN" altLang="en-US"/>
              </a:p>
            </p:txBody>
          </p:sp>
        </p:grpSp>
        <p:grpSp>
          <p:nvGrpSpPr>
            <p:cNvPr id="10" name="iṩļîďê">
              <a:extLst>
                <a:ext uri="{FF2B5EF4-FFF2-40B4-BE49-F238E27FC236}">
                  <a16:creationId xmlns:a16="http://schemas.microsoft.com/office/drawing/2014/main" id="{4695627F-E0D7-40E3-8868-6BA5C1733896}"/>
                </a:ext>
              </a:extLst>
            </p:cNvPr>
            <p:cNvGrpSpPr/>
            <p:nvPr/>
          </p:nvGrpSpPr>
          <p:grpSpPr>
            <a:xfrm>
              <a:off x="7493997" y="1822634"/>
              <a:ext cx="1862718" cy="878872"/>
              <a:chOff x="5875776" y="1130300"/>
              <a:chExt cx="1763279" cy="878872"/>
            </a:xfrm>
          </p:grpSpPr>
          <p:sp>
            <p:nvSpPr>
              <p:cNvPr id="20" name="îşḻíḓê">
                <a:extLst>
                  <a:ext uri="{FF2B5EF4-FFF2-40B4-BE49-F238E27FC236}">
                    <a16:creationId xmlns:a16="http://schemas.microsoft.com/office/drawing/2014/main" id="{48DACE44-6E90-431C-9FE3-349D8C191F4E}"/>
                  </a:ext>
                </a:extLst>
              </p:cNvPr>
              <p:cNvSpPr/>
              <p:nvPr/>
            </p:nvSpPr>
            <p:spPr bwMode="auto">
              <a:xfrm>
                <a:off x="5875776" y="1130300"/>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dirty="0"/>
                  <a:t>Text here</a:t>
                </a:r>
                <a:endParaRPr lang="zh-CN" altLang="en-US" sz="1600" b="1" kern="0" dirty="0"/>
              </a:p>
            </p:txBody>
          </p:sp>
          <p:sp>
            <p:nvSpPr>
              <p:cNvPr id="21" name="ïṥḷïḑe">
                <a:extLst>
                  <a:ext uri="{FF2B5EF4-FFF2-40B4-BE49-F238E27FC236}">
                    <a16:creationId xmlns:a16="http://schemas.microsoft.com/office/drawing/2014/main" id="{EDE4F4AA-0234-437F-89DD-AB47FCBF4AB2}"/>
                  </a:ext>
                </a:extLst>
              </p:cNvPr>
              <p:cNvSpPr/>
              <p:nvPr/>
            </p:nvSpPr>
            <p:spPr>
              <a:xfrm>
                <a:off x="5875776" y="1522414"/>
                <a:ext cx="1763279" cy="48675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p>
                <a:r>
                  <a:rPr lang="en-US" altLang="zh-CN" sz="1000" dirty="0">
                    <a:solidFill>
                      <a:schemeClr val="tx1"/>
                    </a:solidFill>
                  </a:rPr>
                  <a:t>Supporting text here.</a:t>
                </a:r>
              </a:p>
              <a:p>
                <a:r>
                  <a:rPr lang="en-US" altLang="zh-CN" sz="1000" dirty="0">
                    <a:solidFill>
                      <a:schemeClr val="tx1"/>
                    </a:solidFill>
                  </a:rPr>
                  <a:t>……</a:t>
                </a:r>
              </a:p>
            </p:txBody>
          </p:sp>
        </p:grpSp>
        <p:grpSp>
          <p:nvGrpSpPr>
            <p:cNvPr id="11" name="ïṩlídé">
              <a:extLst>
                <a:ext uri="{FF2B5EF4-FFF2-40B4-BE49-F238E27FC236}">
                  <a16:creationId xmlns:a16="http://schemas.microsoft.com/office/drawing/2014/main" id="{4695627F-E0D7-40E3-8868-6BA5C1733896}"/>
                </a:ext>
              </a:extLst>
            </p:cNvPr>
            <p:cNvGrpSpPr/>
            <p:nvPr/>
          </p:nvGrpSpPr>
          <p:grpSpPr>
            <a:xfrm>
              <a:off x="8634953" y="3199114"/>
              <a:ext cx="1862718" cy="878872"/>
              <a:chOff x="5875776" y="1130300"/>
              <a:chExt cx="1763279" cy="878872"/>
            </a:xfrm>
          </p:grpSpPr>
          <p:sp>
            <p:nvSpPr>
              <p:cNvPr id="18" name="ïśļîḓe">
                <a:extLst>
                  <a:ext uri="{FF2B5EF4-FFF2-40B4-BE49-F238E27FC236}">
                    <a16:creationId xmlns:a16="http://schemas.microsoft.com/office/drawing/2014/main" id="{48DACE44-6E90-431C-9FE3-349D8C191F4E}"/>
                  </a:ext>
                </a:extLst>
              </p:cNvPr>
              <p:cNvSpPr/>
              <p:nvPr/>
            </p:nvSpPr>
            <p:spPr bwMode="auto">
              <a:xfrm>
                <a:off x="5875776" y="1130300"/>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dirty="0"/>
                  <a:t>Text here</a:t>
                </a:r>
                <a:endParaRPr lang="zh-CN" altLang="en-US" sz="1600" b="1" kern="0" dirty="0"/>
              </a:p>
            </p:txBody>
          </p:sp>
          <p:sp>
            <p:nvSpPr>
              <p:cNvPr id="19" name="îSḻîḑe">
                <a:extLst>
                  <a:ext uri="{FF2B5EF4-FFF2-40B4-BE49-F238E27FC236}">
                    <a16:creationId xmlns:a16="http://schemas.microsoft.com/office/drawing/2014/main" id="{EDE4F4AA-0234-437F-89DD-AB47FCBF4AB2}"/>
                  </a:ext>
                </a:extLst>
              </p:cNvPr>
              <p:cNvSpPr/>
              <p:nvPr/>
            </p:nvSpPr>
            <p:spPr>
              <a:xfrm>
                <a:off x="5875776" y="1522414"/>
                <a:ext cx="1763279" cy="48675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zh-CN"/>
                </a:defPPr>
                <a:lvl1pPr marL="0" algn="l" defTabSz="914400" rtl="0" eaLnBrk="1" latinLnBrk="0" hangingPunct="1">
                  <a:defRPr sz="1800" kern="1200">
                    <a:solidFill>
                      <a:schemeClr val="lt1"/>
                    </a:solidFill>
                  </a:defRPr>
                </a:lvl1pPr>
                <a:lvl2pPr marL="457200" algn="l" defTabSz="914400" rtl="0" eaLnBrk="1" latinLnBrk="0" hangingPunct="1">
                  <a:defRPr sz="1800" kern="1200">
                    <a:solidFill>
                      <a:schemeClr val="lt1"/>
                    </a:solidFill>
                  </a:defRPr>
                </a:lvl2pPr>
                <a:lvl3pPr marL="914400" algn="l" defTabSz="914400" rtl="0" eaLnBrk="1" latinLnBrk="0" hangingPunct="1">
                  <a:defRPr sz="1800" kern="1200">
                    <a:solidFill>
                      <a:schemeClr val="lt1"/>
                    </a:solidFill>
                  </a:defRPr>
                </a:lvl3pPr>
                <a:lvl4pPr marL="1371600" algn="l" defTabSz="914400" rtl="0" eaLnBrk="1" latinLnBrk="0" hangingPunct="1">
                  <a:defRPr sz="1800" kern="1200">
                    <a:solidFill>
                      <a:schemeClr val="lt1"/>
                    </a:solidFill>
                  </a:defRPr>
                </a:lvl4pPr>
                <a:lvl5pPr marL="1828800" algn="l" defTabSz="914400" rtl="0" eaLnBrk="1" latinLnBrk="0" hangingPunct="1">
                  <a:defRPr sz="1800" kern="1200">
                    <a:solidFill>
                      <a:schemeClr val="lt1"/>
                    </a:solidFill>
                  </a:defRPr>
                </a:lvl5pPr>
                <a:lvl6pPr marL="2286000" algn="l" defTabSz="914400" rtl="0" eaLnBrk="1" latinLnBrk="0" hangingPunct="1">
                  <a:defRPr sz="1800" kern="1200">
                    <a:solidFill>
                      <a:schemeClr val="lt1"/>
                    </a:solidFill>
                  </a:defRPr>
                </a:lvl6pPr>
                <a:lvl7pPr marL="2743200" algn="l" defTabSz="914400" rtl="0" eaLnBrk="1" latinLnBrk="0" hangingPunct="1">
                  <a:defRPr sz="1800" kern="1200">
                    <a:solidFill>
                      <a:schemeClr val="lt1"/>
                    </a:solidFill>
                  </a:defRPr>
                </a:lvl7pPr>
                <a:lvl8pPr marL="3200400" algn="l" defTabSz="914400" rtl="0" eaLnBrk="1" latinLnBrk="0" hangingPunct="1">
                  <a:defRPr sz="1800" kern="1200">
                    <a:solidFill>
                      <a:schemeClr val="lt1"/>
                    </a:solidFill>
                  </a:defRPr>
                </a:lvl8pPr>
                <a:lvl9pPr marL="3657600" algn="l" defTabSz="914400" rtl="0" eaLnBrk="1" latinLnBrk="0" hangingPunct="1">
                  <a:defRPr sz="1800" kern="1200">
                    <a:solidFill>
                      <a:schemeClr val="lt1"/>
                    </a:solidFill>
                  </a:defRPr>
                </a:lvl9pPr>
              </a:lstStyle>
              <a:p>
                <a:pPr lvl="0"/>
                <a:r>
                  <a:rPr lang="en-US" altLang="zh-CN" sz="1000" dirty="0">
                    <a:solidFill>
                      <a:schemeClr val="tx1"/>
                    </a:solidFill>
                  </a:rPr>
                  <a:t>Supporting text here.</a:t>
                </a:r>
              </a:p>
              <a:p>
                <a:pPr lvl="0"/>
                <a:r>
                  <a:rPr lang="en-US" altLang="zh-CN" sz="1000" dirty="0">
                    <a:solidFill>
                      <a:schemeClr val="tx1"/>
                    </a:solidFill>
                  </a:rPr>
                  <a:t>……</a:t>
                </a:r>
              </a:p>
            </p:txBody>
          </p:sp>
        </p:grpSp>
        <p:grpSp>
          <p:nvGrpSpPr>
            <p:cNvPr id="12" name="íṩļíḋè">
              <a:extLst>
                <a:ext uri="{FF2B5EF4-FFF2-40B4-BE49-F238E27FC236}">
                  <a16:creationId xmlns:a16="http://schemas.microsoft.com/office/drawing/2014/main" id="{4695627F-E0D7-40E3-8868-6BA5C1733896}"/>
                </a:ext>
              </a:extLst>
            </p:cNvPr>
            <p:cNvGrpSpPr/>
            <p:nvPr/>
          </p:nvGrpSpPr>
          <p:grpSpPr>
            <a:xfrm>
              <a:off x="7493997" y="4575594"/>
              <a:ext cx="1862718" cy="878872"/>
              <a:chOff x="5875776" y="1130300"/>
              <a:chExt cx="1763279" cy="878872"/>
            </a:xfrm>
          </p:grpSpPr>
          <p:sp>
            <p:nvSpPr>
              <p:cNvPr id="16" name="iş1ïḑe">
                <a:extLst>
                  <a:ext uri="{FF2B5EF4-FFF2-40B4-BE49-F238E27FC236}">
                    <a16:creationId xmlns:a16="http://schemas.microsoft.com/office/drawing/2014/main" id="{48DACE44-6E90-431C-9FE3-349D8C191F4E}"/>
                  </a:ext>
                </a:extLst>
              </p:cNvPr>
              <p:cNvSpPr/>
              <p:nvPr/>
            </p:nvSpPr>
            <p:spPr bwMode="auto">
              <a:xfrm>
                <a:off x="5875776" y="1130300"/>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defTabSz="914400"/>
                <a:r>
                  <a:rPr lang="en-US" altLang="zh-CN" sz="1600" b="1" kern="0" dirty="0"/>
                  <a:t>Text here</a:t>
                </a:r>
                <a:endParaRPr lang="zh-CN" altLang="en-US" sz="1600" b="1" kern="0" dirty="0"/>
              </a:p>
            </p:txBody>
          </p:sp>
          <p:sp>
            <p:nvSpPr>
              <p:cNvPr id="17" name="ïšḻíḓe">
                <a:extLst>
                  <a:ext uri="{FF2B5EF4-FFF2-40B4-BE49-F238E27FC236}">
                    <a16:creationId xmlns:a16="http://schemas.microsoft.com/office/drawing/2014/main" id="{EDE4F4AA-0234-437F-89DD-AB47FCBF4AB2}"/>
                  </a:ext>
                </a:extLst>
              </p:cNvPr>
              <p:cNvSpPr/>
              <p:nvPr/>
            </p:nvSpPr>
            <p:spPr>
              <a:xfrm>
                <a:off x="5875776" y="1522414"/>
                <a:ext cx="1763279" cy="48675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p>
                <a:r>
                  <a:rPr lang="en-US" altLang="zh-CN" sz="1000" dirty="0">
                    <a:solidFill>
                      <a:schemeClr val="tx1"/>
                    </a:solidFill>
                  </a:rPr>
                  <a:t>Supporting text here.</a:t>
                </a:r>
              </a:p>
              <a:p>
                <a:r>
                  <a:rPr lang="en-US" altLang="zh-CN" sz="1000" dirty="0">
                    <a:solidFill>
                      <a:schemeClr val="tx1"/>
                    </a:solidFill>
                  </a:rPr>
                  <a:t>……</a:t>
                </a:r>
              </a:p>
            </p:txBody>
          </p:sp>
        </p:grpSp>
        <p:grpSp>
          <p:nvGrpSpPr>
            <p:cNvPr id="13" name="iṩļídé">
              <a:extLst>
                <a:ext uri="{FF2B5EF4-FFF2-40B4-BE49-F238E27FC236}">
                  <a16:creationId xmlns:a16="http://schemas.microsoft.com/office/drawing/2014/main" id="{C1FB33CE-312D-4EE2-9CC0-962A5E0A68AA}"/>
                </a:ext>
              </a:extLst>
            </p:cNvPr>
            <p:cNvGrpSpPr/>
            <p:nvPr/>
          </p:nvGrpSpPr>
          <p:grpSpPr>
            <a:xfrm>
              <a:off x="669925" y="2946353"/>
              <a:ext cx="3062171" cy="1384395"/>
              <a:chOff x="2027621" y="2529682"/>
              <a:chExt cx="1763279" cy="1384395"/>
            </a:xfrm>
          </p:grpSpPr>
          <p:sp>
            <p:nvSpPr>
              <p:cNvPr id="14" name="îšliḓé">
                <a:extLst>
                  <a:ext uri="{FF2B5EF4-FFF2-40B4-BE49-F238E27FC236}">
                    <a16:creationId xmlns:a16="http://schemas.microsoft.com/office/drawing/2014/main" id="{48DACE44-6E90-431C-9FE3-349D8C191F4E}"/>
                  </a:ext>
                </a:extLst>
              </p:cNvPr>
              <p:cNvSpPr/>
              <p:nvPr/>
            </p:nvSpPr>
            <p:spPr bwMode="auto">
              <a:xfrm>
                <a:off x="2027621" y="2529682"/>
                <a:ext cx="1763279" cy="392113"/>
              </a:xfrm>
              <a:prstGeom prst="rect">
                <a:avLst/>
              </a:prstGeom>
              <a:noFill/>
              <a:ln w="28575" algn="ctr">
                <a:noFill/>
                <a:round/>
                <a:headEnd/>
                <a:tailEnd/>
              </a:ln>
            </p:spPr>
            <p:txBody>
              <a:bodyPr wrap="square" lIns="91440" tIns="45720" rIns="91440" bIns="45720" anchor="ctr">
                <a:normAutofit/>
              </a:bodyPr>
              <a:lstStyle>
                <a:defPPr>
                  <a:defRPr lang="zh-CN"/>
                </a:defPPr>
                <a:lvl1pPr marL="0" algn="l" defTabSz="914400" rtl="0" eaLnBrk="1" latinLnBrk="0" hangingPunct="1">
                  <a:defRPr sz="1800" kern="1200">
                    <a:solidFill>
                      <a:schemeClr val="tx1"/>
                    </a:solidFill>
                  </a:defRPr>
                </a:lvl1pPr>
                <a:lvl2pPr marL="457200" algn="l" defTabSz="914400" rtl="0" eaLnBrk="1" latinLnBrk="0" hangingPunct="1">
                  <a:defRPr sz="1800" kern="1200">
                    <a:solidFill>
                      <a:schemeClr val="tx1"/>
                    </a:solidFill>
                  </a:defRPr>
                </a:lvl2pPr>
                <a:lvl3pPr marL="914400" algn="l" defTabSz="914400" rtl="0" eaLnBrk="1" latinLnBrk="0" hangingPunct="1">
                  <a:defRPr sz="1800" kern="1200">
                    <a:solidFill>
                      <a:schemeClr val="tx1"/>
                    </a:solidFill>
                  </a:defRPr>
                </a:lvl3pPr>
                <a:lvl4pPr marL="1371600" algn="l" defTabSz="914400" rtl="0" eaLnBrk="1" latinLnBrk="0" hangingPunct="1">
                  <a:defRPr sz="1800" kern="1200">
                    <a:solidFill>
                      <a:schemeClr val="tx1"/>
                    </a:solidFill>
                  </a:defRPr>
                </a:lvl4pPr>
                <a:lvl5pPr marL="1828800" algn="l" defTabSz="914400" rtl="0" eaLnBrk="1" latinLnBrk="0" hangingPunct="1">
                  <a:defRPr sz="1800" kern="1200">
                    <a:solidFill>
                      <a:schemeClr val="tx1"/>
                    </a:solidFill>
                  </a:defRPr>
                </a:lvl5pPr>
                <a:lvl6pPr marL="2286000" algn="l" defTabSz="914400" rtl="0" eaLnBrk="1" latinLnBrk="0" hangingPunct="1">
                  <a:defRPr sz="1800" kern="1200">
                    <a:solidFill>
                      <a:schemeClr val="tx1"/>
                    </a:solidFill>
                  </a:defRPr>
                </a:lvl6pPr>
                <a:lvl7pPr marL="2743200" algn="l" defTabSz="914400" rtl="0" eaLnBrk="1" latinLnBrk="0" hangingPunct="1">
                  <a:defRPr sz="1800" kern="1200">
                    <a:solidFill>
                      <a:schemeClr val="tx1"/>
                    </a:solidFill>
                  </a:defRPr>
                </a:lvl7pPr>
                <a:lvl8pPr marL="3200400" algn="l" defTabSz="914400" rtl="0" eaLnBrk="1" latinLnBrk="0" hangingPunct="1">
                  <a:defRPr sz="1800" kern="1200">
                    <a:solidFill>
                      <a:schemeClr val="tx1"/>
                    </a:solidFill>
                  </a:defRPr>
                </a:lvl8pPr>
                <a:lvl9pPr marL="3657600" algn="l" defTabSz="914400" rtl="0" eaLnBrk="1" latinLnBrk="0" hangingPunct="1">
                  <a:defRPr sz="1800" kern="1200">
                    <a:solidFill>
                      <a:schemeClr val="tx1"/>
                    </a:solidFill>
                  </a:defRPr>
                </a:lvl9pPr>
              </a:lstStyle>
              <a:p>
                <a:pPr algn="r" defTabSz="914400"/>
                <a:r>
                  <a:rPr lang="en-US" altLang="zh-CN" sz="1600" b="1" kern="0" dirty="0"/>
                  <a:t>Text here</a:t>
                </a:r>
                <a:endParaRPr lang="zh-CN" altLang="en-US" sz="1600" b="1" kern="0" dirty="0"/>
              </a:p>
            </p:txBody>
          </p:sp>
          <p:sp>
            <p:nvSpPr>
              <p:cNvPr id="15" name="íSļîḍé">
                <a:extLst>
                  <a:ext uri="{FF2B5EF4-FFF2-40B4-BE49-F238E27FC236}">
                    <a16:creationId xmlns:a16="http://schemas.microsoft.com/office/drawing/2014/main" id="{EDE4F4AA-0234-437F-89DD-AB47FCBF4AB2}"/>
                  </a:ext>
                </a:extLst>
              </p:cNvPr>
              <p:cNvSpPr/>
              <p:nvPr/>
            </p:nvSpPr>
            <p:spPr>
              <a:xfrm>
                <a:off x="2027621" y="2921795"/>
                <a:ext cx="1763279" cy="99228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p>
                <a:pPr marL="171450" indent="-171450" algn="r">
                  <a:buFont typeface="Arial" panose="020B0604020202020204" pitchFamily="34" charset="0"/>
                  <a:buChar char="•"/>
                </a:pPr>
                <a:r>
                  <a:rPr lang="en-US" altLang="zh-CN" sz="1000" dirty="0">
                    <a:solidFill>
                      <a:schemeClr val="tx1"/>
                    </a:solidFill>
                  </a:rPr>
                  <a:t>Supporting text here.</a:t>
                </a:r>
              </a:p>
              <a:p>
                <a:pPr marL="171450" indent="-171450" algn="r">
                  <a:buFont typeface="Arial" panose="020B0604020202020204" pitchFamily="34" charset="0"/>
                  <a:buChar char="•"/>
                </a:pPr>
                <a:r>
                  <a:rPr lang="en-US" altLang="zh-CN" sz="1000" dirty="0">
                    <a:solidFill>
                      <a:schemeClr val="tx1"/>
                    </a:solidFill>
                  </a:rPr>
                  <a:t>Supporting text here.</a:t>
                </a:r>
              </a:p>
              <a:p>
                <a:pPr marL="171450" indent="-171450" algn="r">
                  <a:buFont typeface="Arial" panose="020B0604020202020204" pitchFamily="34" charset="0"/>
                  <a:buChar char="•"/>
                </a:pPr>
                <a:r>
                  <a:rPr lang="en-US" altLang="zh-CN" sz="1000" dirty="0">
                    <a:solidFill>
                      <a:schemeClr val="tx1"/>
                    </a:solidFill>
                  </a:rPr>
                  <a:t>Supporting text here.</a:t>
                </a:r>
              </a:p>
              <a:p>
                <a:pPr marL="171450" indent="-171450" algn="r">
                  <a:buFont typeface="Arial" panose="020B0604020202020204" pitchFamily="34" charset="0"/>
                  <a:buChar char="•"/>
                </a:pPr>
                <a:endParaRPr lang="en-US" altLang="zh-CN" sz="1000" dirty="0">
                  <a:solidFill>
                    <a:schemeClr val="tx1"/>
                  </a:solidFill>
                </a:endParaRPr>
              </a:p>
              <a:p>
                <a:pPr marL="171450" indent="-171450" algn="r">
                  <a:buFont typeface="Arial" panose="020B0604020202020204" pitchFamily="34" charset="0"/>
                  <a:buChar char="•"/>
                </a:pPr>
                <a:r>
                  <a:rPr lang="en-US" altLang="zh-CN" sz="1000" dirty="0">
                    <a:solidFill>
                      <a:schemeClr val="tx1"/>
                    </a:solidFill>
                  </a:rPr>
                  <a:t>……</a:t>
                </a:r>
              </a:p>
            </p:txBody>
          </p:sp>
        </p:grpSp>
      </p:grpSp>
    </p:spTree>
    <p:extLst>
      <p:ext uri="{BB962C8B-B14F-4D97-AF65-F5344CB8AC3E}">
        <p14:creationId xmlns:p14="http://schemas.microsoft.com/office/powerpoint/2010/main" val="959158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A378CDA-3409-4595-841C-E6E819FB033A}"/>
              </a:ext>
            </a:extLst>
          </p:cNvPr>
          <p:cNvSpPr>
            <a:spLocks noGrp="1"/>
          </p:cNvSpPr>
          <p:nvPr>
            <p:ph type="title"/>
          </p:nvPr>
        </p:nvSpPr>
        <p:spPr/>
        <p:txBody>
          <a:bodyPr/>
          <a:lstStyle/>
          <a:p>
            <a:endParaRPr lang="zh-CN" altLang="en-US"/>
          </a:p>
        </p:txBody>
      </p:sp>
      <p:sp>
        <p:nvSpPr>
          <p:cNvPr id="3" name="页脚占位符 2">
            <a:extLst>
              <a:ext uri="{FF2B5EF4-FFF2-40B4-BE49-F238E27FC236}">
                <a16:creationId xmlns:a16="http://schemas.microsoft.com/office/drawing/2014/main" id="{EFB4C163-F6B2-4F82-8FF3-4B1D790C3486}"/>
              </a:ext>
            </a:extLst>
          </p:cNvPr>
          <p:cNvSpPr>
            <a:spLocks noGrp="1"/>
          </p:cNvSpPr>
          <p:nvPr>
            <p:ph type="ftr" sz="quarter" idx="11"/>
          </p:nvPr>
        </p:nvSpPr>
        <p:spPr/>
        <p:txBody>
          <a:bodyPr/>
          <a:lstStyle/>
          <a:p>
            <a:r>
              <a:rPr lang="en-US" altLang="zh-CN"/>
              <a:t>https://islide-powerpoint.com </a:t>
            </a:r>
            <a:endParaRPr lang="zh-CN" altLang="en-US" dirty="0"/>
          </a:p>
        </p:txBody>
      </p:sp>
      <p:sp>
        <p:nvSpPr>
          <p:cNvPr id="4" name="灯片编号占位符 3">
            <a:extLst>
              <a:ext uri="{FF2B5EF4-FFF2-40B4-BE49-F238E27FC236}">
                <a16:creationId xmlns:a16="http://schemas.microsoft.com/office/drawing/2014/main" id="{94BF7251-AE5C-4258-B5C1-A57D33631F0E}"/>
              </a:ext>
            </a:extLst>
          </p:cNvPr>
          <p:cNvSpPr>
            <a:spLocks noGrp="1"/>
          </p:cNvSpPr>
          <p:nvPr>
            <p:ph type="sldNum" sz="quarter" idx="12"/>
          </p:nvPr>
        </p:nvSpPr>
        <p:spPr/>
        <p:txBody>
          <a:bodyPr/>
          <a:lstStyle/>
          <a:p>
            <a:fld id="{5DD3DB80-B894-403A-B48E-6FDC1A72010E}" type="slidenum">
              <a:rPr lang="zh-CN" altLang="en-US" smtClean="0"/>
              <a:pPr/>
              <a:t>8</a:t>
            </a:fld>
            <a:endParaRPr lang="zh-CN" altLang="en-US"/>
          </a:p>
        </p:txBody>
      </p:sp>
      <p:grpSp>
        <p:nvGrpSpPr>
          <p:cNvPr id="5" name="277611" descr="本素材由iSlide™ 提供&#10;iSlide™尊重知识产权并注重保护用户享有的各项权利。郑重提醒您：&#10;iSlide™插件中提供的任何信息内容的所有权、知识产权归其原始权利人或权利受让人所有，您免费/购买获得的是信息内容的使用权，并受下述条款的约束；&#10;1. 您仅可以个人非商业用途使用该等信息内容，不可将信息内容的全部或部分用于出售，或以出租、出借、转让、分销、发布等其他任何方式供他人使用；&#10;2. 禁止在接入互联网或移动互联网的任何网站、平台、应用或程序上以任何方式为他人提供iSlide™插件资源内容的下载。&#10;The resource is supplied by iSlide™.&#10;iSlide™ respects all intellectual property rights and protects all the rights its users acquired.Solemnly remind you:&#10;The ownership and intellectual property of the resources supplied in iSlide Add-in belongs to its owner or the assignee of this ownership.you only acquired the usage of the resources supplied in iSlide Add-in, as well as respected the following restrain terms:&#10;1.You are only allowed to use such resource for personal and non-commercial aim, not allowed to use such resource or part of it for the sale; or rent, lend, transfer to others; or distribution or release it in any way.&#10;2.You are not permitted to provide the resource of iSlide Add-in in any website, platform, application access to the Internet or mobile Internet." title="iSlide™ 版权声明  COPYRIGHT NOTICE">
            <a:extLst>
              <a:ext uri="{FF2B5EF4-FFF2-40B4-BE49-F238E27FC236}">
                <a16:creationId xmlns:a16="http://schemas.microsoft.com/office/drawing/2014/main" id="{E13EDA50-79DA-41D4-A236-BB66EE53B263}"/>
              </a:ext>
            </a:extLst>
          </p:cNvPr>
          <p:cNvGrpSpPr>
            <a:grpSpLocks noChangeAspect="1"/>
          </p:cNvGrpSpPr>
          <p:nvPr/>
        </p:nvGrpSpPr>
        <p:grpSpPr>
          <a:xfrm>
            <a:off x="673100" y="1494920"/>
            <a:ext cx="10845800" cy="3476175"/>
            <a:chOff x="673100" y="1494920"/>
            <a:chExt cx="10845800" cy="3476175"/>
          </a:xfrm>
        </p:grpSpPr>
        <p:cxnSp>
          <p:nvCxnSpPr>
            <p:cNvPr id="6" name="直接连接符 5">
              <a:extLst>
                <a:ext uri="{FF2B5EF4-FFF2-40B4-BE49-F238E27FC236}">
                  <a16:creationId xmlns:a16="http://schemas.microsoft.com/office/drawing/2014/main" id="{DF5C9C2B-4A91-4A6B-96ED-BC7B23D85714}"/>
                </a:ext>
              </a:extLst>
            </p:cNvPr>
            <p:cNvCxnSpPr/>
            <p:nvPr/>
          </p:nvCxnSpPr>
          <p:spPr>
            <a:xfrm>
              <a:off x="673100" y="3422784"/>
              <a:ext cx="10845800" cy="0"/>
            </a:xfrm>
            <a:prstGeom prst="line">
              <a:avLst/>
            </a:prstGeom>
            <a:ln w="15875">
              <a:solidFill>
                <a:schemeClr val="bg1">
                  <a:lumMod val="85000"/>
                </a:schemeClr>
              </a:solidFill>
              <a:prstDash val="dash"/>
              <a:headEnd type="oval"/>
              <a:tailEnd type="oval"/>
            </a:ln>
          </p:spPr>
          <p:style>
            <a:lnRef idx="1">
              <a:schemeClr val="accent1"/>
            </a:lnRef>
            <a:fillRef idx="0">
              <a:schemeClr val="accent1"/>
            </a:fillRef>
            <a:effectRef idx="0">
              <a:schemeClr val="accent1"/>
            </a:effectRef>
            <a:fontRef idx="minor">
              <a:schemeClr val="tx1"/>
            </a:fontRef>
          </p:style>
        </p:cxnSp>
        <p:grpSp>
          <p:nvGrpSpPr>
            <p:cNvPr id="7" name="ïślïḑé">
              <a:extLst>
                <a:ext uri="{FF2B5EF4-FFF2-40B4-BE49-F238E27FC236}">
                  <a16:creationId xmlns:a16="http://schemas.microsoft.com/office/drawing/2014/main" id="{CAEB6001-93FB-474E-83F0-46305D6ADE33}"/>
                </a:ext>
              </a:extLst>
            </p:cNvPr>
            <p:cNvGrpSpPr/>
            <p:nvPr/>
          </p:nvGrpSpPr>
          <p:grpSpPr>
            <a:xfrm>
              <a:off x="1581534" y="3069772"/>
              <a:ext cx="706024" cy="706024"/>
              <a:chOff x="2077663" y="2690079"/>
              <a:chExt cx="980218" cy="980218"/>
            </a:xfrm>
          </p:grpSpPr>
          <p:sp>
            <p:nvSpPr>
              <p:cNvPr id="35" name="ïšḷíḍé">
                <a:extLst>
                  <a:ext uri="{FF2B5EF4-FFF2-40B4-BE49-F238E27FC236}">
                    <a16:creationId xmlns:a16="http://schemas.microsoft.com/office/drawing/2014/main" id="{AD45C7E0-7384-43D3-8221-15138562F226}"/>
                  </a:ext>
                </a:extLst>
              </p:cNvPr>
              <p:cNvSpPr/>
              <p:nvPr/>
            </p:nvSpPr>
            <p:spPr>
              <a:xfrm>
                <a:off x="2077663" y="2690079"/>
                <a:ext cx="980218"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36" name="îšḻïḍê">
                <a:extLst>
                  <a:ext uri="{FF2B5EF4-FFF2-40B4-BE49-F238E27FC236}">
                    <a16:creationId xmlns:a16="http://schemas.microsoft.com/office/drawing/2014/main" id="{A27AC49C-2820-42D7-88EE-6AB54D8CA04C}"/>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a:p>
            </p:txBody>
          </p:sp>
        </p:grpSp>
        <p:grpSp>
          <p:nvGrpSpPr>
            <p:cNvPr id="8" name="îṣļîḑè">
              <a:extLst>
                <a:ext uri="{FF2B5EF4-FFF2-40B4-BE49-F238E27FC236}">
                  <a16:creationId xmlns:a16="http://schemas.microsoft.com/office/drawing/2014/main" id="{3B796757-83BA-4AFA-A9AC-1E53B7746459}"/>
                </a:ext>
              </a:extLst>
            </p:cNvPr>
            <p:cNvGrpSpPr/>
            <p:nvPr/>
          </p:nvGrpSpPr>
          <p:grpSpPr>
            <a:xfrm>
              <a:off x="3662261" y="3069772"/>
              <a:ext cx="706024" cy="706024"/>
              <a:chOff x="2077663" y="2690079"/>
              <a:chExt cx="980218" cy="980218"/>
            </a:xfrm>
          </p:grpSpPr>
          <p:sp>
            <p:nvSpPr>
              <p:cNvPr id="33" name="iSliḋê">
                <a:extLst>
                  <a:ext uri="{FF2B5EF4-FFF2-40B4-BE49-F238E27FC236}">
                    <a16:creationId xmlns:a16="http://schemas.microsoft.com/office/drawing/2014/main" id="{43DC0EB5-DECF-42B2-A0A8-FC5D1341AA5D}"/>
                  </a:ext>
                </a:extLst>
              </p:cNvPr>
              <p:cNvSpPr/>
              <p:nvPr/>
            </p:nvSpPr>
            <p:spPr>
              <a:xfrm>
                <a:off x="2077663" y="2690079"/>
                <a:ext cx="980218"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34" name="iSḷîḍé">
                <a:extLst>
                  <a:ext uri="{FF2B5EF4-FFF2-40B4-BE49-F238E27FC236}">
                    <a16:creationId xmlns:a16="http://schemas.microsoft.com/office/drawing/2014/main" id="{4D557CB5-297D-4A32-9242-60FB985FA213}"/>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a:p>
            </p:txBody>
          </p:sp>
        </p:grpSp>
        <p:grpSp>
          <p:nvGrpSpPr>
            <p:cNvPr id="9" name="ïślîḓe">
              <a:extLst>
                <a:ext uri="{FF2B5EF4-FFF2-40B4-BE49-F238E27FC236}">
                  <a16:creationId xmlns:a16="http://schemas.microsoft.com/office/drawing/2014/main" id="{F4290BE7-9608-498E-8ED2-F40FD2A1344E}"/>
                </a:ext>
              </a:extLst>
            </p:cNvPr>
            <p:cNvGrpSpPr/>
            <p:nvPr/>
          </p:nvGrpSpPr>
          <p:grpSpPr>
            <a:xfrm>
              <a:off x="5399314" y="2726098"/>
              <a:ext cx="1393372" cy="1393372"/>
              <a:chOff x="2077663" y="2690079"/>
              <a:chExt cx="980218" cy="980218"/>
            </a:xfrm>
          </p:grpSpPr>
          <p:sp>
            <p:nvSpPr>
              <p:cNvPr id="31" name="iśḷïḍé">
                <a:extLst>
                  <a:ext uri="{FF2B5EF4-FFF2-40B4-BE49-F238E27FC236}">
                    <a16:creationId xmlns:a16="http://schemas.microsoft.com/office/drawing/2014/main" id="{1B1BDCA5-944E-4A4F-A5D7-D95AEAD1E29C}"/>
                  </a:ext>
                </a:extLst>
              </p:cNvPr>
              <p:cNvSpPr/>
              <p:nvPr/>
            </p:nvSpPr>
            <p:spPr>
              <a:xfrm>
                <a:off x="2077663" y="2690079"/>
                <a:ext cx="980218" cy="980218"/>
              </a:xfrm>
              <a:prstGeom prst="ellipse">
                <a:avLst/>
              </a:prstGeom>
              <a:solidFill>
                <a:schemeClr val="accent2"/>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32" name="išľïḓe">
                <a:extLst>
                  <a:ext uri="{FF2B5EF4-FFF2-40B4-BE49-F238E27FC236}">
                    <a16:creationId xmlns:a16="http://schemas.microsoft.com/office/drawing/2014/main" id="{E969B816-27C6-414F-8AA7-A76A3222F7A1}"/>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bg1"/>
              </a:solidFill>
              <a:ln w="9525">
                <a:noFill/>
                <a:round/>
              </a:ln>
            </p:spPr>
            <p:txBody>
              <a:bodyPr lIns="0" tIns="0" rIns="0" bIns="0" anchor="ctr"/>
              <a:lstStyle/>
              <a:p>
                <a:pPr algn="ctr"/>
                <a:endParaRPr/>
              </a:p>
            </p:txBody>
          </p:sp>
        </p:grpSp>
        <p:grpSp>
          <p:nvGrpSpPr>
            <p:cNvPr id="10" name="iṡḻïḓé">
              <a:extLst>
                <a:ext uri="{FF2B5EF4-FFF2-40B4-BE49-F238E27FC236}">
                  <a16:creationId xmlns:a16="http://schemas.microsoft.com/office/drawing/2014/main" id="{7C4E37DD-4B81-42E4-9309-580474D5E7FD}"/>
                </a:ext>
              </a:extLst>
            </p:cNvPr>
            <p:cNvGrpSpPr/>
            <p:nvPr/>
          </p:nvGrpSpPr>
          <p:grpSpPr>
            <a:xfrm>
              <a:off x="7823715" y="3069772"/>
              <a:ext cx="706024" cy="706024"/>
              <a:chOff x="2077663" y="2690079"/>
              <a:chExt cx="980218" cy="980218"/>
            </a:xfrm>
          </p:grpSpPr>
          <p:sp>
            <p:nvSpPr>
              <p:cNvPr id="29" name="íṥ1îḑè">
                <a:extLst>
                  <a:ext uri="{FF2B5EF4-FFF2-40B4-BE49-F238E27FC236}">
                    <a16:creationId xmlns:a16="http://schemas.microsoft.com/office/drawing/2014/main" id="{B106B5CF-358C-4D7C-B7DB-282937E58673}"/>
                  </a:ext>
                </a:extLst>
              </p:cNvPr>
              <p:cNvSpPr/>
              <p:nvPr/>
            </p:nvSpPr>
            <p:spPr>
              <a:xfrm>
                <a:off x="2077663" y="2690079"/>
                <a:ext cx="980218"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30" name="îṣ1îḍe">
                <a:extLst>
                  <a:ext uri="{FF2B5EF4-FFF2-40B4-BE49-F238E27FC236}">
                    <a16:creationId xmlns:a16="http://schemas.microsoft.com/office/drawing/2014/main" id="{534A74AE-DB50-4EE8-A7B9-3AFB5282737B}"/>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a:p>
            </p:txBody>
          </p:sp>
        </p:grpSp>
        <p:grpSp>
          <p:nvGrpSpPr>
            <p:cNvPr id="11" name="íşḻiḓé">
              <a:extLst>
                <a:ext uri="{FF2B5EF4-FFF2-40B4-BE49-F238E27FC236}">
                  <a16:creationId xmlns:a16="http://schemas.microsoft.com/office/drawing/2014/main" id="{21750EF2-802B-4AD7-8D53-D8E72516D54C}"/>
                </a:ext>
              </a:extLst>
            </p:cNvPr>
            <p:cNvGrpSpPr/>
            <p:nvPr/>
          </p:nvGrpSpPr>
          <p:grpSpPr>
            <a:xfrm>
              <a:off x="9904442" y="3069772"/>
              <a:ext cx="706024" cy="706024"/>
              <a:chOff x="2077663" y="2690079"/>
              <a:chExt cx="980218" cy="980218"/>
            </a:xfrm>
          </p:grpSpPr>
          <p:sp>
            <p:nvSpPr>
              <p:cNvPr id="27" name="ïS1ïḋe">
                <a:extLst>
                  <a:ext uri="{FF2B5EF4-FFF2-40B4-BE49-F238E27FC236}">
                    <a16:creationId xmlns:a16="http://schemas.microsoft.com/office/drawing/2014/main" id="{856D5ED0-2654-43D0-826D-7CE2DED0810C}"/>
                  </a:ext>
                </a:extLst>
              </p:cNvPr>
              <p:cNvSpPr/>
              <p:nvPr/>
            </p:nvSpPr>
            <p:spPr>
              <a:xfrm>
                <a:off x="2077663" y="2690079"/>
                <a:ext cx="980218" cy="980218"/>
              </a:xfrm>
              <a:prstGeom prst="ellipse">
                <a:avLst/>
              </a:prstGeom>
              <a:solidFill>
                <a:schemeClr val="bg1"/>
              </a:solid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endParaRPr/>
              </a:p>
            </p:txBody>
          </p:sp>
          <p:sp>
            <p:nvSpPr>
              <p:cNvPr id="28" name="ïsľïḍe">
                <a:extLst>
                  <a:ext uri="{FF2B5EF4-FFF2-40B4-BE49-F238E27FC236}">
                    <a16:creationId xmlns:a16="http://schemas.microsoft.com/office/drawing/2014/main" id="{50C1BCF7-57E4-41C6-9FE7-FEAFFE86B7E1}"/>
                  </a:ext>
                </a:extLst>
              </p:cNvPr>
              <p:cNvSpPr/>
              <p:nvPr/>
            </p:nvSpPr>
            <p:spPr bwMode="auto">
              <a:xfrm>
                <a:off x="2300729" y="2913547"/>
                <a:ext cx="534086" cy="533282"/>
              </a:xfrm>
              <a:custGeom>
                <a:avLst/>
                <a:gdLst>
                  <a:gd name="T0" fmla="*/ 9608 w 10667"/>
                  <a:gd name="T1" fmla="*/ 4056 h 10667"/>
                  <a:gd name="T2" fmla="*/ 9642 w 10667"/>
                  <a:gd name="T3" fmla="*/ 4561 h 10667"/>
                  <a:gd name="T4" fmla="*/ 9398 w 10667"/>
                  <a:gd name="T5" fmla="*/ 5365 h 10667"/>
                  <a:gd name="T6" fmla="*/ 9237 w 10667"/>
                  <a:gd name="T7" fmla="*/ 4433 h 10667"/>
                  <a:gd name="T8" fmla="*/ 8869 w 10667"/>
                  <a:gd name="T9" fmla="*/ 4582 h 10667"/>
                  <a:gd name="T10" fmla="*/ 8709 w 10667"/>
                  <a:gd name="T11" fmla="*/ 5514 h 10667"/>
                  <a:gd name="T12" fmla="*/ 8952 w 10667"/>
                  <a:gd name="T13" fmla="*/ 5395 h 10667"/>
                  <a:gd name="T14" fmla="*/ 8998 w 10667"/>
                  <a:gd name="T15" fmla="*/ 6944 h 10667"/>
                  <a:gd name="T16" fmla="*/ 9239 w 10667"/>
                  <a:gd name="T17" fmla="*/ 5720 h 10667"/>
                  <a:gd name="T18" fmla="*/ 9377 w 10667"/>
                  <a:gd name="T19" fmla="*/ 6807 h 10667"/>
                  <a:gd name="T20" fmla="*/ 9687 w 10667"/>
                  <a:gd name="T21" fmla="*/ 6787 h 10667"/>
                  <a:gd name="T22" fmla="*/ 9559 w 10667"/>
                  <a:gd name="T23" fmla="*/ 4821 h 10667"/>
                  <a:gd name="T24" fmla="*/ 9939 w 10667"/>
                  <a:gd name="T25" fmla="*/ 5391 h 10667"/>
                  <a:gd name="T26" fmla="*/ 6566 w 10667"/>
                  <a:gd name="T27" fmla="*/ 1130 h 10667"/>
                  <a:gd name="T28" fmla="*/ 5448 w 10667"/>
                  <a:gd name="T29" fmla="*/ 2261 h 10667"/>
                  <a:gd name="T30" fmla="*/ 7197 w 10667"/>
                  <a:gd name="T31" fmla="*/ 8282 h 10667"/>
                  <a:gd name="T32" fmla="*/ 6553 w 10667"/>
                  <a:gd name="T33" fmla="*/ 5860 h 10667"/>
                  <a:gd name="T34" fmla="*/ 6867 w 10667"/>
                  <a:gd name="T35" fmla="*/ 5540 h 10667"/>
                  <a:gd name="T36" fmla="*/ 6677 w 10667"/>
                  <a:gd name="T37" fmla="*/ 2794 h 10667"/>
                  <a:gd name="T38" fmla="*/ 5875 w 10667"/>
                  <a:gd name="T39" fmla="*/ 5440 h 10667"/>
                  <a:gd name="T40" fmla="*/ 5344 w 10667"/>
                  <a:gd name="T41" fmla="*/ 2372 h 10667"/>
                  <a:gd name="T42" fmla="*/ 4134 w 10667"/>
                  <a:gd name="T43" fmla="*/ 2863 h 10667"/>
                  <a:gd name="T44" fmla="*/ 3606 w 10667"/>
                  <a:gd name="T45" fmla="*/ 5931 h 10667"/>
                  <a:gd name="T46" fmla="*/ 4406 w 10667"/>
                  <a:gd name="T47" fmla="*/ 5536 h 10667"/>
                  <a:gd name="T48" fmla="*/ 3036 w 10667"/>
                  <a:gd name="T49" fmla="*/ 8836 h 10667"/>
                  <a:gd name="T50" fmla="*/ 1301 w 10667"/>
                  <a:gd name="T51" fmla="*/ 9187 h 10667"/>
                  <a:gd name="T52" fmla="*/ 3942 w 10667"/>
                  <a:gd name="T53" fmla="*/ 10566 h 10667"/>
                  <a:gd name="T54" fmla="*/ 8368 w 10667"/>
                  <a:gd name="T55" fmla="*/ 10227 h 10667"/>
                  <a:gd name="T56" fmla="*/ 5409 w 10667"/>
                  <a:gd name="T57" fmla="*/ 9687 h 10667"/>
                  <a:gd name="T58" fmla="*/ 5462 w 10667"/>
                  <a:gd name="T59" fmla="*/ 6588 h 10667"/>
                  <a:gd name="T60" fmla="*/ 5409 w 10667"/>
                  <a:gd name="T61" fmla="*/ 9687 h 10667"/>
                  <a:gd name="T62" fmla="*/ 9674 w 10667"/>
                  <a:gd name="T63" fmla="*/ 7185 h 10667"/>
                  <a:gd name="T64" fmla="*/ 9255 w 10667"/>
                  <a:gd name="T65" fmla="*/ 7228 h 10667"/>
                  <a:gd name="T66" fmla="*/ 8691 w 10667"/>
                  <a:gd name="T67" fmla="*/ 6602 h 10667"/>
                  <a:gd name="T68" fmla="*/ 10667 w 10667"/>
                  <a:gd name="T69" fmla="*/ 7058 h 10667"/>
                  <a:gd name="T70" fmla="*/ 1068 w 10667"/>
                  <a:gd name="T71" fmla="*/ 4056 h 10667"/>
                  <a:gd name="T72" fmla="*/ 1407 w 10667"/>
                  <a:gd name="T73" fmla="*/ 4399 h 10667"/>
                  <a:gd name="T74" fmla="*/ 1620 w 10667"/>
                  <a:gd name="T75" fmla="*/ 4469 h 10667"/>
                  <a:gd name="T76" fmla="*/ 1410 w 10667"/>
                  <a:gd name="T77" fmla="*/ 5515 h 10667"/>
                  <a:gd name="T78" fmla="*/ 1189 w 10667"/>
                  <a:gd name="T79" fmla="*/ 4467 h 10667"/>
                  <a:gd name="T80" fmla="*/ 728 w 10667"/>
                  <a:gd name="T81" fmla="*/ 5387 h 10667"/>
                  <a:gd name="T82" fmla="*/ 967 w 10667"/>
                  <a:gd name="T83" fmla="*/ 5399 h 10667"/>
                  <a:gd name="T84" fmla="*/ 1088 w 10667"/>
                  <a:gd name="T85" fmla="*/ 5407 h 10667"/>
                  <a:gd name="T86" fmla="*/ 1148 w 10667"/>
                  <a:gd name="T87" fmla="*/ 6944 h 10667"/>
                  <a:gd name="T88" fmla="*/ 1411 w 10667"/>
                  <a:gd name="T89" fmla="*/ 5714 h 10667"/>
                  <a:gd name="T90" fmla="*/ 1671 w 10667"/>
                  <a:gd name="T91" fmla="*/ 6954 h 10667"/>
                  <a:gd name="T92" fmla="*/ 1743 w 10667"/>
                  <a:gd name="T93" fmla="*/ 5493 h 10667"/>
                  <a:gd name="T94" fmla="*/ 1838 w 10667"/>
                  <a:gd name="T95" fmla="*/ 5396 h 10667"/>
                  <a:gd name="T96" fmla="*/ 1780 w 10667"/>
                  <a:gd name="T97" fmla="*/ 4561 h 10667"/>
                  <a:gd name="T98" fmla="*/ 1813 w 10667"/>
                  <a:gd name="T99" fmla="*/ 7185 h 10667"/>
                  <a:gd name="T100" fmla="*/ 1394 w 10667"/>
                  <a:gd name="T101" fmla="*/ 7228 h 10667"/>
                  <a:gd name="T102" fmla="*/ 830 w 10667"/>
                  <a:gd name="T103" fmla="*/ 6602 h 10667"/>
                  <a:gd name="T104" fmla="*/ 2805 w 10667"/>
                  <a:gd name="T105" fmla="*/ 7058 h 10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667" h="10667">
                    <a:moveTo>
                      <a:pt x="8929" y="4056"/>
                    </a:moveTo>
                    <a:cubicBezTo>
                      <a:pt x="8929" y="3866"/>
                      <a:pt x="9081" y="3713"/>
                      <a:pt x="9268" y="3713"/>
                    </a:cubicBezTo>
                    <a:cubicBezTo>
                      <a:pt x="9456" y="3713"/>
                      <a:pt x="9608" y="3866"/>
                      <a:pt x="9608" y="4056"/>
                    </a:cubicBezTo>
                    <a:cubicBezTo>
                      <a:pt x="9608" y="4246"/>
                      <a:pt x="9456" y="4399"/>
                      <a:pt x="9268" y="4399"/>
                    </a:cubicBezTo>
                    <a:cubicBezTo>
                      <a:pt x="9081" y="4399"/>
                      <a:pt x="8929" y="4246"/>
                      <a:pt x="8929" y="4056"/>
                    </a:cubicBezTo>
                    <a:close/>
                    <a:moveTo>
                      <a:pt x="9642" y="4561"/>
                    </a:moveTo>
                    <a:cubicBezTo>
                      <a:pt x="9592" y="4523"/>
                      <a:pt x="9541" y="4489"/>
                      <a:pt x="9482" y="4469"/>
                    </a:cubicBezTo>
                    <a:cubicBezTo>
                      <a:pt x="9427" y="4449"/>
                      <a:pt x="9369" y="4439"/>
                      <a:pt x="9310" y="4434"/>
                    </a:cubicBezTo>
                    <a:lnTo>
                      <a:pt x="9398" y="5365"/>
                    </a:lnTo>
                    <a:lnTo>
                      <a:pt x="9272" y="5515"/>
                    </a:lnTo>
                    <a:lnTo>
                      <a:pt x="9127" y="5365"/>
                    </a:lnTo>
                    <a:lnTo>
                      <a:pt x="9237" y="4433"/>
                    </a:lnTo>
                    <a:cubicBezTo>
                      <a:pt x="9173" y="4435"/>
                      <a:pt x="9110" y="4446"/>
                      <a:pt x="9050" y="4467"/>
                    </a:cubicBezTo>
                    <a:cubicBezTo>
                      <a:pt x="9025" y="4476"/>
                      <a:pt x="9002" y="4487"/>
                      <a:pt x="8979" y="4500"/>
                    </a:cubicBezTo>
                    <a:cubicBezTo>
                      <a:pt x="8940" y="4523"/>
                      <a:pt x="8903" y="4551"/>
                      <a:pt x="8869" y="4582"/>
                    </a:cubicBezTo>
                    <a:cubicBezTo>
                      <a:pt x="8700" y="4734"/>
                      <a:pt x="8609" y="4997"/>
                      <a:pt x="8589" y="5387"/>
                    </a:cubicBezTo>
                    <a:cubicBezTo>
                      <a:pt x="8586" y="5454"/>
                      <a:pt x="8637" y="5511"/>
                      <a:pt x="8703" y="5514"/>
                    </a:cubicBezTo>
                    <a:cubicBezTo>
                      <a:pt x="8705" y="5514"/>
                      <a:pt x="8707" y="5514"/>
                      <a:pt x="8709" y="5514"/>
                    </a:cubicBezTo>
                    <a:cubicBezTo>
                      <a:pt x="8772" y="5514"/>
                      <a:pt x="8825" y="5464"/>
                      <a:pt x="8828" y="5399"/>
                    </a:cubicBezTo>
                    <a:cubicBezTo>
                      <a:pt x="8842" y="5135"/>
                      <a:pt x="8893" y="4938"/>
                      <a:pt x="8978" y="4821"/>
                    </a:cubicBezTo>
                    <a:cubicBezTo>
                      <a:pt x="8972" y="4944"/>
                      <a:pt x="8961" y="5167"/>
                      <a:pt x="8952" y="5395"/>
                    </a:cubicBezTo>
                    <a:cubicBezTo>
                      <a:pt x="8951" y="5399"/>
                      <a:pt x="8950" y="5403"/>
                      <a:pt x="8950" y="5407"/>
                    </a:cubicBezTo>
                    <a:lnTo>
                      <a:pt x="8854" y="6776"/>
                    </a:lnTo>
                    <a:cubicBezTo>
                      <a:pt x="8848" y="6863"/>
                      <a:pt x="8912" y="6938"/>
                      <a:pt x="8998" y="6944"/>
                    </a:cubicBezTo>
                    <a:cubicBezTo>
                      <a:pt x="9002" y="6944"/>
                      <a:pt x="9005" y="6944"/>
                      <a:pt x="9009" y="6944"/>
                    </a:cubicBezTo>
                    <a:cubicBezTo>
                      <a:pt x="9090" y="6944"/>
                      <a:pt x="9158" y="6881"/>
                      <a:pt x="9163" y="6798"/>
                    </a:cubicBezTo>
                    <a:lnTo>
                      <a:pt x="9239" y="5720"/>
                    </a:lnTo>
                    <a:cubicBezTo>
                      <a:pt x="9251" y="5717"/>
                      <a:pt x="9262" y="5714"/>
                      <a:pt x="9273" y="5714"/>
                    </a:cubicBezTo>
                    <a:cubicBezTo>
                      <a:pt x="9284" y="5714"/>
                      <a:pt x="9296" y="5716"/>
                      <a:pt x="9307" y="5717"/>
                    </a:cubicBezTo>
                    <a:lnTo>
                      <a:pt x="9377" y="6807"/>
                    </a:lnTo>
                    <a:cubicBezTo>
                      <a:pt x="9382" y="6890"/>
                      <a:pt x="9451" y="6954"/>
                      <a:pt x="9532" y="6954"/>
                    </a:cubicBezTo>
                    <a:cubicBezTo>
                      <a:pt x="9535" y="6954"/>
                      <a:pt x="9539" y="6954"/>
                      <a:pt x="9542" y="6954"/>
                    </a:cubicBezTo>
                    <a:cubicBezTo>
                      <a:pt x="9628" y="6948"/>
                      <a:pt x="9692" y="6873"/>
                      <a:pt x="9687" y="6787"/>
                    </a:cubicBezTo>
                    <a:lnTo>
                      <a:pt x="9604" y="5493"/>
                    </a:lnTo>
                    <a:cubicBezTo>
                      <a:pt x="9604" y="5486"/>
                      <a:pt x="9602" y="5479"/>
                      <a:pt x="9601" y="5472"/>
                    </a:cubicBezTo>
                    <a:cubicBezTo>
                      <a:pt x="9594" y="5274"/>
                      <a:pt x="9571" y="4981"/>
                      <a:pt x="9559" y="4821"/>
                    </a:cubicBezTo>
                    <a:cubicBezTo>
                      <a:pt x="9645" y="4939"/>
                      <a:pt x="9694" y="5134"/>
                      <a:pt x="9700" y="5396"/>
                    </a:cubicBezTo>
                    <a:cubicBezTo>
                      <a:pt x="9701" y="5462"/>
                      <a:pt x="9754" y="5514"/>
                      <a:pt x="9822" y="5514"/>
                    </a:cubicBezTo>
                    <a:cubicBezTo>
                      <a:pt x="9888" y="5513"/>
                      <a:pt x="9940" y="5458"/>
                      <a:pt x="9939" y="5391"/>
                    </a:cubicBezTo>
                    <a:cubicBezTo>
                      <a:pt x="9931" y="4988"/>
                      <a:pt x="9831" y="4709"/>
                      <a:pt x="9642" y="4561"/>
                    </a:cubicBezTo>
                    <a:close/>
                    <a:moveTo>
                      <a:pt x="5448" y="2261"/>
                    </a:moveTo>
                    <a:cubicBezTo>
                      <a:pt x="6065" y="2261"/>
                      <a:pt x="6566" y="1755"/>
                      <a:pt x="6566" y="1130"/>
                    </a:cubicBezTo>
                    <a:cubicBezTo>
                      <a:pt x="6566" y="506"/>
                      <a:pt x="6065" y="0"/>
                      <a:pt x="5448" y="0"/>
                    </a:cubicBezTo>
                    <a:cubicBezTo>
                      <a:pt x="4832" y="0"/>
                      <a:pt x="4332" y="506"/>
                      <a:pt x="4332" y="1130"/>
                    </a:cubicBezTo>
                    <a:cubicBezTo>
                      <a:pt x="4332" y="1755"/>
                      <a:pt x="4832" y="2261"/>
                      <a:pt x="5448" y="2261"/>
                    </a:cubicBezTo>
                    <a:close/>
                    <a:moveTo>
                      <a:pt x="9566" y="9187"/>
                    </a:moveTo>
                    <a:cubicBezTo>
                      <a:pt x="9566" y="8589"/>
                      <a:pt x="8569" y="8079"/>
                      <a:pt x="7146" y="7846"/>
                    </a:cubicBezTo>
                    <a:lnTo>
                      <a:pt x="7197" y="8282"/>
                    </a:lnTo>
                    <a:cubicBezTo>
                      <a:pt x="7559" y="8431"/>
                      <a:pt x="7781" y="8624"/>
                      <a:pt x="7781" y="8836"/>
                    </a:cubicBezTo>
                    <a:cubicBezTo>
                      <a:pt x="7781" y="9120"/>
                      <a:pt x="7386" y="9369"/>
                      <a:pt x="6788" y="9523"/>
                    </a:cubicBezTo>
                    <a:lnTo>
                      <a:pt x="6553" y="5860"/>
                    </a:lnTo>
                    <a:cubicBezTo>
                      <a:pt x="6552" y="5836"/>
                      <a:pt x="6547" y="5814"/>
                      <a:pt x="6542" y="5791"/>
                    </a:cubicBezTo>
                    <a:cubicBezTo>
                      <a:pt x="6519" y="5139"/>
                      <a:pt x="6446" y="4174"/>
                      <a:pt x="6403" y="3649"/>
                    </a:cubicBezTo>
                    <a:cubicBezTo>
                      <a:pt x="6689" y="4036"/>
                      <a:pt x="6850" y="4677"/>
                      <a:pt x="6867" y="5540"/>
                    </a:cubicBezTo>
                    <a:cubicBezTo>
                      <a:pt x="6872" y="5758"/>
                      <a:pt x="7047" y="5931"/>
                      <a:pt x="7269" y="5931"/>
                    </a:cubicBezTo>
                    <a:cubicBezTo>
                      <a:pt x="7487" y="5926"/>
                      <a:pt x="7660" y="5744"/>
                      <a:pt x="7655" y="5524"/>
                    </a:cubicBezTo>
                    <a:cubicBezTo>
                      <a:pt x="7628" y="4200"/>
                      <a:pt x="7299" y="3281"/>
                      <a:pt x="6677" y="2794"/>
                    </a:cubicBezTo>
                    <a:cubicBezTo>
                      <a:pt x="6515" y="2666"/>
                      <a:pt x="6346" y="2557"/>
                      <a:pt x="6150" y="2489"/>
                    </a:cubicBezTo>
                    <a:cubicBezTo>
                      <a:pt x="5969" y="2425"/>
                      <a:pt x="5778" y="2390"/>
                      <a:pt x="5587" y="2376"/>
                    </a:cubicBezTo>
                    <a:lnTo>
                      <a:pt x="5875" y="5440"/>
                    </a:lnTo>
                    <a:lnTo>
                      <a:pt x="5459" y="5934"/>
                    </a:lnTo>
                    <a:lnTo>
                      <a:pt x="4983" y="5440"/>
                    </a:lnTo>
                    <a:lnTo>
                      <a:pt x="5344" y="2372"/>
                    </a:lnTo>
                    <a:cubicBezTo>
                      <a:pt x="5135" y="2379"/>
                      <a:pt x="4926" y="2413"/>
                      <a:pt x="4729" y="2484"/>
                    </a:cubicBezTo>
                    <a:cubicBezTo>
                      <a:pt x="4648" y="2513"/>
                      <a:pt x="4570" y="2548"/>
                      <a:pt x="4496" y="2592"/>
                    </a:cubicBezTo>
                    <a:cubicBezTo>
                      <a:pt x="4366" y="2669"/>
                      <a:pt x="4247" y="2762"/>
                      <a:pt x="4134" y="2863"/>
                    </a:cubicBezTo>
                    <a:cubicBezTo>
                      <a:pt x="3578" y="3362"/>
                      <a:pt x="3276" y="4228"/>
                      <a:pt x="3213" y="5512"/>
                    </a:cubicBezTo>
                    <a:cubicBezTo>
                      <a:pt x="3202" y="5732"/>
                      <a:pt x="3369" y="5919"/>
                      <a:pt x="3586" y="5930"/>
                    </a:cubicBezTo>
                    <a:cubicBezTo>
                      <a:pt x="3593" y="5931"/>
                      <a:pt x="3600" y="5931"/>
                      <a:pt x="3606" y="5931"/>
                    </a:cubicBezTo>
                    <a:cubicBezTo>
                      <a:pt x="3815" y="5931"/>
                      <a:pt x="3989" y="5765"/>
                      <a:pt x="4000" y="5552"/>
                    </a:cubicBezTo>
                    <a:cubicBezTo>
                      <a:pt x="4043" y="4683"/>
                      <a:pt x="4213" y="4034"/>
                      <a:pt x="4493" y="3649"/>
                    </a:cubicBezTo>
                    <a:cubicBezTo>
                      <a:pt x="4473" y="4053"/>
                      <a:pt x="4437" y="4787"/>
                      <a:pt x="4406" y="5536"/>
                    </a:cubicBezTo>
                    <a:cubicBezTo>
                      <a:pt x="4404" y="5550"/>
                      <a:pt x="4400" y="5563"/>
                      <a:pt x="4399" y="5577"/>
                    </a:cubicBezTo>
                    <a:lnTo>
                      <a:pt x="4121" y="9550"/>
                    </a:lnTo>
                    <a:cubicBezTo>
                      <a:pt x="3469" y="9398"/>
                      <a:pt x="3036" y="9136"/>
                      <a:pt x="3036" y="8836"/>
                    </a:cubicBezTo>
                    <a:cubicBezTo>
                      <a:pt x="3036" y="8606"/>
                      <a:pt x="3298" y="8398"/>
                      <a:pt x="3715" y="8245"/>
                    </a:cubicBezTo>
                    <a:lnTo>
                      <a:pt x="3745" y="7843"/>
                    </a:lnTo>
                    <a:cubicBezTo>
                      <a:pt x="2309" y="8075"/>
                      <a:pt x="1301" y="8586"/>
                      <a:pt x="1301" y="9187"/>
                    </a:cubicBezTo>
                    <a:cubicBezTo>
                      <a:pt x="1301" y="9666"/>
                      <a:pt x="1867" y="9963"/>
                      <a:pt x="2241" y="10125"/>
                    </a:cubicBezTo>
                    <a:cubicBezTo>
                      <a:pt x="2579" y="10272"/>
                      <a:pt x="2936" y="10374"/>
                      <a:pt x="3295" y="10452"/>
                    </a:cubicBezTo>
                    <a:cubicBezTo>
                      <a:pt x="3509" y="10498"/>
                      <a:pt x="3725" y="10536"/>
                      <a:pt x="3942" y="10566"/>
                    </a:cubicBezTo>
                    <a:cubicBezTo>
                      <a:pt x="4438" y="10635"/>
                      <a:pt x="4931" y="10667"/>
                      <a:pt x="5434" y="10667"/>
                    </a:cubicBezTo>
                    <a:cubicBezTo>
                      <a:pt x="5609" y="10667"/>
                      <a:pt x="5784" y="10662"/>
                      <a:pt x="5959" y="10654"/>
                    </a:cubicBezTo>
                    <a:cubicBezTo>
                      <a:pt x="6767" y="10615"/>
                      <a:pt x="7596" y="10506"/>
                      <a:pt x="8368" y="10227"/>
                    </a:cubicBezTo>
                    <a:cubicBezTo>
                      <a:pt x="8794" y="10073"/>
                      <a:pt x="9463" y="9799"/>
                      <a:pt x="9557" y="9286"/>
                    </a:cubicBezTo>
                    <a:cubicBezTo>
                      <a:pt x="9563" y="9253"/>
                      <a:pt x="9566" y="9220"/>
                      <a:pt x="9566" y="9187"/>
                    </a:cubicBezTo>
                    <a:close/>
                    <a:moveTo>
                      <a:pt x="5409" y="9687"/>
                    </a:moveTo>
                    <a:cubicBezTo>
                      <a:pt x="5316" y="9687"/>
                      <a:pt x="5226" y="9685"/>
                      <a:pt x="5136" y="9681"/>
                    </a:cubicBezTo>
                    <a:lnTo>
                      <a:pt x="5351" y="6608"/>
                    </a:lnTo>
                    <a:cubicBezTo>
                      <a:pt x="5390" y="6597"/>
                      <a:pt x="5429" y="6588"/>
                      <a:pt x="5462" y="6588"/>
                    </a:cubicBezTo>
                    <a:cubicBezTo>
                      <a:pt x="5501" y="6588"/>
                      <a:pt x="5539" y="6595"/>
                      <a:pt x="5577" y="6599"/>
                    </a:cubicBezTo>
                    <a:lnTo>
                      <a:pt x="5773" y="9671"/>
                    </a:lnTo>
                    <a:cubicBezTo>
                      <a:pt x="5653" y="9678"/>
                      <a:pt x="5535" y="9687"/>
                      <a:pt x="5409" y="9687"/>
                    </a:cubicBezTo>
                    <a:close/>
                    <a:moveTo>
                      <a:pt x="9863" y="6751"/>
                    </a:moveTo>
                    <a:cubicBezTo>
                      <a:pt x="9985" y="6801"/>
                      <a:pt x="10061" y="6867"/>
                      <a:pt x="10061" y="6939"/>
                    </a:cubicBezTo>
                    <a:cubicBezTo>
                      <a:pt x="10061" y="7043"/>
                      <a:pt x="9905" y="7134"/>
                      <a:pt x="9674" y="7185"/>
                    </a:cubicBezTo>
                    <a:cubicBezTo>
                      <a:pt x="9657" y="7190"/>
                      <a:pt x="9638" y="7195"/>
                      <a:pt x="9619" y="7197"/>
                    </a:cubicBezTo>
                    <a:cubicBezTo>
                      <a:pt x="9614" y="7198"/>
                      <a:pt x="9609" y="7198"/>
                      <a:pt x="9605" y="7198"/>
                    </a:cubicBezTo>
                    <a:cubicBezTo>
                      <a:pt x="9499" y="7217"/>
                      <a:pt x="9382" y="7228"/>
                      <a:pt x="9255" y="7228"/>
                    </a:cubicBezTo>
                    <a:cubicBezTo>
                      <a:pt x="8811" y="7228"/>
                      <a:pt x="8451" y="7098"/>
                      <a:pt x="8451" y="6939"/>
                    </a:cubicBezTo>
                    <a:cubicBezTo>
                      <a:pt x="8451" y="6861"/>
                      <a:pt x="8539" y="6790"/>
                      <a:pt x="8681" y="6739"/>
                    </a:cubicBezTo>
                    <a:lnTo>
                      <a:pt x="8691" y="6602"/>
                    </a:lnTo>
                    <a:cubicBezTo>
                      <a:pt x="8203" y="6681"/>
                      <a:pt x="7861" y="6854"/>
                      <a:pt x="7861" y="7058"/>
                    </a:cubicBezTo>
                    <a:cubicBezTo>
                      <a:pt x="7861" y="7335"/>
                      <a:pt x="8489" y="7560"/>
                      <a:pt x="9264" y="7560"/>
                    </a:cubicBezTo>
                    <a:cubicBezTo>
                      <a:pt x="10039" y="7560"/>
                      <a:pt x="10667" y="7335"/>
                      <a:pt x="10667" y="7058"/>
                    </a:cubicBezTo>
                    <a:cubicBezTo>
                      <a:pt x="10667" y="6855"/>
                      <a:pt x="10328" y="6682"/>
                      <a:pt x="9845" y="6603"/>
                    </a:cubicBezTo>
                    <a:lnTo>
                      <a:pt x="9863" y="6751"/>
                    </a:lnTo>
                    <a:close/>
                    <a:moveTo>
                      <a:pt x="1068" y="4056"/>
                    </a:moveTo>
                    <a:cubicBezTo>
                      <a:pt x="1068" y="3866"/>
                      <a:pt x="1220" y="3713"/>
                      <a:pt x="1407" y="3713"/>
                    </a:cubicBezTo>
                    <a:cubicBezTo>
                      <a:pt x="1594" y="3713"/>
                      <a:pt x="1747" y="3866"/>
                      <a:pt x="1747" y="4056"/>
                    </a:cubicBezTo>
                    <a:cubicBezTo>
                      <a:pt x="1747" y="4246"/>
                      <a:pt x="1594" y="4399"/>
                      <a:pt x="1407" y="4399"/>
                    </a:cubicBezTo>
                    <a:cubicBezTo>
                      <a:pt x="1220" y="4399"/>
                      <a:pt x="1068" y="4246"/>
                      <a:pt x="1068" y="4056"/>
                    </a:cubicBezTo>
                    <a:close/>
                    <a:moveTo>
                      <a:pt x="1780" y="4561"/>
                    </a:moveTo>
                    <a:cubicBezTo>
                      <a:pt x="1731" y="4523"/>
                      <a:pt x="1680" y="4489"/>
                      <a:pt x="1620" y="4469"/>
                    </a:cubicBezTo>
                    <a:cubicBezTo>
                      <a:pt x="1565" y="4449"/>
                      <a:pt x="1507" y="4439"/>
                      <a:pt x="1449" y="4434"/>
                    </a:cubicBezTo>
                    <a:lnTo>
                      <a:pt x="1537" y="5365"/>
                    </a:lnTo>
                    <a:lnTo>
                      <a:pt x="1410" y="5515"/>
                    </a:lnTo>
                    <a:lnTo>
                      <a:pt x="1266" y="5365"/>
                    </a:lnTo>
                    <a:lnTo>
                      <a:pt x="1376" y="4433"/>
                    </a:lnTo>
                    <a:cubicBezTo>
                      <a:pt x="1312" y="4435"/>
                      <a:pt x="1248" y="4446"/>
                      <a:pt x="1189" y="4467"/>
                    </a:cubicBezTo>
                    <a:cubicBezTo>
                      <a:pt x="1164" y="4476"/>
                      <a:pt x="1140" y="4487"/>
                      <a:pt x="1118" y="4500"/>
                    </a:cubicBezTo>
                    <a:cubicBezTo>
                      <a:pt x="1078" y="4523"/>
                      <a:pt x="1042" y="4551"/>
                      <a:pt x="1008" y="4582"/>
                    </a:cubicBezTo>
                    <a:cubicBezTo>
                      <a:pt x="839" y="4734"/>
                      <a:pt x="747" y="4997"/>
                      <a:pt x="728" y="5387"/>
                    </a:cubicBezTo>
                    <a:cubicBezTo>
                      <a:pt x="725" y="5454"/>
                      <a:pt x="775" y="5511"/>
                      <a:pt x="841" y="5514"/>
                    </a:cubicBezTo>
                    <a:cubicBezTo>
                      <a:pt x="843" y="5514"/>
                      <a:pt x="845" y="5514"/>
                      <a:pt x="848" y="5514"/>
                    </a:cubicBezTo>
                    <a:cubicBezTo>
                      <a:pt x="911" y="5514"/>
                      <a:pt x="964" y="5464"/>
                      <a:pt x="967" y="5399"/>
                    </a:cubicBezTo>
                    <a:cubicBezTo>
                      <a:pt x="980" y="5135"/>
                      <a:pt x="1032" y="4938"/>
                      <a:pt x="1117" y="4821"/>
                    </a:cubicBezTo>
                    <a:cubicBezTo>
                      <a:pt x="1111" y="4944"/>
                      <a:pt x="1100" y="5167"/>
                      <a:pt x="1090" y="5395"/>
                    </a:cubicBezTo>
                    <a:cubicBezTo>
                      <a:pt x="1090" y="5399"/>
                      <a:pt x="1089" y="5403"/>
                      <a:pt x="1088" y="5407"/>
                    </a:cubicBezTo>
                    <a:lnTo>
                      <a:pt x="993" y="6776"/>
                    </a:lnTo>
                    <a:cubicBezTo>
                      <a:pt x="987" y="6863"/>
                      <a:pt x="1051" y="6938"/>
                      <a:pt x="1136" y="6944"/>
                    </a:cubicBezTo>
                    <a:cubicBezTo>
                      <a:pt x="1140" y="6944"/>
                      <a:pt x="1144" y="6944"/>
                      <a:pt x="1148" y="6944"/>
                    </a:cubicBezTo>
                    <a:cubicBezTo>
                      <a:pt x="1228" y="6944"/>
                      <a:pt x="1296" y="6881"/>
                      <a:pt x="1302" y="6798"/>
                    </a:cubicBezTo>
                    <a:lnTo>
                      <a:pt x="1378" y="5720"/>
                    </a:lnTo>
                    <a:cubicBezTo>
                      <a:pt x="1389" y="5717"/>
                      <a:pt x="1401" y="5714"/>
                      <a:pt x="1411" y="5714"/>
                    </a:cubicBezTo>
                    <a:cubicBezTo>
                      <a:pt x="1423" y="5714"/>
                      <a:pt x="1435" y="5716"/>
                      <a:pt x="1446" y="5717"/>
                    </a:cubicBezTo>
                    <a:lnTo>
                      <a:pt x="1516" y="6807"/>
                    </a:lnTo>
                    <a:cubicBezTo>
                      <a:pt x="1521" y="6890"/>
                      <a:pt x="1589" y="6954"/>
                      <a:pt x="1671" y="6954"/>
                    </a:cubicBezTo>
                    <a:cubicBezTo>
                      <a:pt x="1674" y="6954"/>
                      <a:pt x="1677" y="6954"/>
                      <a:pt x="1681" y="6954"/>
                    </a:cubicBezTo>
                    <a:cubicBezTo>
                      <a:pt x="1766" y="6948"/>
                      <a:pt x="1831" y="6873"/>
                      <a:pt x="1826" y="6787"/>
                    </a:cubicBezTo>
                    <a:lnTo>
                      <a:pt x="1743" y="5493"/>
                    </a:lnTo>
                    <a:cubicBezTo>
                      <a:pt x="1742" y="5486"/>
                      <a:pt x="1741" y="5479"/>
                      <a:pt x="1739" y="5472"/>
                    </a:cubicBezTo>
                    <a:cubicBezTo>
                      <a:pt x="1732" y="5274"/>
                      <a:pt x="1710" y="4981"/>
                      <a:pt x="1697" y="4821"/>
                    </a:cubicBezTo>
                    <a:cubicBezTo>
                      <a:pt x="1784" y="4939"/>
                      <a:pt x="1833" y="5134"/>
                      <a:pt x="1838" y="5396"/>
                    </a:cubicBezTo>
                    <a:cubicBezTo>
                      <a:pt x="1840" y="5462"/>
                      <a:pt x="1893" y="5514"/>
                      <a:pt x="1960" y="5514"/>
                    </a:cubicBezTo>
                    <a:cubicBezTo>
                      <a:pt x="2027" y="5513"/>
                      <a:pt x="2079" y="5458"/>
                      <a:pt x="2078" y="5391"/>
                    </a:cubicBezTo>
                    <a:cubicBezTo>
                      <a:pt x="2069" y="4988"/>
                      <a:pt x="1969" y="4709"/>
                      <a:pt x="1780" y="4561"/>
                    </a:cubicBezTo>
                    <a:close/>
                    <a:moveTo>
                      <a:pt x="2002" y="6751"/>
                    </a:moveTo>
                    <a:cubicBezTo>
                      <a:pt x="2124" y="6801"/>
                      <a:pt x="2200" y="6867"/>
                      <a:pt x="2200" y="6939"/>
                    </a:cubicBezTo>
                    <a:cubicBezTo>
                      <a:pt x="2200" y="7043"/>
                      <a:pt x="2044" y="7134"/>
                      <a:pt x="1813" y="7185"/>
                    </a:cubicBezTo>
                    <a:cubicBezTo>
                      <a:pt x="1795" y="7190"/>
                      <a:pt x="1777" y="7195"/>
                      <a:pt x="1758" y="7197"/>
                    </a:cubicBezTo>
                    <a:cubicBezTo>
                      <a:pt x="1753" y="7198"/>
                      <a:pt x="1748" y="7198"/>
                      <a:pt x="1743" y="7198"/>
                    </a:cubicBezTo>
                    <a:cubicBezTo>
                      <a:pt x="1637" y="7217"/>
                      <a:pt x="1520" y="7228"/>
                      <a:pt x="1394" y="7228"/>
                    </a:cubicBezTo>
                    <a:cubicBezTo>
                      <a:pt x="950" y="7228"/>
                      <a:pt x="589" y="7098"/>
                      <a:pt x="589" y="6939"/>
                    </a:cubicBezTo>
                    <a:cubicBezTo>
                      <a:pt x="589" y="6861"/>
                      <a:pt x="678" y="6790"/>
                      <a:pt x="820" y="6739"/>
                    </a:cubicBezTo>
                    <a:lnTo>
                      <a:pt x="830" y="6602"/>
                    </a:lnTo>
                    <a:cubicBezTo>
                      <a:pt x="342" y="6681"/>
                      <a:pt x="0" y="6854"/>
                      <a:pt x="0" y="7058"/>
                    </a:cubicBezTo>
                    <a:cubicBezTo>
                      <a:pt x="0" y="7335"/>
                      <a:pt x="628" y="7560"/>
                      <a:pt x="1403" y="7560"/>
                    </a:cubicBezTo>
                    <a:cubicBezTo>
                      <a:pt x="2177" y="7560"/>
                      <a:pt x="2805" y="7335"/>
                      <a:pt x="2805" y="7058"/>
                    </a:cubicBezTo>
                    <a:cubicBezTo>
                      <a:pt x="2805" y="6855"/>
                      <a:pt x="2467" y="6682"/>
                      <a:pt x="1984" y="6603"/>
                    </a:cubicBezTo>
                    <a:lnTo>
                      <a:pt x="2002" y="6751"/>
                    </a:lnTo>
                    <a:close/>
                  </a:path>
                </a:pathLst>
              </a:custGeom>
              <a:solidFill>
                <a:schemeClr val="accent1"/>
              </a:solidFill>
              <a:ln w="9525">
                <a:noFill/>
                <a:round/>
              </a:ln>
            </p:spPr>
            <p:txBody>
              <a:bodyPr lIns="0" tIns="0" rIns="0" bIns="0" anchor="ctr"/>
              <a:lstStyle/>
              <a:p>
                <a:pPr algn="ctr"/>
                <a:endParaRPr/>
              </a:p>
            </p:txBody>
          </p:sp>
        </p:grpSp>
        <p:grpSp>
          <p:nvGrpSpPr>
            <p:cNvPr id="12" name="îş1íḍê">
              <a:extLst>
                <a:ext uri="{FF2B5EF4-FFF2-40B4-BE49-F238E27FC236}">
                  <a16:creationId xmlns:a16="http://schemas.microsoft.com/office/drawing/2014/main" id="{0155CE03-095F-4AAC-940E-9F78815C2537}"/>
                </a:ext>
              </a:extLst>
            </p:cNvPr>
            <p:cNvGrpSpPr/>
            <p:nvPr/>
          </p:nvGrpSpPr>
          <p:grpSpPr>
            <a:xfrm>
              <a:off x="1009839" y="3973869"/>
              <a:ext cx="1849411" cy="997226"/>
              <a:chOff x="1072499" y="1797239"/>
              <a:chExt cx="1849411" cy="997226"/>
            </a:xfrm>
          </p:grpSpPr>
          <p:sp>
            <p:nvSpPr>
              <p:cNvPr id="25" name="ïšľiḓé">
                <a:extLst>
                  <a:ext uri="{FF2B5EF4-FFF2-40B4-BE49-F238E27FC236}">
                    <a16:creationId xmlns:a16="http://schemas.microsoft.com/office/drawing/2014/main" id="{ECC8FA32-5E42-4983-9D0B-8C97D4DF2C61}"/>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dirty="0"/>
                  <a:t>Text here</a:t>
                </a:r>
                <a:endParaRPr lang="zh-CN" altLang="en-US" sz="1600" b="1" kern="0" dirty="0"/>
              </a:p>
            </p:txBody>
          </p:sp>
          <p:sp>
            <p:nvSpPr>
              <p:cNvPr id="26" name="î$ľiḓê">
                <a:extLst>
                  <a:ext uri="{FF2B5EF4-FFF2-40B4-BE49-F238E27FC236}">
                    <a16:creationId xmlns:a16="http://schemas.microsoft.com/office/drawing/2014/main" id="{BDE0D30D-54C5-4CB9-8B3D-EA5F0E35ADFE}"/>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here.</a:t>
                </a:r>
              </a:p>
              <a:p>
                <a:pPr lvl="0" algn="ctr">
                  <a:lnSpc>
                    <a:spcPct val="150000"/>
                  </a:lnSpc>
                </a:pPr>
                <a:r>
                  <a:rPr lang="en-US" altLang="zh-CN" sz="1100" dirty="0">
                    <a:solidFill>
                      <a:schemeClr val="tx1"/>
                    </a:solidFill>
                  </a:rPr>
                  <a:t>……</a:t>
                </a:r>
              </a:p>
            </p:txBody>
          </p:sp>
        </p:grpSp>
        <p:grpSp>
          <p:nvGrpSpPr>
            <p:cNvPr id="13" name="ïSlîḑé">
              <a:extLst>
                <a:ext uri="{FF2B5EF4-FFF2-40B4-BE49-F238E27FC236}">
                  <a16:creationId xmlns:a16="http://schemas.microsoft.com/office/drawing/2014/main" id="{B643CFC1-60B1-40F8-9C74-C34E4491331C}"/>
                </a:ext>
              </a:extLst>
            </p:cNvPr>
            <p:cNvGrpSpPr/>
            <p:nvPr/>
          </p:nvGrpSpPr>
          <p:grpSpPr>
            <a:xfrm>
              <a:off x="3090566" y="3973869"/>
              <a:ext cx="1849411" cy="997226"/>
              <a:chOff x="1072499" y="1797239"/>
              <a:chExt cx="1849411" cy="997226"/>
            </a:xfrm>
          </p:grpSpPr>
          <p:sp>
            <p:nvSpPr>
              <p:cNvPr id="23" name="îṩľíďê">
                <a:extLst>
                  <a:ext uri="{FF2B5EF4-FFF2-40B4-BE49-F238E27FC236}">
                    <a16:creationId xmlns:a16="http://schemas.microsoft.com/office/drawing/2014/main" id="{8724BA88-89B1-4E51-8307-CF322D13641D}"/>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dirty="0"/>
                  <a:t>Text here</a:t>
                </a:r>
                <a:endParaRPr lang="zh-CN" altLang="en-US" sz="1600" b="1" kern="0" dirty="0"/>
              </a:p>
            </p:txBody>
          </p:sp>
          <p:sp>
            <p:nvSpPr>
              <p:cNvPr id="24" name="îṩḻîḓè">
                <a:extLst>
                  <a:ext uri="{FF2B5EF4-FFF2-40B4-BE49-F238E27FC236}">
                    <a16:creationId xmlns:a16="http://schemas.microsoft.com/office/drawing/2014/main" id="{8077C3F9-A9DC-47F5-AD88-9ED22DBF47AD}"/>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here.</a:t>
                </a:r>
              </a:p>
              <a:p>
                <a:pPr lvl="0" algn="ctr">
                  <a:lnSpc>
                    <a:spcPct val="150000"/>
                  </a:lnSpc>
                </a:pPr>
                <a:r>
                  <a:rPr lang="en-US" altLang="zh-CN" sz="1100" dirty="0">
                    <a:solidFill>
                      <a:schemeClr val="tx1"/>
                    </a:solidFill>
                  </a:rPr>
                  <a:t>……</a:t>
                </a:r>
              </a:p>
            </p:txBody>
          </p:sp>
        </p:grpSp>
        <p:grpSp>
          <p:nvGrpSpPr>
            <p:cNvPr id="14" name="işḻïḓê">
              <a:extLst>
                <a:ext uri="{FF2B5EF4-FFF2-40B4-BE49-F238E27FC236}">
                  <a16:creationId xmlns:a16="http://schemas.microsoft.com/office/drawing/2014/main" id="{63F8DE81-3EA2-4CE8-9B5C-3F4E05C29C62}"/>
                </a:ext>
              </a:extLst>
            </p:cNvPr>
            <p:cNvGrpSpPr/>
            <p:nvPr/>
          </p:nvGrpSpPr>
          <p:grpSpPr>
            <a:xfrm>
              <a:off x="5171293" y="1494920"/>
              <a:ext cx="1849411" cy="997226"/>
              <a:chOff x="1072499" y="1797239"/>
              <a:chExt cx="1849411" cy="997226"/>
            </a:xfrm>
          </p:grpSpPr>
          <p:sp>
            <p:nvSpPr>
              <p:cNvPr id="21" name="î$ḷíďé">
                <a:extLst>
                  <a:ext uri="{FF2B5EF4-FFF2-40B4-BE49-F238E27FC236}">
                    <a16:creationId xmlns:a16="http://schemas.microsoft.com/office/drawing/2014/main" id="{9F157CB4-8562-4DD6-84EC-9D53D4D5CE93}"/>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dirty="0"/>
                  <a:t>Text here</a:t>
                </a:r>
                <a:endParaRPr lang="zh-CN" altLang="en-US" sz="1600" b="1" kern="0" dirty="0"/>
              </a:p>
            </p:txBody>
          </p:sp>
          <p:sp>
            <p:nvSpPr>
              <p:cNvPr id="22" name="îś1iďé">
                <a:extLst>
                  <a:ext uri="{FF2B5EF4-FFF2-40B4-BE49-F238E27FC236}">
                    <a16:creationId xmlns:a16="http://schemas.microsoft.com/office/drawing/2014/main" id="{4C6CE4D1-37A3-47CE-BD7E-D9F4DF1942E6}"/>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here.</a:t>
                </a:r>
              </a:p>
              <a:p>
                <a:pPr lvl="0" algn="ctr">
                  <a:lnSpc>
                    <a:spcPct val="150000"/>
                  </a:lnSpc>
                </a:pPr>
                <a:r>
                  <a:rPr lang="en-US" altLang="zh-CN" sz="1100" dirty="0">
                    <a:solidFill>
                      <a:schemeClr val="tx1"/>
                    </a:solidFill>
                  </a:rPr>
                  <a:t>……</a:t>
                </a:r>
              </a:p>
            </p:txBody>
          </p:sp>
        </p:grpSp>
        <p:grpSp>
          <p:nvGrpSpPr>
            <p:cNvPr id="15" name="îṣļiḓe">
              <a:extLst>
                <a:ext uri="{FF2B5EF4-FFF2-40B4-BE49-F238E27FC236}">
                  <a16:creationId xmlns:a16="http://schemas.microsoft.com/office/drawing/2014/main" id="{34A72D5A-D49D-420A-8AFC-CDA8122FF49E}"/>
                </a:ext>
              </a:extLst>
            </p:cNvPr>
            <p:cNvGrpSpPr/>
            <p:nvPr/>
          </p:nvGrpSpPr>
          <p:grpSpPr>
            <a:xfrm>
              <a:off x="7252020" y="3973869"/>
              <a:ext cx="1849411" cy="997226"/>
              <a:chOff x="1072499" y="1797239"/>
              <a:chExt cx="1849411" cy="997226"/>
            </a:xfrm>
          </p:grpSpPr>
          <p:sp>
            <p:nvSpPr>
              <p:cNvPr id="19" name="ïṣḻíde">
                <a:extLst>
                  <a:ext uri="{FF2B5EF4-FFF2-40B4-BE49-F238E27FC236}">
                    <a16:creationId xmlns:a16="http://schemas.microsoft.com/office/drawing/2014/main" id="{F5820974-7EC8-4375-86AE-E4C30FE1EAE9}"/>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dirty="0"/>
                  <a:t>Text here</a:t>
                </a:r>
                <a:endParaRPr lang="zh-CN" altLang="en-US" sz="1600" b="1" kern="0" dirty="0"/>
              </a:p>
            </p:txBody>
          </p:sp>
          <p:sp>
            <p:nvSpPr>
              <p:cNvPr id="20" name="ïṧlíḋé">
                <a:extLst>
                  <a:ext uri="{FF2B5EF4-FFF2-40B4-BE49-F238E27FC236}">
                    <a16:creationId xmlns:a16="http://schemas.microsoft.com/office/drawing/2014/main" id="{1A53AA3B-0EC0-4039-986D-F3369CA00F6F}"/>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here.</a:t>
                </a:r>
              </a:p>
              <a:p>
                <a:pPr lvl="0" algn="ctr">
                  <a:lnSpc>
                    <a:spcPct val="150000"/>
                  </a:lnSpc>
                </a:pPr>
                <a:r>
                  <a:rPr lang="en-US" altLang="zh-CN" sz="1100" dirty="0">
                    <a:solidFill>
                      <a:schemeClr val="tx1"/>
                    </a:solidFill>
                  </a:rPr>
                  <a:t>……</a:t>
                </a:r>
              </a:p>
            </p:txBody>
          </p:sp>
        </p:grpSp>
        <p:grpSp>
          <p:nvGrpSpPr>
            <p:cNvPr id="16" name="îşļïḍé">
              <a:extLst>
                <a:ext uri="{FF2B5EF4-FFF2-40B4-BE49-F238E27FC236}">
                  <a16:creationId xmlns:a16="http://schemas.microsoft.com/office/drawing/2014/main" id="{1F9AAB4C-B607-412E-B162-324E845C967E}"/>
                </a:ext>
              </a:extLst>
            </p:cNvPr>
            <p:cNvGrpSpPr/>
            <p:nvPr/>
          </p:nvGrpSpPr>
          <p:grpSpPr>
            <a:xfrm>
              <a:off x="9332747" y="3973869"/>
              <a:ext cx="1849411" cy="997226"/>
              <a:chOff x="1072499" y="1797239"/>
              <a:chExt cx="1849411" cy="997226"/>
            </a:xfrm>
          </p:grpSpPr>
          <p:sp>
            <p:nvSpPr>
              <p:cNvPr id="17" name="îṡ1îḋê">
                <a:extLst>
                  <a:ext uri="{FF2B5EF4-FFF2-40B4-BE49-F238E27FC236}">
                    <a16:creationId xmlns:a16="http://schemas.microsoft.com/office/drawing/2014/main" id="{D418AB33-C541-4ECA-BBC7-E1080905DF18}"/>
                  </a:ext>
                </a:extLst>
              </p:cNvPr>
              <p:cNvSpPr/>
              <p:nvPr/>
            </p:nvSpPr>
            <p:spPr bwMode="auto">
              <a:xfrm>
                <a:off x="1072499" y="1797239"/>
                <a:ext cx="1849411" cy="379554"/>
              </a:xfrm>
              <a:prstGeom prst="rect">
                <a:avLst/>
              </a:prstGeom>
              <a:noFill/>
              <a:ln w="28575" algn="ctr">
                <a:noFill/>
                <a:round/>
                <a:headEnd/>
                <a:tailEnd/>
              </a:ln>
            </p:spPr>
            <p:txBody>
              <a:bodyPr wrap="square" lIns="91440" tIns="45720" rIns="91440" bIns="45720" anchor="ctr">
                <a:normAutofit/>
              </a:bodyPr>
              <a:lstStyle>
                <a:defPPr>
                  <a:defRPr lang="en-US"/>
                </a:defPPr>
                <a:lvl1pPr marL="0" algn="l" defTabSz="609585" rtl="0" eaLnBrk="1" latinLnBrk="0" hangingPunct="1">
                  <a:defRPr sz="2400" kern="1200">
                    <a:solidFill>
                      <a:schemeClr val="tx1"/>
                    </a:solidFill>
                  </a:defRPr>
                </a:lvl1pPr>
                <a:lvl2pPr marL="609585" algn="l" defTabSz="609585" rtl="0" eaLnBrk="1" latinLnBrk="0" hangingPunct="1">
                  <a:defRPr sz="2400" kern="1200">
                    <a:solidFill>
                      <a:schemeClr val="tx1"/>
                    </a:solidFill>
                  </a:defRPr>
                </a:lvl2pPr>
                <a:lvl3pPr marL="1219170" algn="l" defTabSz="609585" rtl="0" eaLnBrk="1" latinLnBrk="0" hangingPunct="1">
                  <a:defRPr sz="2400" kern="1200">
                    <a:solidFill>
                      <a:schemeClr val="tx1"/>
                    </a:solidFill>
                  </a:defRPr>
                </a:lvl3pPr>
                <a:lvl4pPr marL="1828754" algn="l" defTabSz="609585" rtl="0" eaLnBrk="1" latinLnBrk="0" hangingPunct="1">
                  <a:defRPr sz="2400" kern="1200">
                    <a:solidFill>
                      <a:schemeClr val="tx1"/>
                    </a:solidFill>
                  </a:defRPr>
                </a:lvl4pPr>
                <a:lvl5pPr marL="2438339" algn="l" defTabSz="609585" rtl="0" eaLnBrk="1" latinLnBrk="0" hangingPunct="1">
                  <a:defRPr sz="2400" kern="1200">
                    <a:solidFill>
                      <a:schemeClr val="tx1"/>
                    </a:solidFill>
                  </a:defRPr>
                </a:lvl5pPr>
                <a:lvl6pPr marL="3047924" algn="l" defTabSz="609585" rtl="0" eaLnBrk="1" latinLnBrk="0" hangingPunct="1">
                  <a:defRPr sz="2400" kern="1200">
                    <a:solidFill>
                      <a:schemeClr val="tx1"/>
                    </a:solidFill>
                  </a:defRPr>
                </a:lvl6pPr>
                <a:lvl7pPr marL="3657509" algn="l" defTabSz="609585" rtl="0" eaLnBrk="1" latinLnBrk="0" hangingPunct="1">
                  <a:defRPr sz="2400" kern="1200">
                    <a:solidFill>
                      <a:schemeClr val="tx1"/>
                    </a:solidFill>
                  </a:defRPr>
                </a:lvl7pPr>
                <a:lvl8pPr marL="4267093" algn="l" defTabSz="609585" rtl="0" eaLnBrk="1" latinLnBrk="0" hangingPunct="1">
                  <a:defRPr sz="2400" kern="1200">
                    <a:solidFill>
                      <a:schemeClr val="tx1"/>
                    </a:solidFill>
                  </a:defRPr>
                </a:lvl8pPr>
                <a:lvl9pPr marL="4876678" algn="l" defTabSz="609585" rtl="0" eaLnBrk="1" latinLnBrk="0" hangingPunct="1">
                  <a:defRPr sz="2400" kern="1200">
                    <a:solidFill>
                      <a:schemeClr val="tx1"/>
                    </a:solidFill>
                  </a:defRPr>
                </a:lvl9pPr>
              </a:lstStyle>
              <a:p>
                <a:pPr algn="ctr" defTabSz="914400"/>
                <a:r>
                  <a:rPr lang="en-US" altLang="zh-CN" sz="1600" b="1" kern="0" dirty="0"/>
                  <a:t>Text here</a:t>
                </a:r>
                <a:endParaRPr lang="zh-CN" altLang="en-US" sz="1600" b="1" kern="0" dirty="0"/>
              </a:p>
            </p:txBody>
          </p:sp>
          <p:sp>
            <p:nvSpPr>
              <p:cNvPr id="18" name="iś1ïḍé">
                <a:extLst>
                  <a:ext uri="{FF2B5EF4-FFF2-40B4-BE49-F238E27FC236}">
                    <a16:creationId xmlns:a16="http://schemas.microsoft.com/office/drawing/2014/main" id="{0B4EA58B-19E5-4946-88F4-00772E468729}"/>
                  </a:ext>
                </a:extLst>
              </p:cNvPr>
              <p:cNvSpPr/>
              <p:nvPr/>
            </p:nvSpPr>
            <p:spPr>
              <a:xfrm>
                <a:off x="1072499" y="2176793"/>
                <a:ext cx="1849411" cy="61767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wrap="square" lIns="91440" tIns="45720" rIns="91440" bIns="45720" rtlCol="0" anchor="t">
                <a:normAutofit/>
              </a:bodyPr>
              <a:lstStyle>
                <a:defPPr>
                  <a:defRPr lang="en-US"/>
                </a:defPPr>
                <a:lvl1pPr marL="0" algn="l" defTabSz="609585" rtl="0" eaLnBrk="1" latinLnBrk="0" hangingPunct="1">
                  <a:defRPr sz="2400" kern="1200">
                    <a:solidFill>
                      <a:schemeClr val="lt1"/>
                    </a:solidFill>
                  </a:defRPr>
                </a:lvl1pPr>
                <a:lvl2pPr marL="609585" algn="l" defTabSz="609585" rtl="0" eaLnBrk="1" latinLnBrk="0" hangingPunct="1">
                  <a:defRPr sz="2400" kern="1200">
                    <a:solidFill>
                      <a:schemeClr val="lt1"/>
                    </a:solidFill>
                  </a:defRPr>
                </a:lvl2pPr>
                <a:lvl3pPr marL="1219170" algn="l" defTabSz="609585" rtl="0" eaLnBrk="1" latinLnBrk="0" hangingPunct="1">
                  <a:defRPr sz="2400" kern="1200">
                    <a:solidFill>
                      <a:schemeClr val="lt1"/>
                    </a:solidFill>
                  </a:defRPr>
                </a:lvl3pPr>
                <a:lvl4pPr marL="1828754" algn="l" defTabSz="609585" rtl="0" eaLnBrk="1" latinLnBrk="0" hangingPunct="1">
                  <a:defRPr sz="2400" kern="1200">
                    <a:solidFill>
                      <a:schemeClr val="lt1"/>
                    </a:solidFill>
                  </a:defRPr>
                </a:lvl4pPr>
                <a:lvl5pPr marL="2438339" algn="l" defTabSz="609585" rtl="0" eaLnBrk="1" latinLnBrk="0" hangingPunct="1">
                  <a:defRPr sz="2400" kern="1200">
                    <a:solidFill>
                      <a:schemeClr val="lt1"/>
                    </a:solidFill>
                  </a:defRPr>
                </a:lvl5pPr>
                <a:lvl6pPr marL="3047924" algn="l" defTabSz="609585" rtl="0" eaLnBrk="1" latinLnBrk="0" hangingPunct="1">
                  <a:defRPr sz="2400" kern="1200">
                    <a:solidFill>
                      <a:schemeClr val="lt1"/>
                    </a:solidFill>
                  </a:defRPr>
                </a:lvl6pPr>
                <a:lvl7pPr marL="3657509" algn="l" defTabSz="609585" rtl="0" eaLnBrk="1" latinLnBrk="0" hangingPunct="1">
                  <a:defRPr sz="2400" kern="1200">
                    <a:solidFill>
                      <a:schemeClr val="lt1"/>
                    </a:solidFill>
                  </a:defRPr>
                </a:lvl7pPr>
                <a:lvl8pPr marL="4267093" algn="l" defTabSz="609585" rtl="0" eaLnBrk="1" latinLnBrk="0" hangingPunct="1">
                  <a:defRPr sz="2400" kern="1200">
                    <a:solidFill>
                      <a:schemeClr val="lt1"/>
                    </a:solidFill>
                  </a:defRPr>
                </a:lvl8pPr>
                <a:lvl9pPr marL="4876678" algn="l" defTabSz="609585" rtl="0" eaLnBrk="1" latinLnBrk="0" hangingPunct="1">
                  <a:defRPr sz="2400" kern="1200">
                    <a:solidFill>
                      <a:schemeClr val="lt1"/>
                    </a:solidFill>
                  </a:defRPr>
                </a:lvl9pPr>
              </a:lstStyle>
              <a:p>
                <a:pPr lvl="0" algn="ctr">
                  <a:lnSpc>
                    <a:spcPct val="150000"/>
                  </a:lnSpc>
                </a:pPr>
                <a:r>
                  <a:rPr lang="en-US" altLang="zh-CN" sz="1100" dirty="0">
                    <a:solidFill>
                      <a:schemeClr val="tx1"/>
                    </a:solidFill>
                  </a:rPr>
                  <a:t>Supporting text here.</a:t>
                </a:r>
              </a:p>
              <a:p>
                <a:pPr lvl="0" algn="ctr">
                  <a:lnSpc>
                    <a:spcPct val="150000"/>
                  </a:lnSpc>
                </a:pPr>
                <a:r>
                  <a:rPr lang="en-US" altLang="zh-CN" sz="1100" dirty="0">
                    <a:solidFill>
                      <a:schemeClr val="tx1"/>
                    </a:solidFill>
                  </a:rPr>
                  <a:t>……</a:t>
                </a:r>
              </a:p>
            </p:txBody>
          </p:sp>
        </p:grpSp>
      </p:grpSp>
    </p:spTree>
    <p:extLst>
      <p:ext uri="{BB962C8B-B14F-4D97-AF65-F5344CB8AC3E}">
        <p14:creationId xmlns:p14="http://schemas.microsoft.com/office/powerpoint/2010/main" val="34773516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p:cNvSpPr>
            <a:spLocks noGrp="1"/>
          </p:cNvSpPr>
          <p:nvPr>
            <p:ph type="title"/>
          </p:nvPr>
        </p:nvSpPr>
        <p:spPr/>
        <p:txBody>
          <a:bodyPr/>
          <a:lstStyle/>
          <a:p>
            <a:r>
              <a:rPr lang="en-US" altLang="zh-CN"/>
              <a:t>Section Header Here</a:t>
            </a:r>
            <a:endParaRPr lang="zh-CN" altLang="en-US" dirty="0"/>
          </a:p>
        </p:txBody>
      </p:sp>
      <p:sp>
        <p:nvSpPr>
          <p:cNvPr id="6" name="文本占位符 5"/>
          <p:cNvSpPr>
            <a:spLocks noGrp="1"/>
          </p:cNvSpPr>
          <p:nvPr>
            <p:ph type="body" idx="1"/>
          </p:nvPr>
        </p:nvSpPr>
        <p:spPr/>
        <p:txBody>
          <a:bodyPr/>
          <a:lstStyle/>
          <a:p>
            <a:pPr lvl="0">
              <a:lnSpc>
                <a:spcPct val="100000"/>
              </a:lnSpc>
            </a:pPr>
            <a:r>
              <a:rPr lang="en-US" altLang="zh-CN" dirty="0"/>
              <a:t>Supporting text here.</a:t>
            </a:r>
          </a:p>
          <a:p>
            <a:pPr lvl="0">
              <a:lnSpc>
                <a:spcPct val="100000"/>
              </a:lnSpc>
            </a:pPr>
            <a:r>
              <a:rPr lang="en-US" altLang="zh-CN" dirty="0"/>
              <a:t>When you copy &amp; paste, choose "keep text only" option.</a:t>
            </a:r>
            <a:endParaRPr lang="zh-CN" altLang="en-US" dirty="0"/>
          </a:p>
        </p:txBody>
      </p:sp>
      <p:sp>
        <p:nvSpPr>
          <p:cNvPr id="9" name="文本框 8">
            <a:extLst>
              <a:ext uri="{FF2B5EF4-FFF2-40B4-BE49-F238E27FC236}">
                <a16:creationId xmlns:a16="http://schemas.microsoft.com/office/drawing/2014/main" id="{04F69230-F3A6-4586-9371-A858F4763E9F}"/>
              </a:ext>
            </a:extLst>
          </p:cNvPr>
          <p:cNvSpPr txBox="1"/>
          <p:nvPr/>
        </p:nvSpPr>
        <p:spPr>
          <a:xfrm>
            <a:off x="4620544" y="2712435"/>
            <a:ext cx="1252132" cy="1088682"/>
          </a:xfrm>
          <a:prstGeom prst="rect">
            <a:avLst/>
          </a:prstGeom>
          <a:solidFill>
            <a:schemeClr val="accent3"/>
          </a:solidFill>
          <a:ln w="117475">
            <a:noFill/>
          </a:ln>
        </p:spPr>
        <p:txBody>
          <a:bodyPr wrap="none" rtlCol="0">
            <a:prstTxWarp prst="textPlain">
              <a:avLst/>
            </a:prstTxWarp>
            <a:spAutoFit/>
          </a:bodyPr>
          <a:lstStyle/>
          <a:p>
            <a:r>
              <a:rPr lang="en-US" altLang="zh-CN" spc="100" dirty="0">
                <a:latin typeface="Impact" panose="020B0806030902050204" pitchFamily="34" charset="0"/>
                <a:cs typeface="Arial" panose="020B0604020202020204" pitchFamily="34" charset="0"/>
              </a:rPr>
              <a:t>/02</a:t>
            </a:r>
            <a:endParaRPr lang="zh-CN" altLang="en-US" spc="100" dirty="0">
              <a:latin typeface="Impact" panose="020B0806030902050204" pitchFamily="34" charset="0"/>
              <a:cs typeface="Arial" panose="020B0604020202020204" pitchFamily="34" charset="0"/>
            </a:endParaRPr>
          </a:p>
        </p:txBody>
      </p:sp>
    </p:spTree>
    <p:extLst>
      <p:ext uri="{BB962C8B-B14F-4D97-AF65-F5344CB8AC3E}">
        <p14:creationId xmlns:p14="http://schemas.microsoft.com/office/powerpoint/2010/main" val="13573970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LIDE.SHOWCASE" val="5cb80895-da0e-4263-a927-a446e0ae6cd3"/>
</p:tagLst>
</file>

<file path=ppt/theme/theme1.xml><?xml version="1.0" encoding="utf-8"?>
<a:theme xmlns:a="http://schemas.openxmlformats.org/drawingml/2006/main" name="主题5">
  <a:themeElements>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fontScheme name="Temp">
      <a:majorFont>
        <a:latin typeface="Arial"/>
        <a:ea typeface="微软雅黑"/>
        <a:cs typeface=""/>
      </a:majorFont>
      <a:minorFont>
        <a:latin typeface="Arial"/>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主题5" id="{B8EDB911-D765-4A7B-BBC7-40DBB672FBA6}" vid="{AECAB1C0-5DF6-436C-85E8-20094DBE11C0}"/>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10.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11.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12.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13.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2.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3.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4.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5.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6.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7.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8.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ppt/theme/themeOverride9.xml><?xml version="1.0" encoding="utf-8"?>
<a:themeOverride xmlns:a="http://schemas.openxmlformats.org/drawingml/2006/main">
  <a:clrScheme name="房利美">
    <a:dk1>
      <a:srgbClr val="000000"/>
    </a:dk1>
    <a:lt1>
      <a:srgbClr val="FFFFFF"/>
    </a:lt1>
    <a:dk2>
      <a:srgbClr val="768394"/>
    </a:dk2>
    <a:lt2>
      <a:srgbClr val="F0F0F0"/>
    </a:lt2>
    <a:accent1>
      <a:srgbClr val="4C4C4C"/>
    </a:accent1>
    <a:accent2>
      <a:srgbClr val="B4B67B"/>
    </a:accent2>
    <a:accent3>
      <a:srgbClr val="E2E816"/>
    </a:accent3>
    <a:accent4>
      <a:srgbClr val="A5A5A5"/>
    </a:accent4>
    <a:accent5>
      <a:srgbClr val="7F7F7F"/>
    </a:accent5>
    <a:accent6>
      <a:srgbClr val="595959"/>
    </a:accent6>
    <a:hlink>
      <a:srgbClr val="F6B104"/>
    </a:hlink>
    <a:folHlink>
      <a:srgbClr val="BFBFBF"/>
    </a:folHlink>
  </a:clrScheme>
</a:themeOverride>
</file>

<file path=docProps/app.xml><?xml version="1.0" encoding="utf-8"?>
<Properties xmlns="http://schemas.openxmlformats.org/officeDocument/2006/extended-properties" xmlns:vt="http://schemas.openxmlformats.org/officeDocument/2006/docPropsVTypes">
  <Template>iSlide</Template>
  <TotalTime>0</TotalTime>
  <Words>2172</Words>
  <Application>Microsoft Office PowerPoint</Application>
  <PresentationFormat>Widescreen</PresentationFormat>
  <Paragraphs>548</Paragraphs>
  <Slides>39</Slides>
  <Notes>0</Notes>
  <HiddenSlides>7</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39</vt:i4>
      </vt:variant>
    </vt:vector>
  </HeadingPairs>
  <TitlesOfParts>
    <vt:vector size="45" baseType="lpstr">
      <vt:lpstr>微软雅黑</vt:lpstr>
      <vt:lpstr>Arial</vt:lpstr>
      <vt:lpstr>Calibri</vt:lpstr>
      <vt:lpstr>Impact</vt:lpstr>
      <vt:lpstr>主题5</vt:lpstr>
      <vt:lpstr>think-cell Slide</vt:lpstr>
      <vt:lpstr>ISLIDE®  POWER POINT     STANDARD TEMPLATE</vt:lpstr>
      <vt:lpstr>PowerPoint Presentation</vt:lpstr>
      <vt:lpstr>Section Header Here</vt:lpstr>
      <vt:lpstr>PowerPoint Presentation</vt:lpstr>
      <vt:lpstr>PowerPoint Presentation</vt:lpstr>
      <vt:lpstr>PowerPoint Presentation</vt:lpstr>
      <vt:lpstr>PowerPoint Presentation</vt:lpstr>
      <vt:lpstr>PowerPoint Presentation</vt:lpstr>
      <vt:lpstr>Section Header Here</vt:lpstr>
      <vt:lpstr>PowerPoint Presentation</vt:lpstr>
      <vt:lpstr>PowerPoint Presentation</vt:lpstr>
      <vt:lpstr>PowerPoint Presentation</vt:lpstr>
      <vt:lpstr>PowerPoint Presentation</vt:lpstr>
      <vt:lpstr>PowerPoint Presentation</vt:lpstr>
      <vt:lpstr>Section Header Here</vt:lpstr>
      <vt:lpstr>PowerPoint Presentation</vt:lpstr>
      <vt:lpstr>PowerPoint Presentation</vt:lpstr>
      <vt:lpstr>PowerPoint Presentation</vt:lpstr>
      <vt:lpstr>PowerPoint Presentation</vt:lpstr>
      <vt:lpstr>PowerPoint Presentation</vt:lpstr>
      <vt:lpstr>Section Header Here</vt:lpstr>
      <vt:lpstr>PowerPoint Presentation</vt:lpstr>
      <vt:lpstr>PowerPoint Presentation</vt:lpstr>
      <vt:lpstr>PowerPoint Presentation</vt:lpstr>
      <vt:lpstr>PowerPoint Presentation</vt:lpstr>
      <vt:lpstr>PowerPoint Presentation</vt:lpstr>
      <vt:lpstr>Section Header Here</vt:lpstr>
      <vt:lpstr>PowerPoint Presentation</vt:lpstr>
      <vt:lpstr>PowerPoint Presentation</vt:lpstr>
      <vt:lpstr>PowerPoint Presentation</vt:lpstr>
      <vt:lpstr>PowerPoint Presentation</vt:lpstr>
      <vt:lpstr>Thanks And Your Slogan Her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iSlide</Manager>
  <Company>iSlide</Company>
  <LinksUpToDate>false</LinksUpToDate>
  <SharedDoc>false</SharedDoc>
  <HyperlinkBase>https://www.islide.cc</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iSlide</dc:creator>
  <cp:lastModifiedBy>Ben Oostdam ☁</cp:lastModifiedBy>
  <cp:revision>3</cp:revision>
  <cp:lastPrinted>2019-10-14T16:00:00Z</cp:lastPrinted>
  <dcterms:created xsi:type="dcterms:W3CDTF">2019-10-14T16:00:00Z</dcterms:created>
  <dcterms:modified xsi:type="dcterms:W3CDTF">2022-03-05T18:55: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iSlide.Theme">
    <vt:lpwstr>48706f29-9ca0-418e-876d-de7b156ca083</vt:lpwstr>
  </property>
</Properties>
</file>